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3.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4.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5.xml" ContentType="application/vnd.openxmlformats-officedocument.theme+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3.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3">
  <p:sldMasterIdLst>
    <p:sldMasterId id="2147483700" r:id="rId1"/>
    <p:sldMasterId id="2147484017" r:id="rId2"/>
    <p:sldMasterId id="2147484139" r:id="rId3"/>
    <p:sldMasterId id="2147484202" r:id="rId4"/>
    <p:sldMasterId id="2147484249" r:id="rId5"/>
    <p:sldMasterId id="2147484294" r:id="rId6"/>
  </p:sldMasterIdLst>
  <p:notesMasterIdLst>
    <p:notesMasterId r:id="rId43"/>
  </p:notesMasterIdLst>
  <p:handoutMasterIdLst>
    <p:handoutMasterId r:id="rId44"/>
  </p:handoutMasterIdLst>
  <p:sldIdLst>
    <p:sldId id="691" r:id="rId7"/>
    <p:sldId id="692" r:id="rId8"/>
    <p:sldId id="638" r:id="rId9"/>
    <p:sldId id="582" r:id="rId10"/>
    <p:sldId id="654" r:id="rId11"/>
    <p:sldId id="679" r:id="rId12"/>
    <p:sldId id="656" r:id="rId13"/>
    <p:sldId id="539" r:id="rId14"/>
    <p:sldId id="584" r:id="rId15"/>
    <p:sldId id="670" r:id="rId16"/>
    <p:sldId id="497" r:id="rId17"/>
    <p:sldId id="612" r:id="rId18"/>
    <p:sldId id="665" r:id="rId19"/>
    <p:sldId id="529" r:id="rId20"/>
    <p:sldId id="669" r:id="rId21"/>
    <p:sldId id="614" r:id="rId22"/>
    <p:sldId id="615" r:id="rId23"/>
    <p:sldId id="684" r:id="rId24"/>
    <p:sldId id="689" r:id="rId25"/>
    <p:sldId id="690" r:id="rId26"/>
    <p:sldId id="609" r:id="rId27"/>
    <p:sldId id="610" r:id="rId28"/>
    <p:sldId id="564" r:id="rId29"/>
    <p:sldId id="686" r:id="rId30"/>
    <p:sldId id="685" r:id="rId31"/>
    <p:sldId id="503" r:id="rId32"/>
    <p:sldId id="644" r:id="rId33"/>
    <p:sldId id="683" r:id="rId34"/>
    <p:sldId id="514" r:id="rId35"/>
    <p:sldId id="605" r:id="rId36"/>
    <p:sldId id="617" r:id="rId37"/>
    <p:sldId id="671" r:id="rId38"/>
    <p:sldId id="621" r:id="rId39"/>
    <p:sldId id="676" r:id="rId40"/>
    <p:sldId id="501" r:id="rId41"/>
    <p:sldId id="290" r:id="rId42"/>
  </p:sldIdLst>
  <p:sldSz cx="9144000" cy="5143500" type="screen16x9"/>
  <p:notesSz cx="6858000" cy="9144000"/>
  <p:custDataLst>
    <p:tags r:id="rId45"/>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521415D9-36F7-43E2-AB2F-B90AF26B5E84}">
      <p14:sectionLst xmlns:p14="http://schemas.microsoft.com/office/powerpoint/2010/main">
        <p14:section name="Instructions for use" id="{57DC69AD-A26E-47D6-B65E-46E672F711FE}">
          <p14:sldIdLst/>
        </p14:section>
        <p14:section name="PRESENTATION TEMPLATE" id="{C13F667F-1959-4C14-A383-79A02E779B94}">
          <p14:sldIdLst>
            <p14:sldId id="691"/>
            <p14:sldId id="692"/>
            <p14:sldId id="638"/>
            <p14:sldId id="582"/>
            <p14:sldId id="654"/>
            <p14:sldId id="679"/>
            <p14:sldId id="656"/>
            <p14:sldId id="539"/>
            <p14:sldId id="584"/>
            <p14:sldId id="670"/>
            <p14:sldId id="497"/>
            <p14:sldId id="612"/>
            <p14:sldId id="665"/>
            <p14:sldId id="529"/>
            <p14:sldId id="669"/>
            <p14:sldId id="614"/>
            <p14:sldId id="615"/>
            <p14:sldId id="684"/>
            <p14:sldId id="689"/>
            <p14:sldId id="690"/>
            <p14:sldId id="609"/>
            <p14:sldId id="610"/>
            <p14:sldId id="564"/>
            <p14:sldId id="686"/>
            <p14:sldId id="685"/>
            <p14:sldId id="503"/>
            <p14:sldId id="644"/>
            <p14:sldId id="683"/>
            <p14:sldId id="514"/>
            <p14:sldId id="605"/>
            <p14:sldId id="617"/>
            <p14:sldId id="671"/>
            <p14:sldId id="621"/>
            <p14:sldId id="676"/>
            <p14:sldId id="501"/>
            <p14:sldId id="290"/>
          </p14:sldIdLst>
        </p14:section>
      </p14:sectionLst>
    </p:ext>
    <p:ext uri="{EFAFB233-063F-42B5-8137-9DF3F51BA10A}">
      <p15:sldGuideLst xmlns:p15="http://schemas.microsoft.com/office/powerpoint/2012/main">
        <p15:guide id="1" pos="3144" userDrawn="1">
          <p15:clr>
            <a:srgbClr val="A4A3A4"/>
          </p15:clr>
        </p15:guide>
        <p15:guide id="2" orient="horz" pos="16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itesh Gohil" initials="" lastIdx="31" clrIdx="0"/>
  <p:cmAuthor id="1" name="Kate Ryan" initials="KR" lastIdx="11"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86DBF2"/>
    <a:srgbClr val="049FD9"/>
    <a:srgbClr val="0048A9"/>
    <a:srgbClr val="9891A0"/>
    <a:srgbClr val="1FAED4"/>
    <a:srgbClr val="72C059"/>
    <a:srgbClr val="B2D171"/>
    <a:srgbClr val="B8E1D0"/>
    <a:srgbClr val="26194B"/>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C083E6E3-FA7D-4D7B-A595-EF9225AFEA8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07" autoAdjust="0"/>
    <p:restoredTop sz="66003" autoAdjust="0"/>
  </p:normalViewPr>
  <p:slideViewPr>
    <p:cSldViewPr snapToGrid="0" snapToObjects="1" showGuides="1">
      <p:cViewPr varScale="1">
        <p:scale>
          <a:sx n="82" d="100"/>
          <a:sy n="82" d="100"/>
        </p:scale>
        <p:origin x="1296" y="168"/>
      </p:cViewPr>
      <p:guideLst>
        <p:guide pos="3144"/>
        <p:guide orient="horz" pos="1620"/>
      </p:guideLst>
    </p:cSldViewPr>
  </p:slideViewPr>
  <p:notesTextViewPr>
    <p:cViewPr>
      <p:scale>
        <a:sx n="100" d="100"/>
        <a:sy n="100" d="100"/>
      </p:scale>
      <p:origin x="0" y="0"/>
    </p:cViewPr>
  </p:notesTextViewPr>
  <p:sorterViewPr>
    <p:cViewPr varScale="1">
      <p:scale>
        <a:sx n="1" d="1"/>
        <a:sy n="1" d="1"/>
      </p:scale>
      <p:origin x="0" y="-7812"/>
    </p:cViewPr>
  </p:sorterViewPr>
  <p:notesViewPr>
    <p:cSldViewPr snapToGrid="0" snapToObjects="1" showGuides="1">
      <p:cViewPr varScale="1">
        <p:scale>
          <a:sx n="50" d="100"/>
          <a:sy n="50" d="100"/>
        </p:scale>
        <p:origin x="1784"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1.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heme" Target="theme/theme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viewProps" Target="viewProps.xml"/><Relationship Id="rId8" Type="http://schemas.openxmlformats.org/officeDocument/2006/relationships/slide" Target="slides/slide2.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commentAuthors" Target="commentAuthor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charts/_rels/chart1.xml.rels><?xml version="1.0" encoding="UTF-8" standalone="yes"?>
<Relationships xmlns="http://schemas.openxmlformats.org/package/2006/relationships"><Relationship Id="rId3" Type="http://schemas.openxmlformats.org/officeDocument/2006/relationships/oleObject" Target="file:////Users/schuang/Documents/CISCO/SBG-PROJ/201810-SEVT/Context.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file:////Users/schuang/Documents/CISCO/SBG-PROJ/00-AMP-TG/RET/00-RET-analysi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0"/>
            <c:invertIfNegative val="0"/>
            <c:bubble3D val="0"/>
            <c:spPr>
              <a:solidFill>
                <a:schemeClr val="bg1"/>
              </a:solidFill>
              <a:ln>
                <a:noFill/>
              </a:ln>
              <a:effectLst/>
            </c:spPr>
            <c:extLst>
              <c:ext xmlns:c16="http://schemas.microsoft.com/office/drawing/2014/chart" uri="{C3380CC4-5D6E-409C-BE32-E72D297353CC}">
                <c16:uniqueId val="{00000001-2D78-9C4F-8CF6-A03F40B97D21}"/>
              </c:ext>
            </c:extLst>
          </c:dPt>
          <c:dLbls>
            <c:spPr>
              <a:noFill/>
              <a:ln>
                <a:noFill/>
              </a:ln>
              <a:effectLst/>
            </c:spPr>
            <c:txPr>
              <a:bodyPr rot="0" spcFirstLastPara="1" vertOverflow="ellipsis" vert="horz" wrap="square" lIns="38100" tIns="19050" rIns="38100" bIns="19050" anchor="ctr" anchorCtr="1">
                <a:spAutoFit/>
              </a:bodyPr>
              <a:lstStyle/>
              <a:p>
                <a:pPr>
                  <a:defRPr lang="ja-JP"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10:$A$13</c:f>
              <c:strCache>
                <c:ptCount val="4"/>
                <c:pt idx="0">
                  <c:v>AMP Cloud</c:v>
                </c:pt>
                <c:pt idx="1">
                  <c:v>Google Search</c:v>
                </c:pt>
                <c:pt idx="2">
                  <c:v>YouTube Views</c:v>
                </c:pt>
                <c:pt idx="3">
                  <c:v>Tweets</c:v>
                </c:pt>
              </c:strCache>
            </c:strRef>
          </c:cat>
          <c:val>
            <c:numRef>
              <c:f>Sheet1!$B$10:$B$13</c:f>
              <c:numCache>
                <c:formatCode>General</c:formatCode>
                <c:ptCount val="4"/>
                <c:pt idx="0">
                  <c:v>230000</c:v>
                </c:pt>
                <c:pt idx="1">
                  <c:v>69500</c:v>
                </c:pt>
                <c:pt idx="2">
                  <c:v>75505</c:v>
                </c:pt>
                <c:pt idx="3">
                  <c:v>8193</c:v>
                </c:pt>
              </c:numCache>
            </c:numRef>
          </c:val>
          <c:extLst>
            <c:ext xmlns:c16="http://schemas.microsoft.com/office/drawing/2014/chart" uri="{C3380CC4-5D6E-409C-BE32-E72D297353CC}">
              <c16:uniqueId val="{00000002-2D78-9C4F-8CF6-A03F40B97D21}"/>
            </c:ext>
          </c:extLst>
        </c:ser>
        <c:dLbls>
          <c:showLegendKey val="0"/>
          <c:showVal val="0"/>
          <c:showCatName val="0"/>
          <c:showSerName val="0"/>
          <c:showPercent val="0"/>
          <c:showBubbleSize val="0"/>
        </c:dLbls>
        <c:gapWidth val="219"/>
        <c:overlap val="-27"/>
        <c:axId val="-573931728"/>
        <c:axId val="-573915424"/>
      </c:barChart>
      <c:catAx>
        <c:axId val="-5739317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crossAx val="-573915424"/>
        <c:crosses val="autoZero"/>
        <c:auto val="1"/>
        <c:lblAlgn val="ctr"/>
        <c:lblOffset val="100"/>
        <c:noMultiLvlLbl val="0"/>
      </c:catAx>
      <c:valAx>
        <c:axId val="-5739154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0"/>
        <c:majorTickMark val="none"/>
        <c:minorTickMark val="none"/>
        <c:tickLblPos val="nextTo"/>
        <c:spPr>
          <a:noFill/>
          <a:ln>
            <a:noFill/>
          </a:ln>
          <a:effectLst/>
        </c:spPr>
        <c:txPr>
          <a:bodyPr rot="-60000000" spcFirstLastPara="1" vertOverflow="ellipsis" vert="horz" wrap="square" anchor="ctr" anchorCtr="1"/>
          <a:lstStyle/>
          <a:p>
            <a:pPr>
              <a:defRPr lang="ja-JP" sz="900" b="0" i="0" u="none" strike="noStrike" kern="1200" baseline="0">
                <a:solidFill>
                  <a:schemeClr val="tx1">
                    <a:lumMod val="65000"/>
                    <a:lumOff val="35000"/>
                  </a:schemeClr>
                </a:solidFill>
                <a:latin typeface="+mn-lt"/>
                <a:ea typeface="+mn-ea"/>
                <a:cs typeface="+mn-cs"/>
              </a:defRPr>
            </a:pPr>
            <a:endParaRPr lang="en-US"/>
          </a:p>
        </c:txPr>
        <c:crossAx val="-57393172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VsVT!$A$30</c:f>
              <c:strCache>
                <c:ptCount val="1"/>
                <c:pt idx="0">
                  <c:v>Known to Virus Total</c:v>
                </c:pt>
              </c:strCache>
            </c:strRef>
          </c:tx>
          <c:invertIfNegative val="0"/>
          <c:dLbls>
            <c:spPr>
              <a:noFill/>
              <a:ln>
                <a:noFill/>
              </a:ln>
              <a:effectLst/>
            </c:spPr>
            <c:txPr>
              <a:bodyPr wrap="square" lIns="38100" tIns="19050" rIns="38100" bIns="19050" anchor="ctr">
                <a:spAutoFit/>
              </a:bodyPr>
              <a:lstStyle/>
              <a:p>
                <a:pPr>
                  <a:defRPr lang="ja-JP"/>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VsVT!$AH$22:$AJ$22</c:f>
              <c:strCache>
                <c:ptCount val="3"/>
                <c:pt idx="0">
                  <c:v>2017-12</c:v>
                </c:pt>
                <c:pt idx="1">
                  <c:v>2018-01</c:v>
                </c:pt>
                <c:pt idx="2">
                  <c:v>2018-02</c:v>
                </c:pt>
              </c:strCache>
            </c:strRef>
          </c:cat>
          <c:val>
            <c:numRef>
              <c:f>VsVT!$AH$30:$AJ$30</c:f>
              <c:numCache>
                <c:formatCode>0%</c:formatCode>
                <c:ptCount val="3"/>
                <c:pt idx="0">
                  <c:v>0.55000000000000004</c:v>
                </c:pt>
                <c:pt idx="1">
                  <c:v>0.51</c:v>
                </c:pt>
                <c:pt idx="2">
                  <c:v>0.66</c:v>
                </c:pt>
              </c:numCache>
            </c:numRef>
          </c:val>
          <c:extLst>
            <c:ext xmlns:c16="http://schemas.microsoft.com/office/drawing/2014/chart" uri="{C3380CC4-5D6E-409C-BE32-E72D297353CC}">
              <c16:uniqueId val="{00000000-1990-894C-9E93-099B6ECE3014}"/>
            </c:ext>
          </c:extLst>
        </c:ser>
        <c:ser>
          <c:idx val="1"/>
          <c:order val="1"/>
          <c:tx>
            <c:strRef>
              <c:f>VsVT!$A$31</c:f>
              <c:strCache>
                <c:ptCount val="1"/>
                <c:pt idx="0">
                  <c:v>Talos</c:v>
                </c:pt>
              </c:strCache>
            </c:strRef>
          </c:tx>
          <c:spPr>
            <a:solidFill>
              <a:schemeClr val="tx2"/>
            </a:solidFill>
          </c:spPr>
          <c:invertIfNegative val="0"/>
          <c:dLbls>
            <c:spPr>
              <a:noFill/>
              <a:ln>
                <a:noFill/>
              </a:ln>
              <a:effectLst/>
            </c:spPr>
            <c:txPr>
              <a:bodyPr wrap="square" lIns="38100" tIns="19050" rIns="38100" bIns="19050" anchor="ctr">
                <a:spAutoFit/>
              </a:bodyPr>
              <a:lstStyle/>
              <a:p>
                <a:pPr>
                  <a:defRPr lang="ja-JP">
                    <a:solidFill>
                      <a:schemeClr val="bg2"/>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VsVT!$AH$22:$AJ$22</c:f>
              <c:strCache>
                <c:ptCount val="3"/>
                <c:pt idx="0">
                  <c:v>2017-12</c:v>
                </c:pt>
                <c:pt idx="1">
                  <c:v>2018-01</c:v>
                </c:pt>
                <c:pt idx="2">
                  <c:v>2018-02</c:v>
                </c:pt>
              </c:strCache>
            </c:strRef>
          </c:cat>
          <c:val>
            <c:numRef>
              <c:f>VsVT!$AH$31:$AJ$31</c:f>
              <c:numCache>
                <c:formatCode>0%</c:formatCode>
                <c:ptCount val="3"/>
                <c:pt idx="0">
                  <c:v>0.45</c:v>
                </c:pt>
                <c:pt idx="1">
                  <c:v>0.49</c:v>
                </c:pt>
                <c:pt idx="2">
                  <c:v>0.34</c:v>
                </c:pt>
              </c:numCache>
            </c:numRef>
          </c:val>
          <c:extLst>
            <c:ext xmlns:c16="http://schemas.microsoft.com/office/drawing/2014/chart" uri="{C3380CC4-5D6E-409C-BE32-E72D297353CC}">
              <c16:uniqueId val="{00000001-1990-894C-9E93-099B6ECE3014}"/>
            </c:ext>
          </c:extLst>
        </c:ser>
        <c:dLbls>
          <c:showLegendKey val="0"/>
          <c:showVal val="1"/>
          <c:showCatName val="0"/>
          <c:showSerName val="0"/>
          <c:showPercent val="0"/>
          <c:showBubbleSize val="0"/>
        </c:dLbls>
        <c:gapWidth val="75"/>
        <c:overlap val="100"/>
        <c:axId val="-573686608"/>
        <c:axId val="-573862240"/>
      </c:barChart>
      <c:catAx>
        <c:axId val="-573686608"/>
        <c:scaling>
          <c:orientation val="minMax"/>
        </c:scaling>
        <c:delete val="0"/>
        <c:axPos val="b"/>
        <c:numFmt formatCode="General" sourceLinked="0"/>
        <c:majorTickMark val="none"/>
        <c:minorTickMark val="none"/>
        <c:tickLblPos val="nextTo"/>
        <c:txPr>
          <a:bodyPr/>
          <a:lstStyle/>
          <a:p>
            <a:pPr>
              <a:defRPr lang="ja-JP"/>
            </a:pPr>
            <a:endParaRPr lang="en-US"/>
          </a:p>
        </c:txPr>
        <c:crossAx val="-573862240"/>
        <c:crosses val="autoZero"/>
        <c:auto val="1"/>
        <c:lblAlgn val="ctr"/>
        <c:lblOffset val="100"/>
        <c:noMultiLvlLbl val="0"/>
      </c:catAx>
      <c:valAx>
        <c:axId val="-573862240"/>
        <c:scaling>
          <c:orientation val="minMax"/>
        </c:scaling>
        <c:delete val="0"/>
        <c:axPos val="l"/>
        <c:numFmt formatCode="0%" sourceLinked="1"/>
        <c:majorTickMark val="none"/>
        <c:minorTickMark val="none"/>
        <c:tickLblPos val="nextTo"/>
        <c:txPr>
          <a:bodyPr/>
          <a:lstStyle/>
          <a:p>
            <a:pPr>
              <a:defRPr lang="ja-JP"/>
            </a:pPr>
            <a:endParaRPr lang="en-US"/>
          </a:p>
        </c:txPr>
        <c:crossAx val="-573686608"/>
        <c:crosses val="autoZero"/>
        <c:crossBetween val="between"/>
      </c:valAx>
    </c:plotArea>
    <c:legend>
      <c:legendPos val="b"/>
      <c:overlay val="0"/>
      <c:txPr>
        <a:bodyPr/>
        <a:lstStyle/>
        <a:p>
          <a:pPr>
            <a:defRPr lang="ja-JP"/>
          </a:pPr>
          <a:endParaRPr lang="en-US"/>
        </a:p>
      </c:txPr>
    </c:legend>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FE48B1C-1E6B-744F-8E6C-3836D33BC0D9}" type="datetimeFigureOut">
              <a:rPr lang="en-US"/>
              <a:pPr>
                <a:defRPr/>
              </a:pPr>
              <a:t>12/10/18</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5A8EAB7-F1BA-274C-91A9-46214A29E509}" type="slidenum">
              <a:rPr lang="en-US"/>
              <a:pPr>
                <a:defRPr/>
              </a:pPr>
              <a:t>‹#›</a:t>
            </a:fld>
            <a:endParaRPr lang="en-US"/>
          </a:p>
        </p:txBody>
      </p:sp>
    </p:spTree>
    <p:extLst>
      <p:ext uri="{BB962C8B-B14F-4D97-AF65-F5344CB8AC3E}">
        <p14:creationId xmlns:p14="http://schemas.microsoft.com/office/powerpoint/2010/main" val="333848060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ea typeface="+mn-ea"/>
                <a:cs typeface="+mn-cs"/>
              </a:defRPr>
            </a:lvl1pPr>
          </a:lstStyle>
          <a:p>
            <a:pPr>
              <a:defRPr/>
            </a:pPr>
            <a:fld id="{2A637A29-4E7E-A24B-BAB1-D48C888F91E4}" type="datetimeFigureOut">
              <a:rPr lang="en-US"/>
              <a:pPr>
                <a:defRPr/>
              </a:pPr>
              <a:t>12/10/18</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ea typeface="+mn-ea"/>
                <a:cs typeface="+mn-cs"/>
              </a:defRPr>
            </a:lvl1pPr>
          </a:lstStyle>
          <a:p>
            <a:pPr>
              <a:defRPr/>
            </a:pPr>
            <a:fld id="{F97A1FA6-25DE-9E4E-A34D-CF67DE7DBDC7}" type="slidenum">
              <a:rPr lang="en-US"/>
              <a:pPr>
                <a:defRPr/>
              </a:pPr>
              <a:t>‹#›</a:t>
            </a:fld>
            <a:endParaRPr lang="en-US"/>
          </a:p>
        </p:txBody>
      </p:sp>
    </p:spTree>
    <p:extLst>
      <p:ext uri="{BB962C8B-B14F-4D97-AF65-F5344CB8AC3E}">
        <p14:creationId xmlns:p14="http://schemas.microsoft.com/office/powerpoint/2010/main" val="3228492595"/>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charset="0"/>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a:t>
            </a:fld>
            <a:endParaRPr lang="en-US"/>
          </a:p>
        </p:txBody>
      </p:sp>
    </p:spTree>
    <p:extLst>
      <p:ext uri="{BB962C8B-B14F-4D97-AF65-F5344CB8AC3E}">
        <p14:creationId xmlns:p14="http://schemas.microsoft.com/office/powerpoint/2010/main" val="9185998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2</a:t>
            </a:fld>
            <a:endParaRPr lang="en-US"/>
          </a:p>
        </p:txBody>
      </p:sp>
    </p:spTree>
    <p:extLst>
      <p:ext uri="{BB962C8B-B14F-4D97-AF65-F5344CB8AC3E}">
        <p14:creationId xmlns:p14="http://schemas.microsoft.com/office/powerpoint/2010/main" val="2040995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3</a:t>
            </a:fld>
            <a:endParaRPr lang="en-US"/>
          </a:p>
        </p:txBody>
      </p:sp>
    </p:spTree>
    <p:extLst>
      <p:ext uri="{BB962C8B-B14F-4D97-AF65-F5344CB8AC3E}">
        <p14:creationId xmlns:p14="http://schemas.microsoft.com/office/powerpoint/2010/main" val="251235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4</a:t>
            </a:fld>
            <a:endParaRPr lang="en-US"/>
          </a:p>
        </p:txBody>
      </p:sp>
    </p:spTree>
    <p:extLst>
      <p:ext uri="{BB962C8B-B14F-4D97-AF65-F5344CB8AC3E}">
        <p14:creationId xmlns:p14="http://schemas.microsoft.com/office/powerpoint/2010/main" val="12200611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B2FCB79-2C0C-F84D-A224-30C295992FCE}" type="slidenum">
              <a:rPr lang="en-US" smtClean="0"/>
              <a:t>15</a:t>
            </a:fld>
            <a:endParaRPr lang="en-US"/>
          </a:p>
        </p:txBody>
      </p:sp>
    </p:spTree>
    <p:extLst>
      <p:ext uri="{BB962C8B-B14F-4D97-AF65-F5344CB8AC3E}">
        <p14:creationId xmlns:p14="http://schemas.microsoft.com/office/powerpoint/2010/main" val="81406730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6</a:t>
            </a:fld>
            <a:endParaRPr lang="en-US"/>
          </a:p>
        </p:txBody>
      </p:sp>
    </p:spTree>
    <p:extLst>
      <p:ext uri="{BB962C8B-B14F-4D97-AF65-F5344CB8AC3E}">
        <p14:creationId xmlns:p14="http://schemas.microsoft.com/office/powerpoint/2010/main" val="7690130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7</a:t>
            </a:fld>
            <a:endParaRPr lang="en-US"/>
          </a:p>
        </p:txBody>
      </p:sp>
    </p:spTree>
    <p:extLst>
      <p:ext uri="{BB962C8B-B14F-4D97-AF65-F5344CB8AC3E}">
        <p14:creationId xmlns:p14="http://schemas.microsoft.com/office/powerpoint/2010/main" val="12462983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8</a:t>
            </a:fld>
            <a:endParaRPr lang="en-US"/>
          </a:p>
        </p:txBody>
      </p:sp>
    </p:spTree>
    <p:extLst>
      <p:ext uri="{BB962C8B-B14F-4D97-AF65-F5344CB8AC3E}">
        <p14:creationId xmlns:p14="http://schemas.microsoft.com/office/powerpoint/2010/main" val="7333788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21317561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sz="1200"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solidFill>
                  <a:prstClr val="black"/>
                </a:solidFill>
              </a:rPr>
              <a:pPr>
                <a:defRPr/>
              </a:pPr>
              <a:t>22</a:t>
            </a:fld>
            <a:endParaRPr lang="en-US">
              <a:solidFill>
                <a:prstClr val="black"/>
              </a:solidFill>
            </a:endParaRPr>
          </a:p>
        </p:txBody>
      </p:sp>
    </p:spTree>
    <p:extLst>
      <p:ext uri="{BB962C8B-B14F-4D97-AF65-F5344CB8AC3E}">
        <p14:creationId xmlns:p14="http://schemas.microsoft.com/office/powerpoint/2010/main" val="1387677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 2009, Cisco Systems, Inc. All rights reserved.</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a:ln>
                  <a:noFill/>
                </a:ln>
                <a:solidFill>
                  <a:prstClr val="black"/>
                </a:solidFill>
                <a:effectLst/>
                <a:uLnTx/>
                <a:uFillTx/>
                <a:latin typeface="Calibri" panose="020F0502020204030204"/>
                <a:ea typeface="+mn-ea"/>
                <a:cs typeface="+mn-cs"/>
              </a:rPr>
              <a:t>Presentation_ID.scr</a:t>
            </a:r>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Slide Number Placeholder 4"/>
          <p:cNvSpPr>
            <a:spLocks noGrp="1"/>
          </p:cNvSpPr>
          <p:nvPr>
            <p:ph type="sldNum" sz="quarter" idx="11"/>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67B6F56-350B-4E5B-A84B-F03C933C9AF6}"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US" sz="13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5387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68313" y="690563"/>
            <a:ext cx="6140450" cy="3454400"/>
          </a:xfrm>
        </p:spPr>
      </p:sp>
      <p:sp>
        <p:nvSpPr>
          <p:cNvPr id="3" name="Notes Placeholder 2"/>
          <p:cNvSpPr>
            <a:spLocks noGrp="1"/>
          </p:cNvSpPr>
          <p:nvPr>
            <p:ph type="body" idx="1"/>
          </p:nvPr>
        </p:nvSpPr>
        <p:spPr/>
        <p:txBody>
          <a:bodyPr/>
          <a:lstStyle/>
          <a:p>
            <a:pPr marL="174468" indent="-174468">
              <a:buFont typeface="Arial" panose="020B0604020202020204" pitchFamily="34" charset="0"/>
              <a:buChar char="•"/>
            </a:pPr>
            <a:endParaRPr lang="en-US" b="1"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8438005-C9FE-421C-B26E-39E46AD95281}"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004667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6</a:t>
            </a:fld>
            <a:endParaRPr lang="en-US"/>
          </a:p>
        </p:txBody>
      </p:sp>
    </p:spTree>
    <p:extLst>
      <p:ext uri="{BB962C8B-B14F-4D97-AF65-F5344CB8AC3E}">
        <p14:creationId xmlns:p14="http://schemas.microsoft.com/office/powerpoint/2010/main" val="6675723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27</a:t>
            </a:fld>
            <a:endParaRPr lang="en-US">
              <a:solidFill>
                <a:prstClr val="black"/>
              </a:solidFill>
            </a:endParaRPr>
          </a:p>
        </p:txBody>
      </p:sp>
    </p:spTree>
    <p:extLst>
      <p:ext uri="{BB962C8B-B14F-4D97-AF65-F5344CB8AC3E}">
        <p14:creationId xmlns:p14="http://schemas.microsoft.com/office/powerpoint/2010/main" val="14682202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0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50755738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29</a:t>
            </a:fld>
            <a:endParaRPr lang="en-US"/>
          </a:p>
        </p:txBody>
      </p:sp>
    </p:spTree>
    <p:extLst>
      <p:ext uri="{BB962C8B-B14F-4D97-AF65-F5344CB8AC3E}">
        <p14:creationId xmlns:p14="http://schemas.microsoft.com/office/powerpoint/2010/main" val="16008553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charset="0"/>
              <a:buChar char="•"/>
            </a:pPr>
            <a:endParaRPr lang="en-US" dirty="0"/>
          </a:p>
        </p:txBody>
      </p:sp>
      <p:sp>
        <p:nvSpPr>
          <p:cNvPr id="4" name="Slide Number Placeholder 3"/>
          <p:cNvSpPr>
            <a:spLocks noGrp="1"/>
          </p:cNvSpPr>
          <p:nvPr>
            <p:ph type="sldNum" sz="quarter" idx="10"/>
          </p:nvPr>
        </p:nvSpPr>
        <p:spPr/>
        <p:txBody>
          <a:bodyPr/>
          <a:lstStyle/>
          <a:p>
            <a:pPr>
              <a:defRPr/>
            </a:pPr>
            <a:fld id="{392A7765-7C3F-4AFE-AE23-6F09625D6EDA}" type="slidenum">
              <a:rPr lang="en-US" smtClean="0"/>
              <a:pPr>
                <a:defRPr/>
              </a:pPr>
              <a:t>30</a:t>
            </a:fld>
            <a:endParaRPr lang="en-US"/>
          </a:p>
        </p:txBody>
      </p:sp>
    </p:spTree>
    <p:extLst>
      <p:ext uri="{BB962C8B-B14F-4D97-AF65-F5344CB8AC3E}">
        <p14:creationId xmlns:p14="http://schemas.microsoft.com/office/powerpoint/2010/main" val="19590777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7B2FCB79-2C0C-F84D-A224-30C295992FCE}" type="slidenum">
              <a:rPr lang="en-US" smtClean="0">
                <a:solidFill>
                  <a:prstClr val="black"/>
                </a:solidFill>
              </a:rPr>
              <a:pPr/>
              <a:t>31</a:t>
            </a:fld>
            <a:endParaRPr lang="en-US">
              <a:solidFill>
                <a:prstClr val="black"/>
              </a:solidFill>
            </a:endParaRPr>
          </a:p>
        </p:txBody>
      </p:sp>
    </p:spTree>
    <p:extLst>
      <p:ext uri="{BB962C8B-B14F-4D97-AF65-F5344CB8AC3E}">
        <p14:creationId xmlns:p14="http://schemas.microsoft.com/office/powerpoint/2010/main" val="5975709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2</a:t>
            </a:fld>
            <a:endParaRPr lang="en-US" dirty="0"/>
          </a:p>
        </p:txBody>
      </p:sp>
    </p:spTree>
    <p:extLst>
      <p:ext uri="{BB962C8B-B14F-4D97-AF65-F5344CB8AC3E}">
        <p14:creationId xmlns:p14="http://schemas.microsoft.com/office/powerpoint/2010/main" val="18539191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kern="1200" dirty="0">
              <a:solidFill>
                <a:schemeClr val="tx1"/>
              </a:solidFill>
              <a:effectLst/>
              <a:latin typeface="Arial" pitchFamily="34" charset="0"/>
              <a:ea typeface="ＭＳ Ｐゴシック" charset="0"/>
              <a:cs typeface="Arial" pitchFamily="34" charset="0"/>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0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3</a:t>
            </a:fld>
            <a:endParaRPr kumimoji="0" lang="en-US" sz="10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85481261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kern="1200" dirty="0">
              <a:solidFill>
                <a:schemeClr val="tx1"/>
              </a:solidFill>
              <a:effectLst/>
              <a:latin typeface="Arial" pitchFamily="34" charset="0"/>
              <a:ea typeface="ＭＳ Ｐゴシック" charset="0"/>
              <a:cs typeface="Arial" pitchFamily="34" charset="0"/>
            </a:endParaRPr>
          </a:p>
        </p:txBody>
      </p:sp>
      <p:sp>
        <p:nvSpPr>
          <p:cNvPr id="4" name="Slide Number Placeholder 3"/>
          <p:cNvSpPr>
            <a:spLocks noGrp="1"/>
          </p:cNvSpPr>
          <p:nvPr>
            <p:ph type="sldNum" sz="quarter" idx="10"/>
          </p:nvPr>
        </p:nvSpPr>
        <p:spPr/>
        <p:txBody>
          <a:bodyPr/>
          <a:lstStyle/>
          <a:p>
            <a:pPr>
              <a:defRPr/>
            </a:pPr>
            <a:fld id="{F97A1FA6-25DE-9E4E-A34D-CF67DE7DBDC7}" type="slidenum">
              <a:rPr lang="en-US" sz="1000" smtClean="0">
                <a:solidFill>
                  <a:prstClr val="black"/>
                </a:solidFill>
                <a:latin typeface="Arial" pitchFamily="34" charset="0"/>
                <a:cs typeface="Arial" pitchFamily="34" charset="0"/>
              </a:rPr>
              <a:pPr>
                <a:defRPr/>
              </a:pPr>
              <a:t>34</a:t>
            </a:fld>
            <a:endParaRPr lang="en-US" sz="1000">
              <a:solidFill>
                <a:prstClr val="black"/>
              </a:solidFill>
              <a:latin typeface="Arial" pitchFamily="34" charset="0"/>
              <a:cs typeface="Arial" pitchFamily="34" charset="0"/>
            </a:endParaRPr>
          </a:p>
        </p:txBody>
      </p:sp>
    </p:spTree>
    <p:extLst>
      <p:ext uri="{BB962C8B-B14F-4D97-AF65-F5344CB8AC3E}">
        <p14:creationId xmlns:p14="http://schemas.microsoft.com/office/powerpoint/2010/main" val="17150812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5</a:t>
            </a:fld>
            <a:endParaRPr lang="en-US"/>
          </a:p>
        </p:txBody>
      </p:sp>
    </p:spTree>
    <p:extLst>
      <p:ext uri="{BB962C8B-B14F-4D97-AF65-F5344CB8AC3E}">
        <p14:creationId xmlns:p14="http://schemas.microsoft.com/office/powerpoint/2010/main" val="11139311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57189">
              <a:defRPr/>
            </a:pPr>
            <a:fld id="{BB05EFCA-403C-4BA7-B674-7B132B1CD0E1}" type="slidenum">
              <a:rPr lang="en-US" smtClean="0">
                <a:solidFill>
                  <a:prstClr val="black"/>
                </a:solidFill>
                <a:latin typeface="Arial" panose="020B0604020202020204" pitchFamily="34" charset="0"/>
                <a:cs typeface="Arial" panose="020B0604020202020204" pitchFamily="34" charset="0"/>
              </a:rPr>
              <a:pPr defTabSz="457189">
                <a:defRPr/>
              </a:pPr>
              <a:t>5</a:t>
            </a:fld>
            <a:endParaRPr lang="en-US"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000093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36</a:t>
            </a:fld>
            <a:endParaRPr lang="en-US"/>
          </a:p>
        </p:txBody>
      </p:sp>
    </p:spTree>
    <p:extLst>
      <p:ext uri="{BB962C8B-B14F-4D97-AF65-F5344CB8AC3E}">
        <p14:creationId xmlns:p14="http://schemas.microsoft.com/office/powerpoint/2010/main" val="16026913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baseline="0" dirty="0"/>
          </a:p>
        </p:txBody>
      </p:sp>
      <p:sp>
        <p:nvSpPr>
          <p:cNvPr id="4" name="Slide Number Placeholder 3"/>
          <p:cNvSpPr>
            <a:spLocks noGrp="1"/>
          </p:cNvSpPr>
          <p:nvPr>
            <p:ph type="sldNum" sz="quarter" idx="10"/>
          </p:nvPr>
        </p:nvSpPr>
        <p:spPr/>
        <p:txBody>
          <a:bodyPr/>
          <a:lstStyle/>
          <a:p>
            <a:pPr>
              <a:defRPr/>
            </a:pPr>
            <a:fld id="{3F6C1005-B323-4A04-B0D1-DB577C3C2ECA}" type="slidenum">
              <a:rPr lang="en-US" smtClean="0">
                <a:solidFill>
                  <a:prstClr val="black"/>
                </a:solidFill>
              </a:rPr>
              <a:pPr>
                <a:defRPr/>
              </a:pPr>
              <a:t>6</a:t>
            </a:fld>
            <a:endParaRPr lang="en-US">
              <a:solidFill>
                <a:prstClr val="black"/>
              </a:solidFill>
            </a:endParaRPr>
          </a:p>
        </p:txBody>
      </p:sp>
    </p:spTree>
    <p:extLst>
      <p:ext uri="{BB962C8B-B14F-4D97-AF65-F5344CB8AC3E}">
        <p14:creationId xmlns:p14="http://schemas.microsoft.com/office/powerpoint/2010/main" val="21312217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a:defRPr/>
            </a:pPr>
            <a:fld id="{392A7765-7C3F-4AFE-AE23-6F09625D6EDA}" type="slidenum">
              <a:rPr lang="en-US" smtClean="0"/>
              <a:pPr>
                <a:defRPr/>
              </a:pPr>
              <a:t>7</a:t>
            </a:fld>
            <a:endParaRPr lang="en-US"/>
          </a:p>
        </p:txBody>
      </p:sp>
    </p:spTree>
    <p:extLst>
      <p:ext uri="{BB962C8B-B14F-4D97-AF65-F5344CB8AC3E}">
        <p14:creationId xmlns:p14="http://schemas.microsoft.com/office/powerpoint/2010/main" val="12620790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8</a:t>
            </a:fld>
            <a:endParaRPr lang="en-US"/>
          </a:p>
        </p:txBody>
      </p:sp>
    </p:spTree>
    <p:extLst>
      <p:ext uri="{BB962C8B-B14F-4D97-AF65-F5344CB8AC3E}">
        <p14:creationId xmlns:p14="http://schemas.microsoft.com/office/powerpoint/2010/main" val="11218183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97A1FA6-25DE-9E4E-A34D-CF67DE7DBDC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3664449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0</a:t>
            </a:fld>
            <a:endParaRPr lang="en-US"/>
          </a:p>
        </p:txBody>
      </p:sp>
    </p:spTree>
    <p:extLst>
      <p:ext uri="{BB962C8B-B14F-4D97-AF65-F5344CB8AC3E}">
        <p14:creationId xmlns:p14="http://schemas.microsoft.com/office/powerpoint/2010/main" val="8163959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97A1FA6-25DE-9E4E-A34D-CF67DE7DBDC7}" type="slidenum">
              <a:rPr lang="en-US" smtClean="0"/>
              <a:pPr>
                <a:defRPr/>
              </a:pPr>
              <a:t>11</a:t>
            </a:fld>
            <a:endParaRPr lang="en-US"/>
          </a:p>
        </p:txBody>
      </p:sp>
    </p:spTree>
    <p:extLst>
      <p:ext uri="{BB962C8B-B14F-4D97-AF65-F5344CB8AC3E}">
        <p14:creationId xmlns:p14="http://schemas.microsoft.com/office/powerpoint/2010/main" val="14218046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5.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1.jpeg"/></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jpeg"/><Relationship Id="rId7"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5.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23.png"/></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5.png"/><Relationship Id="rId1" Type="http://schemas.openxmlformats.org/officeDocument/2006/relationships/slideMaster" Target="../slideMasters/slideMaster6.xml"/><Relationship Id="rId4" Type="http://schemas.openxmlformats.org/officeDocument/2006/relationships/image" Target="../media/image26.png"/></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0.jpeg"/><Relationship Id="rId7" Type="http://schemas.openxmlformats.org/officeDocument/2006/relationships/image" Target="../media/image14.png"/><Relationship Id="rId2" Type="http://schemas.openxmlformats.org/officeDocument/2006/relationships/image" Target="../media/image3.png"/><Relationship Id="rId1" Type="http://schemas.openxmlformats.org/officeDocument/2006/relationships/slideMaster" Target="../slideMasters/slideMaster4.xml"/><Relationship Id="rId6" Type="http://schemas.openxmlformats.org/officeDocument/2006/relationships/image" Target="../media/image13.jpeg"/><Relationship Id="rId5" Type="http://schemas.openxmlformats.org/officeDocument/2006/relationships/image" Target="../media/image12.png"/><Relationship Id="rId4" Type="http://schemas.openxmlformats.org/officeDocument/2006/relationships/image" Target="../media/image11.jpe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jpeg"/><Relationship Id="rId7" Type="http://schemas.openxmlformats.org/officeDocument/2006/relationships/image" Target="../media/image15.png"/><Relationship Id="rId2" Type="http://schemas.openxmlformats.org/officeDocument/2006/relationships/image" Target="../media/image5.png"/><Relationship Id="rId1" Type="http://schemas.openxmlformats.org/officeDocument/2006/relationships/slideMaster" Target="../slideMasters/slideMaster4.xml"/><Relationship Id="rId6" Type="http://schemas.openxmlformats.org/officeDocument/2006/relationships/image" Target="../media/image19.jpeg"/><Relationship Id="rId5" Type="http://schemas.openxmlformats.org/officeDocument/2006/relationships/image" Target="../media/image18.png"/><Relationship Id="rId4" Type="http://schemas.openxmlformats.org/officeDocument/2006/relationships/image" Target="../media/image17.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lain Title Slide">
    <p:bg>
      <p:bgPr>
        <a:solidFill>
          <a:schemeClr val="accent1"/>
        </a:solidFill>
        <a:effectLst/>
      </p:bgPr>
    </p:bg>
    <p:spTree>
      <p:nvGrpSpPr>
        <p:cNvPr id="1" name=""/>
        <p:cNvGrpSpPr/>
        <p:nvPr/>
      </p:nvGrpSpPr>
      <p:grpSpPr>
        <a:xfrm>
          <a:off x="0" y="0"/>
          <a:ext cx="0" cy="0"/>
          <a:chOff x="0" y="0"/>
          <a:chExt cx="0" cy="0"/>
        </a:xfrm>
      </p:grpSpPr>
      <p:sp>
        <p:nvSpPr>
          <p:cNvPr id="16" name="Subtitle 2"/>
          <p:cNvSpPr>
            <a:spLocks noGrp="1"/>
          </p:cNvSpPr>
          <p:nvPr>
            <p:ph type="subTitle" idx="1" hasCustomPrompt="1"/>
          </p:nvPr>
        </p:nvSpPr>
        <p:spPr>
          <a:xfrm>
            <a:off x="469496" y="3868768"/>
            <a:ext cx="8296421" cy="288131"/>
          </a:xfrm>
          <a:prstGeom prst="rect">
            <a:avLst/>
          </a:prstGeom>
        </p:spPr>
        <p:txBody>
          <a:bodyPr lIns="91420" tIns="45710" rIns="91420" bIns="45710" anchor="b" anchorCtr="0">
            <a:noAutofit/>
          </a:bodyPr>
          <a:lstStyle>
            <a:lvl1pPr marL="0" indent="0" algn="l">
              <a:buNone/>
              <a:defRPr sz="1600" b="0" i="0">
                <a:solidFill>
                  <a:schemeClr val="bg1"/>
                </a:solidFill>
                <a:latin typeface="+mn-lt"/>
                <a:cs typeface="CiscoSansTT Light" panose="020B0503020201020303" pitchFamily="34" charset="0"/>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GB" dirty="0"/>
              <a:t>Speaker Name</a:t>
            </a:r>
            <a:endParaRPr lang="en-US" dirty="0"/>
          </a:p>
        </p:txBody>
      </p:sp>
      <p:sp>
        <p:nvSpPr>
          <p:cNvPr id="18" name="Text Placeholder 40"/>
          <p:cNvSpPr>
            <a:spLocks noGrp="1"/>
          </p:cNvSpPr>
          <p:nvPr>
            <p:ph type="body" sz="quarter" idx="12" hasCustomPrompt="1"/>
          </p:nvPr>
        </p:nvSpPr>
        <p:spPr>
          <a:xfrm>
            <a:off x="469496" y="4204696"/>
            <a:ext cx="8296421" cy="288131"/>
          </a:xfrm>
          <a:prstGeom prst="rect">
            <a:avLst/>
          </a:prstGeom>
        </p:spPr>
        <p:txBody>
          <a:bodyPr lIns="91420" tIns="45710" rIns="91420" bIns="45710"/>
          <a:lstStyle>
            <a:lvl1pPr marL="0" indent="0" algn="l">
              <a:buFontTx/>
              <a:buNone/>
              <a:defRPr lang="en-US" sz="1600" b="0" i="0" kern="1200" dirty="0" smtClean="0">
                <a:solidFill>
                  <a:schemeClr val="bg1"/>
                </a:solidFill>
                <a:latin typeface="+mn-lt"/>
                <a:ea typeface="+mn-ea"/>
                <a:cs typeface="CiscoSansTT Light" panose="020B0503020201020303"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GB" dirty="0"/>
              <a:t>Date</a:t>
            </a:r>
          </a:p>
        </p:txBody>
      </p:sp>
      <p:sp>
        <p:nvSpPr>
          <p:cNvPr id="19" name="Text Placeholder 2"/>
          <p:cNvSpPr>
            <a:spLocks noGrp="1"/>
          </p:cNvSpPr>
          <p:nvPr>
            <p:ph type="body" sz="quarter" idx="13" hasCustomPrompt="1"/>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chemeClr val="bg1"/>
                </a:solidFill>
                <a:latin typeface="+mn-lt"/>
                <a:cs typeface="CiscoSansTT Light" panose="020B0503020201020303" pitchFamily="34" charset="0"/>
              </a:defRPr>
            </a:lvl1pPr>
            <a:lvl2pPr marL="304781" indent="0">
              <a:buNone/>
              <a:defRPr/>
            </a:lvl2pPr>
            <a:lvl3pPr marL="427401" indent="0">
              <a:buNone/>
              <a:defRPr/>
            </a:lvl3pPr>
            <a:lvl4pPr marL="516694" indent="0">
              <a:buNone/>
              <a:defRPr/>
            </a:lvl4pPr>
            <a:lvl5pPr marL="601221" indent="0">
              <a:buNone/>
              <a:defRPr/>
            </a:lvl5pPr>
          </a:lstStyle>
          <a:p>
            <a:pPr lvl="0"/>
            <a:r>
              <a:rPr lang="en-GB" dirty="0"/>
              <a:t>Subtitle Goes Here</a:t>
            </a:r>
          </a:p>
        </p:txBody>
      </p:sp>
      <p:sp>
        <p:nvSpPr>
          <p:cNvPr id="20" name="Title 1"/>
          <p:cNvSpPr>
            <a:spLocks noGrp="1"/>
          </p:cNvSpPr>
          <p:nvPr>
            <p:ph type="ctrTitle" hasCustomPrompt="1"/>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000" b="0" i="0" spc="0" baseline="0">
                <a:solidFill>
                  <a:schemeClr val="bg1"/>
                </a:solidFill>
                <a:latin typeface="+mj-lt"/>
                <a:cs typeface="CiscoSansTT Light" panose="020B0503020201020303" pitchFamily="34" charset="0"/>
              </a:defRPr>
            </a:lvl1pPr>
          </a:lstStyle>
          <a:p>
            <a:r>
              <a:rPr lang="en-GB" dirty="0"/>
              <a:t>Presentation Title Goes Here</a:t>
            </a:r>
            <a:endParaRPr lang="en-US" dirty="0"/>
          </a:p>
        </p:txBody>
      </p:sp>
      <p:sp>
        <p:nvSpPr>
          <p:cNvPr id="6" name="Freeform 6"/>
          <p:cNvSpPr>
            <a:spLocks noChangeAspect="1" noEditPoints="1"/>
          </p:cNvSpPr>
          <p:nvPr userDrawn="1"/>
        </p:nvSpPr>
        <p:spPr bwMode="auto">
          <a:xfrm>
            <a:off x="469496" y="391308"/>
            <a:ext cx="795528" cy="422625"/>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tx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229423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SNAP Prime Multi_title_sli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189408"/>
            <a:ext cx="8345488" cy="3326590"/>
          </a:xfrm>
          <a:prstGeom prst="rect">
            <a:avLst/>
          </a:prstGeom>
        </p:spPr>
        <p:txBody>
          <a:bodyPr lIns="91420" tIns="45710" rIns="91420" bIns="45710">
            <a:noAutofit/>
          </a:bodyPr>
          <a:lstStyle>
            <a:lvl1pPr marL="347663" indent="-290513">
              <a:lnSpc>
                <a:spcPct val="95000"/>
              </a:lnSpc>
              <a:spcBef>
                <a:spcPts val="1110"/>
              </a:spcBef>
              <a:buClr>
                <a:schemeClr val="tx2"/>
              </a:buClr>
              <a:buSzPct val="80000"/>
              <a:buFont typeface="Wingdings" panose="05000000000000000000" pitchFamily="2" charset="2"/>
              <a:buChar char="§"/>
              <a:defRPr sz="2400" b="0" i="0">
                <a:solidFill>
                  <a:schemeClr val="tx2"/>
                </a:solidFill>
                <a:latin typeface="Arial" panose="020B0604020202020204" pitchFamily="34" charset="0"/>
                <a:cs typeface="Arial" panose="020B0604020202020204" pitchFamily="34" charset="0"/>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dirty="0"/>
              <a:t>Edit Master text styles</a:t>
            </a:r>
          </a:p>
        </p:txBody>
      </p:sp>
      <p:sp>
        <p:nvSpPr>
          <p:cNvPr id="5"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Arial" panose="020B0604020202020204" pitchFamily="34" charset="0"/>
                <a:cs typeface="Arial" panose="020B0604020202020204" pitchFamily="34" charset="0"/>
              </a:defRPr>
            </a:lvl1pPr>
            <a:lvl2pPr marL="304781" indent="0">
              <a:buNone/>
              <a:defRPr/>
            </a:lvl2pPr>
            <a:lvl3pPr marL="427401" indent="0">
              <a:buNone/>
              <a:defRPr/>
            </a:lvl3pPr>
            <a:lvl4pPr marL="516694" indent="0">
              <a:buNone/>
              <a:defRPr/>
            </a:lvl4pPr>
            <a:lvl5pPr marL="601221" indent="0">
              <a:buNone/>
              <a:defRPr/>
            </a:lvl5pPr>
          </a:lstStyle>
          <a:p>
            <a:pPr lvl="0"/>
            <a:r>
              <a:rPr lang="en-US" dirty="0"/>
              <a:t>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2800" b="0" i="0" spc="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4058078853"/>
      </p:ext>
    </p:extLst>
  </p:cSld>
  <p:clrMapOvr>
    <a:masterClrMapping/>
  </p:clrMapOvr>
  <p:transition spd="med">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Warna Master">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5" hasCustomPrompt="1"/>
          </p:nvPr>
        </p:nvSpPr>
        <p:spPr>
          <a:xfrm>
            <a:off x="402675" y="0"/>
            <a:ext cx="8352064" cy="507588"/>
          </a:xfrm>
        </p:spPr>
        <p:txBody>
          <a:bodyPr anchor="b">
            <a:noAutofit/>
          </a:bodyPr>
          <a:lstStyle>
            <a:lvl1pPr marL="0" indent="0" algn="l">
              <a:buNone/>
              <a:defRPr sz="2100" spc="-113">
                <a:solidFill>
                  <a:schemeClr val="tx1"/>
                </a:solidFill>
                <a:latin typeface="+mj-lt"/>
              </a:defRPr>
            </a:lvl1pPr>
            <a:lvl2pPr algn="ctr">
              <a:defRPr/>
            </a:lvl2pPr>
            <a:lvl3pPr algn="ctr">
              <a:defRPr/>
            </a:lvl3pPr>
            <a:lvl4pPr algn="ctr">
              <a:defRPr/>
            </a:lvl4pPr>
            <a:lvl5pPr algn="ctr">
              <a:defRPr/>
            </a:lvl5pPr>
          </a:lstStyle>
          <a:p>
            <a:pPr lvl="0"/>
            <a:r>
              <a:rPr lang="en-US" dirty="0"/>
              <a:t>Slide title or leave blank</a:t>
            </a:r>
          </a:p>
        </p:txBody>
      </p:sp>
      <p:sp>
        <p:nvSpPr>
          <p:cNvPr id="7" name="Date Placeholder 6"/>
          <p:cNvSpPr>
            <a:spLocks noGrp="1"/>
          </p:cNvSpPr>
          <p:nvPr>
            <p:ph type="dt" sz="half" idx="10"/>
          </p:nvPr>
        </p:nvSpPr>
        <p:spPr>
          <a:xfrm>
            <a:off x="6457951" y="4767264"/>
            <a:ext cx="2057400" cy="273844"/>
          </a:xfrm>
          <a:prstGeom prst="rect">
            <a:avLst/>
          </a:prstGeom>
        </p:spPr>
        <p:txBody>
          <a:bodyPr/>
          <a:lstStyle/>
          <a:p>
            <a:pPr eaLnBrk="0" hangingPunct="0"/>
            <a:fld id="{4F56262E-59F4-4FD4-8EEC-BCC43A13358C}" type="datetime1">
              <a:rPr lang="en-US" smtClean="0">
                <a:solidFill>
                  <a:srgbClr val="58585B"/>
                </a:solidFill>
                <a:latin typeface="Arial" panose="020B0604020202020204" pitchFamily="34" charset="0"/>
                <a:ea typeface="ＭＳ Ｐゴシック" panose="020B0600070205080204" pitchFamily="34" charset="-128"/>
                <a:cs typeface=""/>
              </a:rPr>
              <a:pPr eaLnBrk="0" hangingPunct="0"/>
              <a:t>12/10/18</a:t>
            </a:fld>
            <a:endParaRPr lang="en-US">
              <a:solidFill>
                <a:srgbClr val="58585B"/>
              </a:solidFill>
              <a:latin typeface="Arial" panose="020B0604020202020204" pitchFamily="34" charset="0"/>
              <a:ea typeface="ＭＳ Ｐゴシック" panose="020B0600070205080204" pitchFamily="34" charset="-128"/>
              <a:cs typeface=""/>
            </a:endParaRPr>
          </a:p>
        </p:txBody>
      </p:sp>
      <p:sp>
        <p:nvSpPr>
          <p:cNvPr id="8" name="Footer Placeholder 7"/>
          <p:cNvSpPr>
            <a:spLocks noGrp="1"/>
          </p:cNvSpPr>
          <p:nvPr>
            <p:ph type="ftr" sz="quarter" idx="11"/>
          </p:nvPr>
        </p:nvSpPr>
        <p:spPr>
          <a:xfrm>
            <a:off x="3028951" y="4767264"/>
            <a:ext cx="3086100" cy="273844"/>
          </a:xfrm>
          <a:prstGeom prst="rect">
            <a:avLst/>
          </a:prstGeom>
        </p:spPr>
        <p:txBody>
          <a:bodyPr/>
          <a:lstStyle/>
          <a:p>
            <a:pPr eaLnBrk="0" hangingPunct="0"/>
            <a:endParaRPr lang="en-US">
              <a:solidFill>
                <a:srgbClr val="58585B"/>
              </a:solidFill>
              <a:latin typeface="Arial" panose="020B0604020202020204" pitchFamily="34" charset="0"/>
              <a:ea typeface="ＭＳ Ｐゴシック" panose="020B0600070205080204" pitchFamily="34" charset="-128"/>
              <a:cs typeface=""/>
            </a:endParaRPr>
          </a:p>
        </p:txBody>
      </p:sp>
      <p:sp>
        <p:nvSpPr>
          <p:cNvPr id="9" name="Slide Number Placeholder 8"/>
          <p:cNvSpPr>
            <a:spLocks noGrp="1"/>
          </p:cNvSpPr>
          <p:nvPr>
            <p:ph type="sldNum" sz="quarter" idx="12"/>
          </p:nvPr>
        </p:nvSpPr>
        <p:spPr/>
        <p:txBody>
          <a:bodyPr/>
          <a:lstStyle/>
          <a:p>
            <a:pPr eaLnBrk="0" hangingPunct="0"/>
            <a:fld id="{82E53424-D1F0-4C59-ACFB-E47533F4CD2B}" type="slidenum">
              <a:rPr lang="en-US" smtClean="0">
                <a:solidFill>
                  <a:srgbClr val="58585B"/>
                </a:solidFill>
                <a:latin typeface="Arial" panose="020B0604020202020204" pitchFamily="34" charset="0"/>
                <a:ea typeface="ＭＳ Ｐゴシック" panose="020B0600070205080204" pitchFamily="34" charset="-128"/>
                <a:cs typeface=""/>
              </a:rPr>
              <a:pPr eaLnBrk="0" hangingPunct="0"/>
              <a:t>‹#›</a:t>
            </a:fld>
            <a:endParaRPr lang="en-US">
              <a:solidFill>
                <a:srgbClr val="58585B"/>
              </a:solidFill>
              <a:latin typeface="Arial" panose="020B0604020202020204" pitchFamily="34" charset="0"/>
              <a:ea typeface="ＭＳ Ｐゴシック" panose="020B0600070205080204" pitchFamily="34" charset="-128"/>
              <a:cs typeface=""/>
            </a:endParaRPr>
          </a:p>
        </p:txBody>
      </p:sp>
      <p:sp>
        <p:nvSpPr>
          <p:cNvPr id="13" name="Text Placeholder 12"/>
          <p:cNvSpPr>
            <a:spLocks noGrp="1"/>
          </p:cNvSpPr>
          <p:nvPr>
            <p:ph type="body" sz="quarter" idx="16" hasCustomPrompt="1"/>
          </p:nvPr>
        </p:nvSpPr>
        <p:spPr>
          <a:xfrm>
            <a:off x="402675" y="483566"/>
            <a:ext cx="8352063" cy="207692"/>
          </a:xfrm>
        </p:spPr>
        <p:txBody>
          <a:bodyPr>
            <a:noAutofit/>
          </a:bodyPr>
          <a:lstStyle>
            <a:lvl1pPr marL="0" indent="0" algn="l">
              <a:buNone/>
              <a:defRPr sz="1050" i="0">
                <a:solidFill>
                  <a:schemeClr val="tx1">
                    <a:lumMod val="50000"/>
                    <a:lumOff val="50000"/>
                  </a:schemeClr>
                </a:solidFill>
              </a:defRPr>
            </a:lvl1pPr>
          </a:lstStyle>
          <a:p>
            <a:pPr lvl="0"/>
            <a:r>
              <a:rPr lang="en-US" dirty="0"/>
              <a:t>Put your subtitle here or leave blank</a:t>
            </a:r>
          </a:p>
        </p:txBody>
      </p:sp>
      <p:sp>
        <p:nvSpPr>
          <p:cNvPr id="10" name="Picture Placeholder 2"/>
          <p:cNvSpPr>
            <a:spLocks noGrp="1"/>
          </p:cNvSpPr>
          <p:nvPr>
            <p:ph type="pic" sz="quarter" idx="17"/>
          </p:nvPr>
        </p:nvSpPr>
        <p:spPr>
          <a:xfrm>
            <a:off x="9266453" y="1384027"/>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1" name="Picture Placeholder 2"/>
          <p:cNvSpPr>
            <a:spLocks noGrp="1"/>
          </p:cNvSpPr>
          <p:nvPr>
            <p:ph type="pic" sz="quarter" idx="18"/>
          </p:nvPr>
        </p:nvSpPr>
        <p:spPr>
          <a:xfrm>
            <a:off x="9266453" y="1783038"/>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2" name="Picture Placeholder 2"/>
          <p:cNvSpPr>
            <a:spLocks noGrp="1"/>
          </p:cNvSpPr>
          <p:nvPr>
            <p:ph type="pic" sz="quarter" idx="19"/>
          </p:nvPr>
        </p:nvSpPr>
        <p:spPr>
          <a:xfrm>
            <a:off x="9599854" y="1783038"/>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4" name="Picture Placeholder 2"/>
          <p:cNvSpPr>
            <a:spLocks noGrp="1"/>
          </p:cNvSpPr>
          <p:nvPr>
            <p:ph type="pic" sz="quarter" idx="20"/>
          </p:nvPr>
        </p:nvSpPr>
        <p:spPr>
          <a:xfrm>
            <a:off x="9599854" y="1384027"/>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5" name="Picture Placeholder 2"/>
          <p:cNvSpPr>
            <a:spLocks noGrp="1"/>
          </p:cNvSpPr>
          <p:nvPr>
            <p:ph type="pic" sz="quarter" idx="21"/>
          </p:nvPr>
        </p:nvSpPr>
        <p:spPr>
          <a:xfrm>
            <a:off x="9266453" y="2973811"/>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6" name="Picture Placeholder 2"/>
          <p:cNvSpPr>
            <a:spLocks noGrp="1"/>
          </p:cNvSpPr>
          <p:nvPr>
            <p:ph type="pic" sz="quarter" idx="22"/>
          </p:nvPr>
        </p:nvSpPr>
        <p:spPr>
          <a:xfrm>
            <a:off x="9599854" y="2973811"/>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7" name="Picture Placeholder 2"/>
          <p:cNvSpPr>
            <a:spLocks noGrp="1"/>
          </p:cNvSpPr>
          <p:nvPr>
            <p:ph type="pic" sz="quarter" idx="23"/>
          </p:nvPr>
        </p:nvSpPr>
        <p:spPr>
          <a:xfrm>
            <a:off x="9266453" y="2221373"/>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8" name="Picture Placeholder 2"/>
          <p:cNvSpPr>
            <a:spLocks noGrp="1"/>
          </p:cNvSpPr>
          <p:nvPr>
            <p:ph type="pic" sz="quarter" idx="24"/>
          </p:nvPr>
        </p:nvSpPr>
        <p:spPr>
          <a:xfrm>
            <a:off x="9266453" y="2620384"/>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9" name="Picture Placeholder 2"/>
          <p:cNvSpPr>
            <a:spLocks noGrp="1"/>
          </p:cNvSpPr>
          <p:nvPr>
            <p:ph type="pic" sz="quarter" idx="25"/>
          </p:nvPr>
        </p:nvSpPr>
        <p:spPr>
          <a:xfrm>
            <a:off x="9599854" y="2620384"/>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20" name="Picture Placeholder 2"/>
          <p:cNvSpPr>
            <a:spLocks noGrp="1"/>
          </p:cNvSpPr>
          <p:nvPr>
            <p:ph type="pic" sz="quarter" idx="26"/>
          </p:nvPr>
        </p:nvSpPr>
        <p:spPr>
          <a:xfrm>
            <a:off x="9599854" y="2221373"/>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21" name="Picture Placeholder 2"/>
          <p:cNvSpPr>
            <a:spLocks noGrp="1"/>
          </p:cNvSpPr>
          <p:nvPr>
            <p:ph type="pic" sz="quarter" idx="27"/>
          </p:nvPr>
        </p:nvSpPr>
        <p:spPr>
          <a:xfrm>
            <a:off x="9266453" y="3294608"/>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22" name="Picture Placeholder 2"/>
          <p:cNvSpPr>
            <a:spLocks noGrp="1"/>
          </p:cNvSpPr>
          <p:nvPr>
            <p:ph type="pic" sz="quarter" idx="28"/>
          </p:nvPr>
        </p:nvSpPr>
        <p:spPr>
          <a:xfrm>
            <a:off x="9599854" y="3294608"/>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23" name="Picture Placeholder 24"/>
          <p:cNvSpPr>
            <a:spLocks noGrp="1"/>
          </p:cNvSpPr>
          <p:nvPr>
            <p:ph type="pic" sz="quarter" idx="29"/>
          </p:nvPr>
        </p:nvSpPr>
        <p:spPr>
          <a:xfrm>
            <a:off x="9586876" y="3697796"/>
            <a:ext cx="289292" cy="340517"/>
          </a:xfrm>
          <a:custGeom>
            <a:avLst/>
            <a:gdLst>
              <a:gd name="connsiteX0" fmla="*/ 252115 w 7832714"/>
              <a:gd name="connsiteY0" fmla="*/ 5667920 h 9222028"/>
              <a:gd name="connsiteX1" fmla="*/ 321118 w 7832714"/>
              <a:gd name="connsiteY1" fmla="*/ 5706061 h 9222028"/>
              <a:gd name="connsiteX2" fmla="*/ 341919 w 7832714"/>
              <a:gd name="connsiteY2" fmla="*/ 5718200 h 9222028"/>
              <a:gd name="connsiteX3" fmla="*/ 303472 w 7832714"/>
              <a:gd name="connsiteY3" fmla="*/ 5696674 h 9222028"/>
              <a:gd name="connsiteX4" fmla="*/ 252115 w 7832714"/>
              <a:gd name="connsiteY4" fmla="*/ 5667920 h 9222028"/>
              <a:gd name="connsiteX5" fmla="*/ 80926 w 7832714"/>
              <a:gd name="connsiteY5" fmla="*/ 2490980 h 9222028"/>
              <a:gd name="connsiteX6" fmla="*/ 197626 w 7832714"/>
              <a:gd name="connsiteY6" fmla="*/ 2562114 h 9222028"/>
              <a:gd name="connsiteX7" fmla="*/ 295741 w 7832714"/>
              <a:gd name="connsiteY7" fmla="*/ 2621920 h 9222028"/>
              <a:gd name="connsiteX8" fmla="*/ 301916 w 7832714"/>
              <a:gd name="connsiteY8" fmla="*/ 2627757 h 9222028"/>
              <a:gd name="connsiteX9" fmla="*/ 80926 w 7832714"/>
              <a:gd name="connsiteY9" fmla="*/ 2490980 h 9222028"/>
              <a:gd name="connsiteX10" fmla="*/ 3099404 w 7832714"/>
              <a:gd name="connsiteY10" fmla="*/ 108 h 9222028"/>
              <a:gd name="connsiteX11" fmla="*/ 3311737 w 7832714"/>
              <a:gd name="connsiteY11" fmla="*/ 22791 h 9222028"/>
              <a:gd name="connsiteX12" fmla="*/ 3430013 w 7832714"/>
              <a:gd name="connsiteY12" fmla="*/ 97396 h 9222028"/>
              <a:gd name="connsiteX13" fmla="*/ 7697298 w 7832714"/>
              <a:gd name="connsiteY13" fmla="*/ 2829812 h 9222028"/>
              <a:gd name="connsiteX14" fmla="*/ 7507434 w 7832714"/>
              <a:gd name="connsiteY14" fmla="*/ 2982131 h 9222028"/>
              <a:gd name="connsiteX15" fmla="*/ 7653724 w 7832714"/>
              <a:gd name="connsiteY15" fmla="*/ 3100256 h 9222028"/>
              <a:gd name="connsiteX16" fmla="*/ 6838238 w 7832714"/>
              <a:gd name="connsiteY16" fmla="*/ 3526128 h 9222028"/>
              <a:gd name="connsiteX17" fmla="*/ 6847576 w 7832714"/>
              <a:gd name="connsiteY17" fmla="*/ 4256638 h 9222028"/>
              <a:gd name="connsiteX18" fmla="*/ 6928502 w 7832714"/>
              <a:gd name="connsiteY18" fmla="*/ 4722920 h 9222028"/>
              <a:gd name="connsiteX19" fmla="*/ 6564336 w 7832714"/>
              <a:gd name="connsiteY19" fmla="*/ 4558167 h 9222028"/>
              <a:gd name="connsiteX20" fmla="*/ 6775988 w 7832714"/>
              <a:gd name="connsiteY20" fmla="*/ 4741572 h 9222028"/>
              <a:gd name="connsiteX21" fmla="*/ 6439834 w 7832714"/>
              <a:gd name="connsiteY21" fmla="*/ 4564384 h 9222028"/>
              <a:gd name="connsiteX22" fmla="*/ 6676388 w 7832714"/>
              <a:gd name="connsiteY22" fmla="*/ 4738463 h 9222028"/>
              <a:gd name="connsiteX23" fmla="*/ 6937840 w 7832714"/>
              <a:gd name="connsiteY23" fmla="*/ 4993364 h 9222028"/>
              <a:gd name="connsiteX24" fmla="*/ 6551886 w 7832714"/>
              <a:gd name="connsiteY24" fmla="*/ 4788200 h 9222028"/>
              <a:gd name="connsiteX25" fmla="*/ 6259308 w 7832714"/>
              <a:gd name="connsiteY25" fmla="*/ 5726982 h 9222028"/>
              <a:gd name="connsiteX26" fmla="*/ 4917804 w 7832714"/>
              <a:gd name="connsiteY26" fmla="*/ 5195420 h 9222028"/>
              <a:gd name="connsiteX27" fmla="*/ 5425148 w 7832714"/>
              <a:gd name="connsiteY27" fmla="*/ 5484515 h 9222028"/>
              <a:gd name="connsiteX28" fmla="*/ 4790192 w 7832714"/>
              <a:gd name="connsiteY28" fmla="*/ 5204746 h 9222028"/>
              <a:gd name="connsiteX29" fmla="*/ 5412698 w 7832714"/>
              <a:gd name="connsiteY29" fmla="*/ 5534252 h 9222028"/>
              <a:gd name="connsiteX30" fmla="*/ 5471836 w 7832714"/>
              <a:gd name="connsiteY30" fmla="*/ 5689680 h 9222028"/>
              <a:gd name="connsiteX31" fmla="*/ 5353560 w 7832714"/>
              <a:gd name="connsiteY31" fmla="*/ 5602640 h 9222028"/>
              <a:gd name="connsiteX32" fmla="*/ 5792428 w 7832714"/>
              <a:gd name="connsiteY32" fmla="*/ 5944581 h 9222028"/>
              <a:gd name="connsiteX33" fmla="*/ 5253958 w 7832714"/>
              <a:gd name="connsiteY33" fmla="*/ 5689680 h 9222028"/>
              <a:gd name="connsiteX34" fmla="*/ 6088118 w 7832714"/>
              <a:gd name="connsiteY34" fmla="*/ 6323824 h 9222028"/>
              <a:gd name="connsiteX35" fmla="*/ 5801764 w 7832714"/>
              <a:gd name="connsiteY35" fmla="*/ 6168397 h 9222028"/>
              <a:gd name="connsiteX36" fmla="*/ 5885804 w 7832714"/>
              <a:gd name="connsiteY36" fmla="*/ 6637788 h 9222028"/>
              <a:gd name="connsiteX37" fmla="*/ 5795540 w 7832714"/>
              <a:gd name="connsiteY37" fmla="*/ 6581834 h 9222028"/>
              <a:gd name="connsiteX38" fmla="*/ 5518524 w 7832714"/>
              <a:gd name="connsiteY38" fmla="*/ 6743478 h 9222028"/>
              <a:gd name="connsiteX39" fmla="*/ 5898252 w 7832714"/>
              <a:gd name="connsiteY39" fmla="*/ 6954860 h 9222028"/>
              <a:gd name="connsiteX40" fmla="*/ 5957392 w 7832714"/>
              <a:gd name="connsiteY40" fmla="*/ 7203544 h 9222028"/>
              <a:gd name="connsiteX41" fmla="*/ 5832890 w 7832714"/>
              <a:gd name="connsiteY41" fmla="*/ 7122722 h 9222028"/>
              <a:gd name="connsiteX42" fmla="*/ 5851564 w 7832714"/>
              <a:gd name="connsiteY42" fmla="*/ 7184893 h 9222028"/>
              <a:gd name="connsiteX43" fmla="*/ 5761302 w 7832714"/>
              <a:gd name="connsiteY43" fmla="*/ 7128939 h 9222028"/>
              <a:gd name="connsiteX44" fmla="*/ 5926266 w 7832714"/>
              <a:gd name="connsiteY44" fmla="*/ 7334103 h 9222028"/>
              <a:gd name="connsiteX45" fmla="*/ 5836002 w 7832714"/>
              <a:gd name="connsiteY45" fmla="*/ 7281258 h 9222028"/>
              <a:gd name="connsiteX46" fmla="*/ 5895140 w 7832714"/>
              <a:gd name="connsiteY46" fmla="*/ 7402492 h 9222028"/>
              <a:gd name="connsiteX47" fmla="*/ 5571436 w 7832714"/>
              <a:gd name="connsiteY47" fmla="*/ 7250172 h 9222028"/>
              <a:gd name="connsiteX48" fmla="*/ 5923154 w 7832714"/>
              <a:gd name="connsiteY48" fmla="*/ 7719564 h 9222028"/>
              <a:gd name="connsiteX49" fmla="*/ 5920040 w 7832714"/>
              <a:gd name="connsiteY49" fmla="*/ 8167195 h 9222028"/>
              <a:gd name="connsiteX50" fmla="*/ 5023632 w 7832714"/>
              <a:gd name="connsiteY50" fmla="*/ 8341274 h 9222028"/>
              <a:gd name="connsiteX51" fmla="*/ 5618622 w 7832714"/>
              <a:gd name="connsiteY51" fmla="*/ 9214083 h 9222028"/>
              <a:gd name="connsiteX52" fmla="*/ 5615948 w 7832714"/>
              <a:gd name="connsiteY52" fmla="*/ 9222028 h 9222028"/>
              <a:gd name="connsiteX53" fmla="*/ 5186348 w 7832714"/>
              <a:gd name="connsiteY53" fmla="*/ 9222028 h 9222028"/>
              <a:gd name="connsiteX54" fmla="*/ 5166784 w 7832714"/>
              <a:gd name="connsiteY54" fmla="*/ 9217953 h 9222028"/>
              <a:gd name="connsiteX55" fmla="*/ 1254351 w 7832714"/>
              <a:gd name="connsiteY55" fmla="*/ 6814975 h 9222028"/>
              <a:gd name="connsiteX56" fmla="*/ 1478454 w 7832714"/>
              <a:gd name="connsiteY56" fmla="*/ 6721718 h 9222028"/>
              <a:gd name="connsiteX57" fmla="*/ 1104950 w 7832714"/>
              <a:gd name="connsiteY57" fmla="*/ 6528988 h 9222028"/>
              <a:gd name="connsiteX58" fmla="*/ 1058262 w 7832714"/>
              <a:gd name="connsiteY58" fmla="*/ 6339367 h 9222028"/>
              <a:gd name="connsiteX59" fmla="*/ 317478 w 7832714"/>
              <a:gd name="connsiteY59" fmla="*/ 5904170 h 9222028"/>
              <a:gd name="connsiteX60" fmla="*/ 333041 w 7832714"/>
              <a:gd name="connsiteY60" fmla="*/ 5745634 h 9222028"/>
              <a:gd name="connsiteX61" fmla="*/ 799921 w 7832714"/>
              <a:gd name="connsiteY61" fmla="*/ 6062706 h 9222028"/>
              <a:gd name="connsiteX62" fmla="*/ 381614 w 7832714"/>
              <a:gd name="connsiteY62" fmla="*/ 5741365 h 9222028"/>
              <a:gd name="connsiteX63" fmla="*/ 341919 w 7832714"/>
              <a:gd name="connsiteY63" fmla="*/ 5718200 h 9222028"/>
              <a:gd name="connsiteX64" fmla="*/ 352422 w 7832714"/>
              <a:gd name="connsiteY64" fmla="*/ 5724080 h 9222028"/>
              <a:gd name="connsiteX65" fmla="*/ 662970 w 7832714"/>
              <a:gd name="connsiteY65" fmla="*/ 5897953 h 9222028"/>
              <a:gd name="connsiteX66" fmla="*/ 852834 w 7832714"/>
              <a:gd name="connsiteY66" fmla="*/ 5944581 h 9222028"/>
              <a:gd name="connsiteX67" fmla="*/ 522906 w 7832714"/>
              <a:gd name="connsiteY67" fmla="*/ 5764285 h 9222028"/>
              <a:gd name="connsiteX68" fmla="*/ 292578 w 7832714"/>
              <a:gd name="connsiteY68" fmla="*/ 5450321 h 9222028"/>
              <a:gd name="connsiteX69" fmla="*/ 996011 w 7832714"/>
              <a:gd name="connsiteY69" fmla="*/ 5798479 h 9222028"/>
              <a:gd name="connsiteX70" fmla="*/ 622507 w 7832714"/>
              <a:gd name="connsiteY70" fmla="*/ 5546686 h 9222028"/>
              <a:gd name="connsiteX71" fmla="*/ 669195 w 7832714"/>
              <a:gd name="connsiteY71" fmla="*/ 5565338 h 9222028"/>
              <a:gd name="connsiteX72" fmla="*/ 404629 w 7832714"/>
              <a:gd name="connsiteY72" fmla="*/ 5391259 h 9222028"/>
              <a:gd name="connsiteX73" fmla="*/ 491780 w 7832714"/>
              <a:gd name="connsiteY73" fmla="*/ 5136358 h 9222028"/>
              <a:gd name="connsiteX74" fmla="*/ 731446 w 7832714"/>
              <a:gd name="connsiteY74" fmla="*/ 5341522 h 9222028"/>
              <a:gd name="connsiteX75" fmla="*/ 675420 w 7832714"/>
              <a:gd name="connsiteY75" fmla="*/ 5232723 h 9222028"/>
              <a:gd name="connsiteX76" fmla="*/ 1207663 w 7832714"/>
              <a:gd name="connsiteY76" fmla="*/ 5580881 h 9222028"/>
              <a:gd name="connsiteX77" fmla="*/ 575819 w 7832714"/>
              <a:gd name="connsiteY77" fmla="*/ 4881456 h 9222028"/>
              <a:gd name="connsiteX78" fmla="*/ 1080049 w 7832714"/>
              <a:gd name="connsiteY78" fmla="*/ 5033775 h 9222028"/>
              <a:gd name="connsiteX79" fmla="*/ 905748 w 7832714"/>
              <a:gd name="connsiteY79" fmla="*/ 4940519 h 9222028"/>
              <a:gd name="connsiteX80" fmla="*/ 694095 w 7832714"/>
              <a:gd name="connsiteY80" fmla="*/ 4803743 h 9222028"/>
              <a:gd name="connsiteX81" fmla="*/ 762571 w 7832714"/>
              <a:gd name="connsiteY81" fmla="*/ 4841045 h 9222028"/>
              <a:gd name="connsiteX82" fmla="*/ 591381 w 7832714"/>
              <a:gd name="connsiteY82" fmla="*/ 4722920 h 9222028"/>
              <a:gd name="connsiteX83" fmla="*/ 921310 w 7832714"/>
              <a:gd name="connsiteY83" fmla="*/ 4900108 h 9222028"/>
              <a:gd name="connsiteX84" fmla="*/ 1160975 w 7832714"/>
              <a:gd name="connsiteY84" fmla="*/ 5002690 h 9222028"/>
              <a:gd name="connsiteX85" fmla="*/ 544693 w 7832714"/>
              <a:gd name="connsiteY85" fmla="*/ 4533299 h 9222028"/>
              <a:gd name="connsiteX86" fmla="*/ 535356 w 7832714"/>
              <a:gd name="connsiteY86" fmla="*/ 4312592 h 9222028"/>
              <a:gd name="connsiteX87" fmla="*/ 610057 w 7832714"/>
              <a:gd name="connsiteY87" fmla="*/ 4365437 h 9222028"/>
              <a:gd name="connsiteX88" fmla="*/ 1073824 w 7832714"/>
              <a:gd name="connsiteY88" fmla="*/ 4533299 h 9222028"/>
              <a:gd name="connsiteX89" fmla="*/ 684758 w 7832714"/>
              <a:gd name="connsiteY89" fmla="*/ 4039039 h 9222028"/>
              <a:gd name="connsiteX90" fmla="*/ 52913 w 7832714"/>
              <a:gd name="connsiteY90" fmla="*/ 3634927 h 9222028"/>
              <a:gd name="connsiteX91" fmla="*/ 149402 w 7832714"/>
              <a:gd name="connsiteY91" fmla="*/ 3336506 h 9222028"/>
              <a:gd name="connsiteX92" fmla="*/ 186752 w 7832714"/>
              <a:gd name="connsiteY92" fmla="*/ 3364483 h 9222028"/>
              <a:gd name="connsiteX93" fmla="*/ 0 w 7832714"/>
              <a:gd name="connsiteY93" fmla="*/ 3097148 h 9222028"/>
              <a:gd name="connsiteX94" fmla="*/ 775021 w 7832714"/>
              <a:gd name="connsiteY94" fmla="*/ 3516802 h 9222028"/>
              <a:gd name="connsiteX95" fmla="*/ 572706 w 7832714"/>
              <a:gd name="connsiteY95" fmla="*/ 3252575 h 9222028"/>
              <a:gd name="connsiteX96" fmla="*/ 999124 w 7832714"/>
              <a:gd name="connsiteY96" fmla="*/ 3330289 h 9222028"/>
              <a:gd name="connsiteX97" fmla="*/ 457542 w 7832714"/>
              <a:gd name="connsiteY97" fmla="*/ 2947937 h 9222028"/>
              <a:gd name="connsiteX98" fmla="*/ 834159 w 7832714"/>
              <a:gd name="connsiteY98" fmla="*/ 3190404 h 9222028"/>
              <a:gd name="connsiteX99" fmla="*/ 1248126 w 7832714"/>
              <a:gd name="connsiteY99" fmla="*/ 3395569 h 9222028"/>
              <a:gd name="connsiteX100" fmla="*/ 1139188 w 7832714"/>
              <a:gd name="connsiteY100" fmla="*/ 3280552 h 9222028"/>
              <a:gd name="connsiteX101" fmla="*/ 1447328 w 7832714"/>
              <a:gd name="connsiteY101" fmla="*/ 3467065 h 9222028"/>
              <a:gd name="connsiteX102" fmla="*/ 887072 w 7832714"/>
              <a:gd name="connsiteY102" fmla="*/ 3118908 h 9222028"/>
              <a:gd name="connsiteX103" fmla="*/ 743896 w 7832714"/>
              <a:gd name="connsiteY103" fmla="*/ 2895092 h 9222028"/>
              <a:gd name="connsiteX104" fmla="*/ 299758 w 7832714"/>
              <a:gd name="connsiteY104" fmla="*/ 2624369 h 9222028"/>
              <a:gd name="connsiteX105" fmla="*/ 295741 w 7832714"/>
              <a:gd name="connsiteY105" fmla="*/ 2621920 h 9222028"/>
              <a:gd name="connsiteX106" fmla="*/ 258691 w 7832714"/>
              <a:gd name="connsiteY106" fmla="*/ 2586902 h 9222028"/>
              <a:gd name="connsiteX107" fmla="*/ 712770 w 7832714"/>
              <a:gd name="connsiteY107" fmla="*/ 2727230 h 9222028"/>
              <a:gd name="connsiteX108" fmla="*/ 1036474 w 7832714"/>
              <a:gd name="connsiteY108" fmla="*/ 2910635 h 9222028"/>
              <a:gd name="connsiteX109" fmla="*/ 619394 w 7832714"/>
              <a:gd name="connsiteY109" fmla="*/ 2630865 h 9222028"/>
              <a:gd name="connsiteX110" fmla="*/ 1400640 w 7832714"/>
              <a:gd name="connsiteY110" fmla="*/ 2804944 h 9222028"/>
              <a:gd name="connsiteX111" fmla="*/ 852834 w 7832714"/>
              <a:gd name="connsiteY111" fmla="*/ 2487872 h 9222028"/>
              <a:gd name="connsiteX112" fmla="*/ 1173426 w 7832714"/>
              <a:gd name="connsiteY112" fmla="*/ 2537609 h 9222028"/>
              <a:gd name="connsiteX113" fmla="*/ 837272 w 7832714"/>
              <a:gd name="connsiteY113" fmla="*/ 2360421 h 9222028"/>
              <a:gd name="connsiteX114" fmla="*/ 1039586 w 7832714"/>
              <a:gd name="connsiteY114" fmla="*/ 2366638 h 9222028"/>
              <a:gd name="connsiteX115" fmla="*/ 1301039 w 7832714"/>
              <a:gd name="connsiteY115" fmla="*/ 2531392 h 9222028"/>
              <a:gd name="connsiteX116" fmla="*/ 1375740 w 7832714"/>
              <a:gd name="connsiteY116" fmla="*/ 2500306 h 9222028"/>
              <a:gd name="connsiteX117" fmla="*/ 1064487 w 7832714"/>
              <a:gd name="connsiteY117" fmla="*/ 2357313 h 9222028"/>
              <a:gd name="connsiteX118" fmla="*/ 924423 w 7832714"/>
              <a:gd name="connsiteY118" fmla="*/ 2052675 h 9222028"/>
              <a:gd name="connsiteX119" fmla="*/ 1235676 w 7832714"/>
              <a:gd name="connsiteY119" fmla="*/ 2242296 h 9222028"/>
              <a:gd name="connsiteX120" fmla="*/ 1173426 w 7832714"/>
              <a:gd name="connsiteY120" fmla="*/ 2223645 h 9222028"/>
              <a:gd name="connsiteX121" fmla="*/ 1743019 w 7832714"/>
              <a:gd name="connsiteY121" fmla="*/ 2484763 h 9222028"/>
              <a:gd name="connsiteX122" fmla="*/ 1176538 w 7832714"/>
              <a:gd name="connsiteY122" fmla="*/ 2040241 h 9222028"/>
              <a:gd name="connsiteX123" fmla="*/ 1447328 w 7832714"/>
              <a:gd name="connsiteY123" fmla="*/ 1838185 h 9222028"/>
              <a:gd name="connsiteX124" fmla="*/ 1942222 w 7832714"/>
              <a:gd name="connsiteY124" fmla="*/ 2086869 h 9222028"/>
              <a:gd name="connsiteX125" fmla="*/ 1649643 w 7832714"/>
              <a:gd name="connsiteY125" fmla="*/ 1844402 h 9222028"/>
              <a:gd name="connsiteX126" fmla="*/ 2104073 w 7832714"/>
              <a:gd name="connsiteY126" fmla="*/ 2062001 h 9222028"/>
              <a:gd name="connsiteX127" fmla="*/ 2502478 w 7832714"/>
              <a:gd name="connsiteY127" fmla="*/ 2127280 h 9222028"/>
              <a:gd name="connsiteX128" fmla="*/ 2465127 w 7832714"/>
              <a:gd name="connsiteY128" fmla="*/ 1869270 h 9222028"/>
              <a:gd name="connsiteX129" fmla="*/ 2788831 w 7832714"/>
              <a:gd name="connsiteY129" fmla="*/ 2052675 h 9222028"/>
              <a:gd name="connsiteX130" fmla="*/ 3003596 w 7832714"/>
              <a:gd name="connsiteY130" fmla="*/ 2009155 h 9222028"/>
              <a:gd name="connsiteX131" fmla="*/ 3588752 w 7832714"/>
              <a:gd name="connsiteY131" fmla="*/ 2354204 h 9222028"/>
              <a:gd name="connsiteX132" fmla="*/ 3918681 w 7832714"/>
              <a:gd name="connsiteY132" fmla="*/ 2518957 h 9222028"/>
              <a:gd name="connsiteX133" fmla="*/ 2757706 w 7832714"/>
              <a:gd name="connsiteY133" fmla="*/ 1617478 h 9222028"/>
              <a:gd name="connsiteX134" fmla="*/ 2816844 w 7832714"/>
              <a:gd name="connsiteY134" fmla="*/ 1477593 h 9222028"/>
              <a:gd name="connsiteX135" fmla="*/ 2735918 w 7832714"/>
              <a:gd name="connsiteY135" fmla="*/ 1474484 h 9222028"/>
              <a:gd name="connsiteX136" fmla="*/ 2717243 w 7832714"/>
              <a:gd name="connsiteY136" fmla="*/ 1350142 h 9222028"/>
              <a:gd name="connsiteX137" fmla="*/ 3009821 w 7832714"/>
              <a:gd name="connsiteY137" fmla="*/ 1511787 h 9222028"/>
              <a:gd name="connsiteX138" fmla="*/ 2832406 w 7832714"/>
              <a:gd name="connsiteY138" fmla="*/ 1194715 h 9222028"/>
              <a:gd name="connsiteX139" fmla="*/ 2944458 w 7832714"/>
              <a:gd name="connsiteY139" fmla="*/ 1250668 h 9222028"/>
              <a:gd name="connsiteX140" fmla="*/ 2692342 w 7832714"/>
              <a:gd name="connsiteY140" fmla="*/ 977116 h 9222028"/>
              <a:gd name="connsiteX141" fmla="*/ 2810619 w 7832714"/>
              <a:gd name="connsiteY141" fmla="*/ 1051721 h 9222028"/>
              <a:gd name="connsiteX142" fmla="*/ 2393539 w 7832714"/>
              <a:gd name="connsiteY142" fmla="*/ 370949 h 9222028"/>
              <a:gd name="connsiteX143" fmla="*/ 2633204 w 7832714"/>
              <a:gd name="connsiteY143" fmla="*/ 355406 h 9222028"/>
              <a:gd name="connsiteX144" fmla="*/ 2900882 w 7832714"/>
              <a:gd name="connsiteY144" fmla="*/ 532593 h 9222028"/>
              <a:gd name="connsiteX145" fmla="*/ 2975583 w 7832714"/>
              <a:gd name="connsiteY145" fmla="*/ 311886 h 9222028"/>
              <a:gd name="connsiteX146" fmla="*/ 3037834 w 7832714"/>
              <a:gd name="connsiteY146" fmla="*/ 349189 h 9222028"/>
              <a:gd name="connsiteX147" fmla="*/ 3420676 w 7832714"/>
              <a:gd name="connsiteY147" fmla="*/ 417577 h 9222028"/>
              <a:gd name="connsiteX148" fmla="*/ 3099404 w 7832714"/>
              <a:gd name="connsiteY148" fmla="*/ 108 h 9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7832714" h="9222028">
                <a:moveTo>
                  <a:pt x="252115" y="5667920"/>
                </a:moveTo>
                <a:cubicBezTo>
                  <a:pt x="276626" y="5681131"/>
                  <a:pt x="299581" y="5693832"/>
                  <a:pt x="321118" y="5706061"/>
                </a:cubicBezTo>
                <a:lnTo>
                  <a:pt x="341919" y="5718200"/>
                </a:lnTo>
                <a:lnTo>
                  <a:pt x="303472" y="5696674"/>
                </a:lnTo>
                <a:cubicBezTo>
                  <a:pt x="252115" y="5667920"/>
                  <a:pt x="252115" y="5667920"/>
                  <a:pt x="252115" y="5667920"/>
                </a:cubicBezTo>
                <a:close/>
                <a:moveTo>
                  <a:pt x="80926" y="2490980"/>
                </a:moveTo>
                <a:cubicBezTo>
                  <a:pt x="122362" y="2516237"/>
                  <a:pt x="161208" y="2539916"/>
                  <a:pt x="197626" y="2562114"/>
                </a:cubicBezTo>
                <a:lnTo>
                  <a:pt x="295741" y="2621920"/>
                </a:lnTo>
                <a:lnTo>
                  <a:pt x="301916" y="2627757"/>
                </a:lnTo>
                <a:cubicBezTo>
                  <a:pt x="80926" y="2490980"/>
                  <a:pt x="80926" y="2490980"/>
                  <a:pt x="80926" y="2490980"/>
                </a:cubicBezTo>
                <a:close/>
                <a:moveTo>
                  <a:pt x="3099404" y="108"/>
                </a:moveTo>
                <a:cubicBezTo>
                  <a:pt x="3150080" y="-1106"/>
                  <a:pt x="3223030" y="8025"/>
                  <a:pt x="3311737" y="22791"/>
                </a:cubicBezTo>
                <a:cubicBezTo>
                  <a:pt x="3311737" y="22791"/>
                  <a:pt x="3311737" y="22791"/>
                  <a:pt x="3430013" y="97396"/>
                </a:cubicBezTo>
                <a:cubicBezTo>
                  <a:pt x="8456756" y="1993612"/>
                  <a:pt x="7697298" y="2829812"/>
                  <a:pt x="7697298" y="2829812"/>
                </a:cubicBezTo>
                <a:cubicBezTo>
                  <a:pt x="7697298" y="2829812"/>
                  <a:pt x="7697298" y="2829812"/>
                  <a:pt x="7507434" y="2982131"/>
                </a:cubicBezTo>
                <a:cubicBezTo>
                  <a:pt x="7569684" y="3019434"/>
                  <a:pt x="7737760" y="3137559"/>
                  <a:pt x="7653724" y="3100256"/>
                </a:cubicBezTo>
                <a:cubicBezTo>
                  <a:pt x="8481656" y="3855634"/>
                  <a:pt x="6128580" y="2842247"/>
                  <a:pt x="6838238" y="3526128"/>
                </a:cubicBezTo>
                <a:cubicBezTo>
                  <a:pt x="7130816" y="3889828"/>
                  <a:pt x="7631936" y="4520865"/>
                  <a:pt x="6847576" y="4256638"/>
                </a:cubicBezTo>
                <a:cubicBezTo>
                  <a:pt x="6645262" y="4293940"/>
                  <a:pt x="7261544" y="4766440"/>
                  <a:pt x="6928502" y="4722920"/>
                </a:cubicBezTo>
                <a:cubicBezTo>
                  <a:pt x="6928502" y="4722920"/>
                  <a:pt x="6928502" y="4722920"/>
                  <a:pt x="6564336" y="4558167"/>
                </a:cubicBezTo>
                <a:cubicBezTo>
                  <a:pt x="6723076" y="4673184"/>
                  <a:pt x="6813338" y="4726029"/>
                  <a:pt x="6775988" y="4741572"/>
                </a:cubicBezTo>
                <a:cubicBezTo>
                  <a:pt x="6660824" y="4654532"/>
                  <a:pt x="6542548" y="4611013"/>
                  <a:pt x="6439834" y="4564384"/>
                </a:cubicBezTo>
                <a:cubicBezTo>
                  <a:pt x="6439834" y="4564384"/>
                  <a:pt x="6439834" y="4564384"/>
                  <a:pt x="6676388" y="4738463"/>
                </a:cubicBezTo>
                <a:cubicBezTo>
                  <a:pt x="6156594" y="4455585"/>
                  <a:pt x="7498096" y="5307328"/>
                  <a:pt x="6937840" y="4993364"/>
                </a:cubicBezTo>
                <a:cubicBezTo>
                  <a:pt x="6937840" y="4993364"/>
                  <a:pt x="6937840" y="4993364"/>
                  <a:pt x="6551886" y="4788200"/>
                </a:cubicBezTo>
                <a:cubicBezTo>
                  <a:pt x="5512300" y="4539516"/>
                  <a:pt x="6635924" y="5571555"/>
                  <a:pt x="6259308" y="5726982"/>
                </a:cubicBezTo>
                <a:cubicBezTo>
                  <a:pt x="5848452" y="5580881"/>
                  <a:pt x="5054756" y="5182986"/>
                  <a:pt x="4917804" y="5195420"/>
                </a:cubicBezTo>
                <a:cubicBezTo>
                  <a:pt x="4917804" y="5195420"/>
                  <a:pt x="4917804" y="5195420"/>
                  <a:pt x="5425148" y="5484515"/>
                </a:cubicBezTo>
                <a:cubicBezTo>
                  <a:pt x="5546536" y="5615075"/>
                  <a:pt x="4995618" y="5254483"/>
                  <a:pt x="4790192" y="5204746"/>
                </a:cubicBezTo>
                <a:cubicBezTo>
                  <a:pt x="4790192" y="5204746"/>
                  <a:pt x="4790192" y="5204746"/>
                  <a:pt x="5412698" y="5534252"/>
                </a:cubicBezTo>
                <a:cubicBezTo>
                  <a:pt x="5412698" y="5534252"/>
                  <a:pt x="5412698" y="5534252"/>
                  <a:pt x="5471836" y="5689680"/>
                </a:cubicBezTo>
                <a:cubicBezTo>
                  <a:pt x="5471836" y="5689680"/>
                  <a:pt x="5471836" y="5689680"/>
                  <a:pt x="5353560" y="5602640"/>
                </a:cubicBezTo>
                <a:cubicBezTo>
                  <a:pt x="5356672" y="5649269"/>
                  <a:pt x="5468724" y="5761177"/>
                  <a:pt x="5792428" y="5944581"/>
                </a:cubicBezTo>
                <a:cubicBezTo>
                  <a:pt x="5506074" y="5789153"/>
                  <a:pt x="5288196" y="5655486"/>
                  <a:pt x="5253958" y="5689680"/>
                </a:cubicBezTo>
                <a:cubicBezTo>
                  <a:pt x="5994742" y="6112443"/>
                  <a:pt x="6013416" y="6205699"/>
                  <a:pt x="6088118" y="6323824"/>
                </a:cubicBezTo>
                <a:cubicBezTo>
                  <a:pt x="5997854" y="6270979"/>
                  <a:pt x="5910704" y="6249219"/>
                  <a:pt x="5801764" y="6168397"/>
                </a:cubicBezTo>
                <a:cubicBezTo>
                  <a:pt x="6673274" y="6830518"/>
                  <a:pt x="4961380" y="5950798"/>
                  <a:pt x="5885804" y="6637788"/>
                </a:cubicBezTo>
                <a:cubicBezTo>
                  <a:pt x="5885804" y="6637788"/>
                  <a:pt x="5885804" y="6637788"/>
                  <a:pt x="5795540" y="6581834"/>
                </a:cubicBezTo>
                <a:cubicBezTo>
                  <a:pt x="5241508" y="6395320"/>
                  <a:pt x="6000968" y="6877146"/>
                  <a:pt x="5518524" y="6743478"/>
                </a:cubicBezTo>
                <a:cubicBezTo>
                  <a:pt x="5518524" y="6743478"/>
                  <a:pt x="5518524" y="6743478"/>
                  <a:pt x="5898252" y="6954860"/>
                </a:cubicBezTo>
                <a:cubicBezTo>
                  <a:pt x="5755076" y="6939317"/>
                  <a:pt x="5739514" y="7004597"/>
                  <a:pt x="5957392" y="7203544"/>
                </a:cubicBezTo>
                <a:cubicBezTo>
                  <a:pt x="5957392" y="7203544"/>
                  <a:pt x="5957392" y="7203544"/>
                  <a:pt x="5832890" y="7122722"/>
                </a:cubicBezTo>
                <a:cubicBezTo>
                  <a:pt x="5832890" y="7122722"/>
                  <a:pt x="5832890" y="7122722"/>
                  <a:pt x="5851564" y="7184893"/>
                </a:cubicBezTo>
                <a:cubicBezTo>
                  <a:pt x="5851564" y="7184893"/>
                  <a:pt x="5851564" y="7184893"/>
                  <a:pt x="5761302" y="7128939"/>
                </a:cubicBezTo>
                <a:cubicBezTo>
                  <a:pt x="5870240" y="7212870"/>
                  <a:pt x="5708388" y="7169350"/>
                  <a:pt x="5926266" y="7334103"/>
                </a:cubicBezTo>
                <a:cubicBezTo>
                  <a:pt x="5926266" y="7334103"/>
                  <a:pt x="5926266" y="7334103"/>
                  <a:pt x="5836002" y="7281258"/>
                </a:cubicBezTo>
                <a:cubicBezTo>
                  <a:pt x="5655476" y="7206652"/>
                  <a:pt x="5748852" y="7290584"/>
                  <a:pt x="5895140" y="7402492"/>
                </a:cubicBezTo>
                <a:cubicBezTo>
                  <a:pt x="5895140" y="7402492"/>
                  <a:pt x="5895140" y="7402492"/>
                  <a:pt x="5571436" y="7250172"/>
                </a:cubicBezTo>
                <a:cubicBezTo>
                  <a:pt x="5994742" y="7573462"/>
                  <a:pt x="5403360" y="7355863"/>
                  <a:pt x="5923154" y="7719564"/>
                </a:cubicBezTo>
                <a:cubicBezTo>
                  <a:pt x="5944940" y="7874991"/>
                  <a:pt x="6038316" y="8086372"/>
                  <a:pt x="5920040" y="8167195"/>
                </a:cubicBezTo>
                <a:cubicBezTo>
                  <a:pt x="6072556" y="8561981"/>
                  <a:pt x="5334884" y="8220040"/>
                  <a:pt x="5023632" y="8341274"/>
                </a:cubicBezTo>
                <a:cubicBezTo>
                  <a:pt x="5117786" y="8627649"/>
                  <a:pt x="5616508" y="9053606"/>
                  <a:pt x="5618622" y="9214083"/>
                </a:cubicBezTo>
                <a:lnTo>
                  <a:pt x="5615948" y="9222028"/>
                </a:lnTo>
                <a:lnTo>
                  <a:pt x="5186348" y="9222028"/>
                </a:lnTo>
                <a:lnTo>
                  <a:pt x="5166784" y="9217953"/>
                </a:lnTo>
                <a:cubicBezTo>
                  <a:pt x="4876224" y="9151780"/>
                  <a:pt x="3569299" y="8765202"/>
                  <a:pt x="1254351" y="6814975"/>
                </a:cubicBezTo>
                <a:cubicBezTo>
                  <a:pt x="1649643" y="6976620"/>
                  <a:pt x="1718119" y="6954860"/>
                  <a:pt x="1478454" y="6721718"/>
                </a:cubicBezTo>
                <a:cubicBezTo>
                  <a:pt x="1478454" y="6721718"/>
                  <a:pt x="1478454" y="6721718"/>
                  <a:pt x="1104950" y="6528988"/>
                </a:cubicBezTo>
                <a:cubicBezTo>
                  <a:pt x="1378853" y="6625354"/>
                  <a:pt x="1114287" y="6423298"/>
                  <a:pt x="1058262" y="6339367"/>
                </a:cubicBezTo>
                <a:cubicBezTo>
                  <a:pt x="709658" y="6115551"/>
                  <a:pt x="600719" y="6121768"/>
                  <a:pt x="317478" y="5904170"/>
                </a:cubicBezTo>
                <a:cubicBezTo>
                  <a:pt x="326816" y="5798479"/>
                  <a:pt x="323703" y="5851324"/>
                  <a:pt x="333041" y="5745634"/>
                </a:cubicBezTo>
                <a:cubicBezTo>
                  <a:pt x="557144" y="5882410"/>
                  <a:pt x="491780" y="5901061"/>
                  <a:pt x="799921" y="6062706"/>
                </a:cubicBezTo>
                <a:cubicBezTo>
                  <a:pt x="658301" y="5972947"/>
                  <a:pt x="645365" y="5899847"/>
                  <a:pt x="381614" y="5741365"/>
                </a:cubicBezTo>
                <a:lnTo>
                  <a:pt x="341919" y="5718200"/>
                </a:lnTo>
                <a:lnTo>
                  <a:pt x="352422" y="5724080"/>
                </a:lnTo>
                <a:cubicBezTo>
                  <a:pt x="412605" y="5757776"/>
                  <a:pt x="508900" y="5811690"/>
                  <a:pt x="662970" y="5897953"/>
                </a:cubicBezTo>
                <a:cubicBezTo>
                  <a:pt x="541581" y="5807805"/>
                  <a:pt x="852834" y="5969449"/>
                  <a:pt x="852834" y="5944581"/>
                </a:cubicBezTo>
                <a:cubicBezTo>
                  <a:pt x="753233" y="5873084"/>
                  <a:pt x="588269" y="5770502"/>
                  <a:pt x="522906" y="5764285"/>
                </a:cubicBezTo>
                <a:cubicBezTo>
                  <a:pt x="385954" y="5627509"/>
                  <a:pt x="-18675" y="5316654"/>
                  <a:pt x="292578" y="5450321"/>
                </a:cubicBezTo>
                <a:cubicBezTo>
                  <a:pt x="295691" y="5400585"/>
                  <a:pt x="684758" y="5636834"/>
                  <a:pt x="996011" y="5798479"/>
                </a:cubicBezTo>
                <a:cubicBezTo>
                  <a:pt x="955548" y="5758068"/>
                  <a:pt x="768796" y="5627509"/>
                  <a:pt x="622507" y="5546686"/>
                </a:cubicBezTo>
                <a:cubicBezTo>
                  <a:pt x="622507" y="5546686"/>
                  <a:pt x="622507" y="5546686"/>
                  <a:pt x="669195" y="5565338"/>
                </a:cubicBezTo>
                <a:cubicBezTo>
                  <a:pt x="669195" y="5565338"/>
                  <a:pt x="669195" y="5565338"/>
                  <a:pt x="404629" y="5391259"/>
                </a:cubicBezTo>
                <a:cubicBezTo>
                  <a:pt x="967998" y="5602640"/>
                  <a:pt x="-112051" y="4887674"/>
                  <a:pt x="491780" y="5136358"/>
                </a:cubicBezTo>
                <a:cubicBezTo>
                  <a:pt x="550918" y="5195420"/>
                  <a:pt x="382842" y="5142575"/>
                  <a:pt x="731446" y="5341522"/>
                </a:cubicBezTo>
                <a:cubicBezTo>
                  <a:pt x="731446" y="5341522"/>
                  <a:pt x="731446" y="5341522"/>
                  <a:pt x="675420" y="5232723"/>
                </a:cubicBezTo>
                <a:cubicBezTo>
                  <a:pt x="756346" y="5310437"/>
                  <a:pt x="958660" y="5453430"/>
                  <a:pt x="1207663" y="5580881"/>
                </a:cubicBezTo>
                <a:cubicBezTo>
                  <a:pt x="1070712" y="5391259"/>
                  <a:pt x="628732" y="5043101"/>
                  <a:pt x="575819" y="4881456"/>
                </a:cubicBezTo>
                <a:cubicBezTo>
                  <a:pt x="1048924" y="5142575"/>
                  <a:pt x="706545" y="4865914"/>
                  <a:pt x="1080049" y="5033775"/>
                </a:cubicBezTo>
                <a:cubicBezTo>
                  <a:pt x="1002236" y="4993364"/>
                  <a:pt x="946210" y="4965387"/>
                  <a:pt x="905748" y="4940519"/>
                </a:cubicBezTo>
                <a:cubicBezTo>
                  <a:pt x="859059" y="4934302"/>
                  <a:pt x="771908" y="4890782"/>
                  <a:pt x="694095" y="4803743"/>
                </a:cubicBezTo>
                <a:cubicBezTo>
                  <a:pt x="722108" y="4819285"/>
                  <a:pt x="740783" y="4828611"/>
                  <a:pt x="762571" y="4841045"/>
                </a:cubicBezTo>
                <a:cubicBezTo>
                  <a:pt x="722108" y="4809960"/>
                  <a:pt x="672307" y="4775766"/>
                  <a:pt x="591381" y="4722920"/>
                </a:cubicBezTo>
                <a:cubicBezTo>
                  <a:pt x="787471" y="4800634"/>
                  <a:pt x="887072" y="4862805"/>
                  <a:pt x="921310" y="4900108"/>
                </a:cubicBezTo>
                <a:cubicBezTo>
                  <a:pt x="933760" y="4881456"/>
                  <a:pt x="896410" y="4828611"/>
                  <a:pt x="1160975" y="5002690"/>
                </a:cubicBezTo>
                <a:cubicBezTo>
                  <a:pt x="1357065" y="5043101"/>
                  <a:pt x="672307" y="4648315"/>
                  <a:pt x="544693" y="4533299"/>
                </a:cubicBezTo>
                <a:cubicBezTo>
                  <a:pt x="613169" y="4492888"/>
                  <a:pt x="610057" y="4461802"/>
                  <a:pt x="535356" y="4312592"/>
                </a:cubicBezTo>
                <a:cubicBezTo>
                  <a:pt x="535356" y="4312592"/>
                  <a:pt x="535356" y="4312592"/>
                  <a:pt x="610057" y="4365437"/>
                </a:cubicBezTo>
                <a:cubicBezTo>
                  <a:pt x="697208" y="4387197"/>
                  <a:pt x="1129850" y="4623447"/>
                  <a:pt x="1073824" y="4533299"/>
                </a:cubicBezTo>
                <a:cubicBezTo>
                  <a:pt x="-389067" y="3656687"/>
                  <a:pt x="1104950" y="4402740"/>
                  <a:pt x="684758" y="4039039"/>
                </a:cubicBezTo>
                <a:cubicBezTo>
                  <a:pt x="199202" y="3777921"/>
                  <a:pt x="432642" y="3843200"/>
                  <a:pt x="52913" y="3634927"/>
                </a:cubicBezTo>
                <a:cubicBezTo>
                  <a:pt x="554031" y="3796572"/>
                  <a:pt x="-277016" y="3227707"/>
                  <a:pt x="149402" y="3336506"/>
                </a:cubicBezTo>
                <a:cubicBezTo>
                  <a:pt x="149402" y="3336506"/>
                  <a:pt x="149402" y="3336506"/>
                  <a:pt x="186752" y="3364483"/>
                </a:cubicBezTo>
                <a:cubicBezTo>
                  <a:pt x="563369" y="3541671"/>
                  <a:pt x="326816" y="3314746"/>
                  <a:pt x="0" y="3097148"/>
                </a:cubicBezTo>
                <a:cubicBezTo>
                  <a:pt x="345491" y="3311638"/>
                  <a:pt x="485555" y="3327181"/>
                  <a:pt x="775021" y="3516802"/>
                </a:cubicBezTo>
                <a:cubicBezTo>
                  <a:pt x="305028" y="3221490"/>
                  <a:pt x="572706" y="3252575"/>
                  <a:pt x="572706" y="3252575"/>
                </a:cubicBezTo>
                <a:cubicBezTo>
                  <a:pt x="1020911" y="3485717"/>
                  <a:pt x="641182" y="3181079"/>
                  <a:pt x="999124" y="3330289"/>
                </a:cubicBezTo>
                <a:cubicBezTo>
                  <a:pt x="999124" y="3330289"/>
                  <a:pt x="999124" y="3330289"/>
                  <a:pt x="457542" y="2947937"/>
                </a:cubicBezTo>
                <a:cubicBezTo>
                  <a:pt x="457542" y="2947937"/>
                  <a:pt x="457542" y="2947937"/>
                  <a:pt x="834159" y="3190404"/>
                </a:cubicBezTo>
                <a:cubicBezTo>
                  <a:pt x="799921" y="3131342"/>
                  <a:pt x="1086274" y="3286770"/>
                  <a:pt x="1248126" y="3395569"/>
                </a:cubicBezTo>
                <a:cubicBezTo>
                  <a:pt x="1319715" y="3417329"/>
                  <a:pt x="1195213" y="3336506"/>
                  <a:pt x="1139188" y="3280552"/>
                </a:cubicBezTo>
                <a:cubicBezTo>
                  <a:pt x="1139188" y="3280552"/>
                  <a:pt x="1139188" y="3280552"/>
                  <a:pt x="1447328" y="3467065"/>
                </a:cubicBezTo>
                <a:cubicBezTo>
                  <a:pt x="1606068" y="3510585"/>
                  <a:pt x="849722" y="3059845"/>
                  <a:pt x="887072" y="3118908"/>
                </a:cubicBezTo>
                <a:cubicBezTo>
                  <a:pt x="52913" y="2550043"/>
                  <a:pt x="1347727" y="3324072"/>
                  <a:pt x="743896" y="2895092"/>
                </a:cubicBezTo>
                <a:cubicBezTo>
                  <a:pt x="743896" y="2895092"/>
                  <a:pt x="743896" y="2895092"/>
                  <a:pt x="299758" y="2624369"/>
                </a:cubicBezTo>
                <a:lnTo>
                  <a:pt x="295741" y="2621920"/>
                </a:lnTo>
                <a:lnTo>
                  <a:pt x="258691" y="2586902"/>
                </a:lnTo>
                <a:cubicBezTo>
                  <a:pt x="120416" y="2435257"/>
                  <a:pt x="1095028" y="3036143"/>
                  <a:pt x="712770" y="2727230"/>
                </a:cubicBezTo>
                <a:cubicBezTo>
                  <a:pt x="712770" y="2727230"/>
                  <a:pt x="712770" y="2727230"/>
                  <a:pt x="1036474" y="2910635"/>
                </a:cubicBezTo>
                <a:cubicBezTo>
                  <a:pt x="971111" y="2848464"/>
                  <a:pt x="996011" y="2836030"/>
                  <a:pt x="619394" y="2630865"/>
                </a:cubicBezTo>
                <a:cubicBezTo>
                  <a:pt x="756346" y="2618431"/>
                  <a:pt x="1145413" y="2730339"/>
                  <a:pt x="1400640" y="2804944"/>
                </a:cubicBezTo>
                <a:cubicBezTo>
                  <a:pt x="1319715" y="2702362"/>
                  <a:pt x="1101837" y="2658842"/>
                  <a:pt x="852834" y="2487872"/>
                </a:cubicBezTo>
                <a:cubicBezTo>
                  <a:pt x="410854" y="2177017"/>
                  <a:pt x="980448" y="2481655"/>
                  <a:pt x="1173426" y="2537609"/>
                </a:cubicBezTo>
                <a:cubicBezTo>
                  <a:pt x="1173426" y="2537609"/>
                  <a:pt x="1173426" y="2537609"/>
                  <a:pt x="837272" y="2360421"/>
                </a:cubicBezTo>
                <a:cubicBezTo>
                  <a:pt x="837272" y="2360421"/>
                  <a:pt x="837272" y="2360421"/>
                  <a:pt x="1039586" y="2366638"/>
                </a:cubicBezTo>
                <a:cubicBezTo>
                  <a:pt x="1039586" y="2366638"/>
                  <a:pt x="1039586" y="2366638"/>
                  <a:pt x="1301039" y="2531392"/>
                </a:cubicBezTo>
                <a:cubicBezTo>
                  <a:pt x="1301039" y="2531392"/>
                  <a:pt x="1301039" y="2531392"/>
                  <a:pt x="1375740" y="2500306"/>
                </a:cubicBezTo>
                <a:cubicBezTo>
                  <a:pt x="1164088" y="2360421"/>
                  <a:pt x="1179650" y="2400832"/>
                  <a:pt x="1064487" y="2357313"/>
                </a:cubicBezTo>
                <a:cubicBezTo>
                  <a:pt x="1192101" y="2351096"/>
                  <a:pt x="289466" y="1772905"/>
                  <a:pt x="924423" y="2052675"/>
                </a:cubicBezTo>
                <a:cubicBezTo>
                  <a:pt x="924423" y="2052675"/>
                  <a:pt x="924423" y="2052675"/>
                  <a:pt x="1235676" y="2242296"/>
                </a:cubicBezTo>
                <a:cubicBezTo>
                  <a:pt x="1145413" y="2189451"/>
                  <a:pt x="1132962" y="2192560"/>
                  <a:pt x="1173426" y="2223645"/>
                </a:cubicBezTo>
                <a:cubicBezTo>
                  <a:pt x="1643418" y="2568694"/>
                  <a:pt x="1509579" y="2354204"/>
                  <a:pt x="1743019" y="2484763"/>
                </a:cubicBezTo>
                <a:cubicBezTo>
                  <a:pt x="1350840" y="2239188"/>
                  <a:pt x="1699444" y="2366638"/>
                  <a:pt x="1176538" y="2040241"/>
                </a:cubicBezTo>
                <a:cubicBezTo>
                  <a:pt x="1964009" y="2347987"/>
                  <a:pt x="971111" y="1673431"/>
                  <a:pt x="1447328" y="1838185"/>
                </a:cubicBezTo>
                <a:cubicBezTo>
                  <a:pt x="1696331" y="2006047"/>
                  <a:pt x="1668318" y="1928333"/>
                  <a:pt x="1942222" y="2086869"/>
                </a:cubicBezTo>
                <a:cubicBezTo>
                  <a:pt x="2172549" y="2170800"/>
                  <a:pt x="1562492" y="1835076"/>
                  <a:pt x="1649643" y="1844402"/>
                </a:cubicBezTo>
                <a:cubicBezTo>
                  <a:pt x="1649643" y="1844402"/>
                  <a:pt x="1649643" y="1844402"/>
                  <a:pt x="2104073" y="2062001"/>
                </a:cubicBezTo>
                <a:cubicBezTo>
                  <a:pt x="1515804" y="1629912"/>
                  <a:pt x="2726580" y="2351096"/>
                  <a:pt x="2502478" y="2127280"/>
                </a:cubicBezTo>
                <a:cubicBezTo>
                  <a:pt x="1964009" y="1760471"/>
                  <a:pt x="3016046" y="2276490"/>
                  <a:pt x="2465127" y="1869270"/>
                </a:cubicBezTo>
                <a:cubicBezTo>
                  <a:pt x="2465127" y="1869270"/>
                  <a:pt x="2465127" y="1869270"/>
                  <a:pt x="2788831" y="2052675"/>
                </a:cubicBezTo>
                <a:cubicBezTo>
                  <a:pt x="2539828" y="1838185"/>
                  <a:pt x="3174785" y="2164583"/>
                  <a:pt x="3003596" y="2009155"/>
                </a:cubicBezTo>
                <a:cubicBezTo>
                  <a:pt x="3339750" y="2186342"/>
                  <a:pt x="3174785" y="2121063"/>
                  <a:pt x="3588752" y="2354204"/>
                </a:cubicBezTo>
                <a:cubicBezTo>
                  <a:pt x="3327300" y="2149040"/>
                  <a:pt x="4273510" y="2758316"/>
                  <a:pt x="3918681" y="2518957"/>
                </a:cubicBezTo>
                <a:cubicBezTo>
                  <a:pt x="4341986" y="2677493"/>
                  <a:pt x="2623867" y="1620586"/>
                  <a:pt x="2757706" y="1617478"/>
                </a:cubicBezTo>
                <a:cubicBezTo>
                  <a:pt x="2278375" y="1259994"/>
                  <a:pt x="3604315" y="1940767"/>
                  <a:pt x="2816844" y="1477593"/>
                </a:cubicBezTo>
                <a:cubicBezTo>
                  <a:pt x="2816844" y="1477593"/>
                  <a:pt x="2816844" y="1477593"/>
                  <a:pt x="2735918" y="1474484"/>
                </a:cubicBezTo>
                <a:cubicBezTo>
                  <a:pt x="2735918" y="1474484"/>
                  <a:pt x="2735918" y="1474484"/>
                  <a:pt x="2717243" y="1350142"/>
                </a:cubicBezTo>
                <a:cubicBezTo>
                  <a:pt x="2717243" y="1350142"/>
                  <a:pt x="2717243" y="1350142"/>
                  <a:pt x="3009821" y="1511787"/>
                </a:cubicBezTo>
                <a:cubicBezTo>
                  <a:pt x="2832406" y="1362576"/>
                  <a:pt x="3271274" y="1502461"/>
                  <a:pt x="2832406" y="1194715"/>
                </a:cubicBezTo>
                <a:cubicBezTo>
                  <a:pt x="2854194" y="1207149"/>
                  <a:pt x="2885320" y="1219583"/>
                  <a:pt x="2944458" y="1250668"/>
                </a:cubicBezTo>
                <a:cubicBezTo>
                  <a:pt x="2732805" y="1070373"/>
                  <a:pt x="3137435" y="1284863"/>
                  <a:pt x="2692342" y="977116"/>
                </a:cubicBezTo>
                <a:cubicBezTo>
                  <a:pt x="2692342" y="977116"/>
                  <a:pt x="2692342" y="977116"/>
                  <a:pt x="2810619" y="1051721"/>
                </a:cubicBezTo>
                <a:cubicBezTo>
                  <a:pt x="2156986" y="585438"/>
                  <a:pt x="2446452" y="545027"/>
                  <a:pt x="2393539" y="370949"/>
                </a:cubicBezTo>
                <a:cubicBezTo>
                  <a:pt x="2832406" y="613416"/>
                  <a:pt x="2701680" y="457988"/>
                  <a:pt x="2633204" y="355406"/>
                </a:cubicBezTo>
                <a:cubicBezTo>
                  <a:pt x="2636317" y="377165"/>
                  <a:pt x="2841744" y="495290"/>
                  <a:pt x="2900882" y="532593"/>
                </a:cubicBezTo>
                <a:cubicBezTo>
                  <a:pt x="2421552" y="175110"/>
                  <a:pt x="3514052" y="706672"/>
                  <a:pt x="2975583" y="311886"/>
                </a:cubicBezTo>
                <a:cubicBezTo>
                  <a:pt x="2975583" y="311886"/>
                  <a:pt x="2975583" y="311886"/>
                  <a:pt x="3037834" y="349189"/>
                </a:cubicBezTo>
                <a:cubicBezTo>
                  <a:pt x="3293062" y="461096"/>
                  <a:pt x="2667442" y="4139"/>
                  <a:pt x="3420676" y="417577"/>
                </a:cubicBezTo>
                <a:cubicBezTo>
                  <a:pt x="2995815" y="100505"/>
                  <a:pt x="2947376" y="3751"/>
                  <a:pt x="3099404" y="108"/>
                </a:cubicBezTo>
                <a:close/>
              </a:path>
            </a:pathLst>
          </a:custGeom>
          <a:solidFill>
            <a:schemeClr val="bg1">
              <a:lumMod val="90000"/>
            </a:schemeClr>
          </a:solidFill>
        </p:spPr>
        <p:txBody>
          <a:bodyPr wrap="square">
            <a:noAutofit/>
          </a:bodyPr>
          <a:lstStyle>
            <a:lvl1pPr>
              <a:defRPr sz="750"/>
            </a:lvl1pPr>
          </a:lstStyle>
          <a:p>
            <a:endParaRPr lang="en-US" dirty="0"/>
          </a:p>
        </p:txBody>
      </p:sp>
      <p:sp>
        <p:nvSpPr>
          <p:cNvPr id="24" name="Picture Placeholder 25"/>
          <p:cNvSpPr>
            <a:spLocks noGrp="1"/>
          </p:cNvSpPr>
          <p:nvPr>
            <p:ph type="pic" sz="quarter" idx="30"/>
          </p:nvPr>
        </p:nvSpPr>
        <p:spPr>
          <a:xfrm>
            <a:off x="9209366" y="3694029"/>
            <a:ext cx="377510" cy="377033"/>
          </a:xfrm>
          <a:custGeom>
            <a:avLst/>
            <a:gdLst>
              <a:gd name="connsiteX0" fmla="*/ 3043136 w 6086272"/>
              <a:gd name="connsiteY0" fmla="*/ 0 h 6080164"/>
              <a:gd name="connsiteX1" fmla="*/ 3919290 w 6086272"/>
              <a:gd name="connsiteY1" fmla="*/ 361892 h 6080164"/>
              <a:gd name="connsiteX2" fmla="*/ 5724016 w 6086272"/>
              <a:gd name="connsiteY2" fmla="*/ 2164808 h 6080164"/>
              <a:gd name="connsiteX3" fmla="*/ 5724016 w 6086272"/>
              <a:gd name="connsiteY3" fmla="*/ 3915356 h 6080164"/>
              <a:gd name="connsiteX4" fmla="*/ 3919290 w 6086272"/>
              <a:gd name="connsiteY4" fmla="*/ 5718272 h 6080164"/>
              <a:gd name="connsiteX5" fmla="*/ 2166982 w 6086272"/>
              <a:gd name="connsiteY5" fmla="*/ 5718272 h 6080164"/>
              <a:gd name="connsiteX6" fmla="*/ 362256 w 6086272"/>
              <a:gd name="connsiteY6" fmla="*/ 3915356 h 6080164"/>
              <a:gd name="connsiteX7" fmla="*/ 362256 w 6086272"/>
              <a:gd name="connsiteY7" fmla="*/ 2164808 h 6080164"/>
              <a:gd name="connsiteX8" fmla="*/ 2166982 w 6086272"/>
              <a:gd name="connsiteY8" fmla="*/ 361892 h 6080164"/>
              <a:gd name="connsiteX9" fmla="*/ 3043136 w 6086272"/>
              <a:gd name="connsiteY9" fmla="*/ 0 h 608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86272" h="6080164">
                <a:moveTo>
                  <a:pt x="3043136" y="0"/>
                </a:moveTo>
                <a:cubicBezTo>
                  <a:pt x="3360461" y="0"/>
                  <a:pt x="3677786" y="120631"/>
                  <a:pt x="3919290" y="361892"/>
                </a:cubicBezTo>
                <a:cubicBezTo>
                  <a:pt x="5724016" y="2164808"/>
                  <a:pt x="5724016" y="2164808"/>
                  <a:pt x="5724016" y="2164808"/>
                </a:cubicBezTo>
                <a:cubicBezTo>
                  <a:pt x="6207024" y="2647331"/>
                  <a:pt x="6207024" y="3432833"/>
                  <a:pt x="5724016" y="3915356"/>
                </a:cubicBezTo>
                <a:cubicBezTo>
                  <a:pt x="3919290" y="5718272"/>
                  <a:pt x="3919290" y="5718272"/>
                  <a:pt x="3919290" y="5718272"/>
                </a:cubicBezTo>
                <a:cubicBezTo>
                  <a:pt x="3436282" y="6200795"/>
                  <a:pt x="2649990" y="6200795"/>
                  <a:pt x="2166982" y="5718272"/>
                </a:cubicBezTo>
                <a:cubicBezTo>
                  <a:pt x="362256" y="3915356"/>
                  <a:pt x="362256" y="3915356"/>
                  <a:pt x="362256" y="3915356"/>
                </a:cubicBezTo>
                <a:cubicBezTo>
                  <a:pt x="-120752" y="3432833"/>
                  <a:pt x="-120752" y="2647331"/>
                  <a:pt x="362256" y="2164808"/>
                </a:cubicBezTo>
                <a:cubicBezTo>
                  <a:pt x="2166982" y="361892"/>
                  <a:pt x="2166982" y="361892"/>
                  <a:pt x="2166982" y="361892"/>
                </a:cubicBezTo>
                <a:cubicBezTo>
                  <a:pt x="2408486" y="120631"/>
                  <a:pt x="2725811" y="0"/>
                  <a:pt x="3043136" y="0"/>
                </a:cubicBezTo>
                <a:close/>
              </a:path>
            </a:pathLst>
          </a:custGeom>
          <a:solidFill>
            <a:schemeClr val="bg1">
              <a:lumMod val="90000"/>
            </a:schemeClr>
          </a:solidFill>
        </p:spPr>
        <p:txBody>
          <a:bodyPr wrap="square">
            <a:noAutofit/>
          </a:bodyPr>
          <a:lstStyle>
            <a:lvl1pPr>
              <a:defRPr sz="750"/>
            </a:lvl1pPr>
          </a:lstStyle>
          <a:p>
            <a:endParaRPr lang="en-US"/>
          </a:p>
        </p:txBody>
      </p:sp>
    </p:spTree>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320">
          <p15:clr>
            <a:srgbClr val="FBAE40"/>
          </p15:clr>
        </p15:guide>
        <p15:guide id="2" pos="7678">
          <p15:clr>
            <a:srgbClr val="FBAE40"/>
          </p15:clr>
        </p15:guide>
      </p15:sldGuideLst>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2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10" tIns="45705" rIns="91410" bIns="45705">
            <a:noAutofit/>
          </a:bodyPr>
          <a:lstStyle>
            <a:lvl1pPr marL="280893" indent="-223763">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33" indent="-21582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67" indent="-171395">
              <a:buClr>
                <a:schemeClr val="tx1"/>
              </a:buClr>
              <a:buSzPct val="80000"/>
              <a:buFont typeface="Arial"/>
              <a:buChar char="•"/>
              <a:defRPr sz="1600" b="0" i="0">
                <a:solidFill>
                  <a:srgbClr val="676767"/>
                </a:solidFill>
                <a:latin typeface="+mn-lt"/>
                <a:cs typeface="CiscoSans ExtraLight"/>
              </a:defRPr>
            </a:lvl3pPr>
            <a:lvl4pPr marL="910922" indent="-171395">
              <a:buClr>
                <a:schemeClr val="tx1"/>
              </a:buClr>
              <a:buSzPct val="80000"/>
              <a:buFont typeface="Arial"/>
              <a:buChar char="•"/>
              <a:defRPr sz="1400" b="0" i="0">
                <a:solidFill>
                  <a:srgbClr val="676767"/>
                </a:solidFill>
                <a:latin typeface="+mn-lt"/>
                <a:cs typeface="CiscoSans ExtraLight"/>
              </a:defRPr>
            </a:lvl4pPr>
            <a:lvl5pPr marL="1082315" indent="-168220">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21"/>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7" rIns="91414" bIns="45707"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userDrawn="1">
  <p:cSld name="Bullet Slide">
    <p:spTree>
      <p:nvGrpSpPr>
        <p:cNvPr id="1" name=""/>
        <p:cNvGrpSpPr/>
        <p:nvPr/>
      </p:nvGrpSpPr>
      <p:grpSpPr>
        <a:xfrm>
          <a:off x="0" y="0"/>
          <a:ext cx="0" cy="0"/>
          <a:chOff x="0" y="0"/>
          <a:chExt cx="0" cy="0"/>
        </a:xfrm>
      </p:grpSpPr>
      <p:sp>
        <p:nvSpPr>
          <p:cNvPr id="11" name="Title 1"/>
          <p:cNvSpPr>
            <a:spLocks noGrp="1"/>
          </p:cNvSpPr>
          <p:nvPr>
            <p:ph type="title"/>
          </p:nvPr>
        </p:nvSpPr>
        <p:spPr>
          <a:xfrm>
            <a:off x="219518" y="329565"/>
            <a:ext cx="8711929" cy="628650"/>
          </a:xfrm>
        </p:spPr>
        <p:txBody>
          <a:bodyPr/>
          <a:lstStyle>
            <a:lvl1pPr algn="l" defTabSz="914240" rtl="0" eaLnBrk="1" latinLnBrk="0" hangingPunct="1">
              <a:lnSpc>
                <a:spcPct val="80000"/>
              </a:lnSpc>
              <a:spcBef>
                <a:spcPct val="0"/>
              </a:spcBef>
              <a:buNone/>
              <a:defRPr lang="en-US" sz="3600" b="0" kern="1200" spc="-100" baseline="0" dirty="0">
                <a:solidFill>
                  <a:schemeClr val="tx2"/>
                </a:solidFill>
                <a:latin typeface="+mj-lt"/>
                <a:ea typeface="+mj-ea"/>
                <a:cs typeface="+mj-cs"/>
              </a:defRPr>
            </a:lvl1pPr>
          </a:lstStyle>
          <a:p>
            <a:r>
              <a:rPr lang="en-US" dirty="0"/>
              <a:t>Click to edit Master title style</a:t>
            </a:r>
          </a:p>
        </p:txBody>
      </p:sp>
      <p:sp>
        <p:nvSpPr>
          <p:cNvPr id="12" name="Text Placeholder 7"/>
          <p:cNvSpPr>
            <a:spLocks noGrp="1"/>
          </p:cNvSpPr>
          <p:nvPr>
            <p:ph type="body" sz="quarter" idx="11" hasCustomPrompt="1"/>
          </p:nvPr>
        </p:nvSpPr>
        <p:spPr>
          <a:xfrm>
            <a:off x="219518" y="912495"/>
            <a:ext cx="8711929" cy="342900"/>
          </a:xfrm>
          <a:prstGeom prst="rect">
            <a:avLst/>
          </a:prstGeom>
        </p:spPr>
        <p:txBody>
          <a:bodyPr>
            <a:noAutofit/>
          </a:bodyPr>
          <a:lstStyle>
            <a:lvl1pPr marL="0" indent="0">
              <a:buNone/>
              <a:defRPr lang="en-US" sz="2775" kern="1200" spc="-50" baseline="0" dirty="0">
                <a:solidFill>
                  <a:schemeClr val="bg1">
                    <a:lumMod val="20000"/>
                    <a:lumOff val="80000"/>
                  </a:schemeClr>
                </a:solidFill>
                <a:latin typeface="+mj-lt"/>
                <a:ea typeface="+mn-ea"/>
                <a:cs typeface="+mn-cs"/>
              </a:defRPr>
            </a:lvl1pPr>
          </a:lstStyle>
          <a:p>
            <a:pPr marL="0" lvl="0" indent="0" algn="l" defTabSz="914240" rtl="0" eaLnBrk="1" latinLnBrk="0" hangingPunct="1">
              <a:lnSpc>
                <a:spcPct val="95000"/>
              </a:lnSpc>
              <a:spcBef>
                <a:spcPts val="1440"/>
              </a:spcBef>
              <a:buClr>
                <a:schemeClr val="accent1">
                  <a:lumMod val="40000"/>
                  <a:lumOff val="60000"/>
                </a:schemeClr>
              </a:buClr>
              <a:buSzPct val="90000"/>
              <a:buFont typeface="Arial" pitchFamily="34" charset="0"/>
              <a:buNone/>
              <a:tabLst/>
            </a:pPr>
            <a:r>
              <a:rPr lang="en-US" dirty="0"/>
              <a:t>Slide Subtitle</a:t>
            </a:r>
          </a:p>
        </p:txBody>
      </p:sp>
      <p:sp>
        <p:nvSpPr>
          <p:cNvPr id="7" name="Text Placeholder 6"/>
          <p:cNvSpPr>
            <a:spLocks noGrp="1"/>
          </p:cNvSpPr>
          <p:nvPr>
            <p:ph type="body" sz="quarter" idx="13" hasCustomPrompt="1"/>
          </p:nvPr>
        </p:nvSpPr>
        <p:spPr>
          <a:xfrm>
            <a:off x="219513" y="1257300"/>
            <a:ext cx="8697018" cy="3543300"/>
          </a:xfrm>
        </p:spPr>
        <p:txBody>
          <a:bodyPr/>
          <a:lstStyle>
            <a:lvl1pPr marL="228560" indent="-228560" algn="l" defTabSz="914240" rtl="0" eaLnBrk="1" latinLnBrk="0" hangingPunct="1">
              <a:lnSpc>
                <a:spcPct val="95000"/>
              </a:lnSpc>
              <a:spcBef>
                <a:spcPts val="1440"/>
              </a:spcBef>
              <a:buClr>
                <a:schemeClr val="accent3">
                  <a:lumMod val="40000"/>
                  <a:lumOff val="60000"/>
                </a:schemeClr>
              </a:buClr>
              <a:buSzPct val="90000"/>
              <a:buFont typeface="Arial" pitchFamily="34" charset="0"/>
              <a:buChar char="•"/>
              <a:tabLst/>
              <a:defRPr/>
            </a:lvl1pPr>
            <a:lvl2pPr marL="406329" indent="0" algn="l" defTabSz="914240" rtl="0" eaLnBrk="1" latinLnBrk="0" hangingPunct="1">
              <a:lnSpc>
                <a:spcPct val="95000"/>
              </a:lnSpc>
              <a:spcBef>
                <a:spcPts val="600"/>
              </a:spcBef>
              <a:buClr>
                <a:schemeClr val="tx2"/>
              </a:buClr>
              <a:buSzPct val="90000"/>
              <a:buFontTx/>
              <a:buNone/>
              <a:tabLst/>
              <a:defRPr/>
            </a:lvl2pPr>
            <a:lvl3pPr marL="571400" indent="-1588" algn="l" defTabSz="914240" rtl="0" eaLnBrk="1" latinLnBrk="0" hangingPunct="1">
              <a:lnSpc>
                <a:spcPct val="95000"/>
              </a:lnSpc>
              <a:spcBef>
                <a:spcPts val="840"/>
              </a:spcBef>
              <a:buClr>
                <a:schemeClr val="tx2"/>
              </a:buClr>
              <a:buSzPct val="90000"/>
              <a:buFont typeface="Arial" pitchFamily="34" charset="0"/>
              <a:buNone/>
              <a:tabLst/>
              <a:defRPr/>
            </a:lvl3pPr>
          </a:lstStyle>
          <a:p>
            <a:pPr marL="228560" lvl="0" indent="-228560" algn="l" defTabSz="914240" rtl="0" eaLnBrk="1" latinLnBrk="0" hangingPunct="1">
              <a:lnSpc>
                <a:spcPct val="95000"/>
              </a:lnSpc>
              <a:spcBef>
                <a:spcPts val="1440"/>
              </a:spcBef>
              <a:buClr>
                <a:schemeClr val="accent3">
                  <a:lumMod val="40000"/>
                  <a:lumOff val="60000"/>
                </a:schemeClr>
              </a:buClr>
              <a:buSzPct val="90000"/>
              <a:buFont typeface="Arial" pitchFamily="34" charset="0"/>
              <a:buChar char="•"/>
              <a:tabLst/>
            </a:pPr>
            <a:r>
              <a:rPr lang="en-US" dirty="0"/>
              <a:t>Body Text</a:t>
            </a:r>
          </a:p>
          <a:p>
            <a:pPr marL="406329" lvl="1" indent="0" algn="l" defTabSz="914240" rtl="0" eaLnBrk="1" latinLnBrk="0" hangingPunct="1">
              <a:lnSpc>
                <a:spcPct val="95000"/>
              </a:lnSpc>
              <a:spcBef>
                <a:spcPts val="600"/>
              </a:spcBef>
              <a:buClr>
                <a:schemeClr val="tx2"/>
              </a:buClr>
              <a:buSzPct val="90000"/>
              <a:buFontTx/>
              <a:buNone/>
              <a:tabLst/>
            </a:pPr>
            <a:r>
              <a:rPr lang="en-US" dirty="0"/>
              <a:t>Second level</a:t>
            </a:r>
          </a:p>
          <a:p>
            <a:pPr marL="571400" lvl="2" indent="-1588" algn="l" defTabSz="914240" rtl="0" eaLnBrk="1" latinLnBrk="0" hangingPunct="1">
              <a:lnSpc>
                <a:spcPct val="95000"/>
              </a:lnSpc>
              <a:spcBef>
                <a:spcPts val="840"/>
              </a:spcBef>
              <a:buClr>
                <a:schemeClr val="tx2"/>
              </a:buClr>
              <a:buSzPct val="90000"/>
              <a:buFont typeface="Arial" pitchFamily="34" charset="0"/>
              <a:buNone/>
              <a:tabLst/>
            </a:pPr>
            <a:r>
              <a:rPr lang="en-US" dirty="0"/>
              <a:t>Third level</a:t>
            </a:r>
          </a:p>
          <a:p>
            <a:pPr lvl="3"/>
            <a:r>
              <a:rPr lang="en-US" dirty="0"/>
              <a:t>Fourth level</a:t>
            </a:r>
          </a:p>
          <a:p>
            <a:pPr lvl="4"/>
            <a:r>
              <a:rPr lang="en-US" dirty="0"/>
              <a:t>Fifth level</a:t>
            </a:r>
          </a:p>
        </p:txBody>
      </p:sp>
    </p:spTree>
    <p:extLst/>
  </p:cSld>
  <p:clrMapOvr>
    <a:masterClrMapping/>
  </p:clrMapOvr>
  <p:transition>
    <p:wipe dir="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ue Ramp - Segue">
    <p:spTree>
      <p:nvGrpSpPr>
        <p:cNvPr id="1" name=""/>
        <p:cNvGrpSpPr/>
        <p:nvPr/>
      </p:nvGrpSpPr>
      <p:grpSpPr>
        <a:xfrm>
          <a:off x="0" y="0"/>
          <a:ext cx="0" cy="0"/>
          <a:chOff x="0" y="0"/>
          <a:chExt cx="0" cy="0"/>
        </a:xfrm>
      </p:grpSpPr>
      <p:sp>
        <p:nvSpPr>
          <p:cNvPr id="5" name="Rectangle 4"/>
          <p:cNvSpPr/>
          <p:nvPr userDrawn="1"/>
        </p:nvSpPr>
        <p:spPr>
          <a:xfrm>
            <a:off x="0" y="0"/>
            <a:ext cx="9144000" cy="73152"/>
          </a:xfrm>
          <a:prstGeom prst="rect">
            <a:avLst/>
          </a:prstGeom>
          <a:gradFill>
            <a:gsLst>
              <a:gs pos="10000">
                <a:srgbClr val="04A0C3"/>
              </a:gs>
              <a:gs pos="90000">
                <a:srgbClr val="576DEB"/>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 name="Title 1"/>
          <p:cNvSpPr>
            <a:spLocks noGrp="1"/>
          </p:cNvSpPr>
          <p:nvPr>
            <p:ph type="ctrTitle" hasCustomPrompt="1"/>
          </p:nvPr>
        </p:nvSpPr>
        <p:spPr>
          <a:xfrm>
            <a:off x="425454" y="1238865"/>
            <a:ext cx="8291507" cy="2039470"/>
          </a:xfrm>
          <a:prstGeom prst="rect">
            <a:avLst/>
          </a:prstGeom>
        </p:spPr>
        <p:txBody>
          <a:bodyPr anchor="b">
            <a:noAutofit/>
          </a:bodyPr>
          <a:lstStyle>
            <a:lvl1pPr marL="0" indent="0" algn="l">
              <a:lnSpc>
                <a:spcPct val="90000"/>
              </a:lnSpc>
              <a:buFont typeface="Arial" panose="020B0604020202020204" pitchFamily="34" charset="0"/>
              <a:buNone/>
              <a:defRPr sz="4600" b="0" i="0" spc="-100" baseline="0">
                <a:solidFill>
                  <a:schemeClr val="tx1"/>
                </a:solidFill>
                <a:latin typeface="+mj-lt"/>
                <a:cs typeface="CiscoSans Thin"/>
              </a:defRPr>
            </a:lvl1pPr>
          </a:lstStyle>
          <a:p>
            <a:r>
              <a:rPr lang="en-US" dirty="0"/>
              <a:t>Click to edit segue title</a:t>
            </a:r>
          </a:p>
        </p:txBody>
      </p:sp>
    </p:spTree>
    <p:extLst/>
  </p:cSld>
  <p:clrMapOvr>
    <a:masterClrMapping/>
  </p:clrMapOvr>
  <p:transition spd="med">
    <p:fade/>
  </p:transition>
  <p:extLst mod="1">
    <p:ext uri="{DCECCB84-F9BA-43D5-87BE-67443E8EF086}">
      <p15:sldGuideLst xmlns:p15="http://schemas.microsoft.com/office/powerpoint/2012/main"/>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799">
                <a:solidFill>
                  <a:schemeClr val="tx2"/>
                </a:solidFill>
              </a:defRPr>
            </a:lvl1pPr>
          </a:lstStyle>
          <a:p>
            <a:pPr lvl="0"/>
            <a:r>
              <a:rPr lang="en-US"/>
              <a:t>Click to edit Master title style</a:t>
            </a:r>
            <a:endParaRPr lang="en-GB" dirty="0"/>
          </a:p>
        </p:txBody>
      </p:sp>
    </p:spTree>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4605" y="1347788"/>
            <a:ext cx="8328650"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Tree>
    <p:extLst/>
  </p:cSld>
  <p:clrMapOvr>
    <a:masterClrMapping/>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2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4605" y="1347788"/>
            <a:ext cx="8328650"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Tree>
    <p:extLst/>
  </p:cSld>
  <p:clrMapOvr>
    <a:masterClrMapping/>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7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4605" y="1347788"/>
            <a:ext cx="8328650"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Tree>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8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4605" y="1347788"/>
            <a:ext cx="8328650"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Tree>
    <p:extLst/>
  </p:cSld>
  <p:clrMapOvr>
    <a:masterClrMapping/>
  </p:clrMapOvr>
  <p:transition spd="med">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Blank">
    <p:bg>
      <p:bgPr>
        <a:solidFill>
          <a:srgbClr val="049FD9"/>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746821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title">
  <p:cSld name="Title +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229703" y="324162"/>
            <a:ext cx="8588861" cy="397764"/>
          </a:xfrm>
        </p:spPr>
        <p:txBody>
          <a:bodyPr vert="horz" lIns="82287" tIns="45715" rIns="82287" bIns="45715" rtlCol="0" anchor="b" anchorCtr="0">
            <a:noAutofit/>
          </a:bodyPr>
          <a:lstStyle>
            <a:lvl1pPr>
              <a:lnSpc>
                <a:spcPct val="85000"/>
              </a:lnSpc>
              <a:defRPr lang="en-US" sz="2399"/>
            </a:lvl1pPr>
          </a:lstStyle>
          <a:p>
            <a:pPr marL="0" lvl="0"/>
            <a:r>
              <a:rPr lang="en-US" dirty="0"/>
              <a:t>Click to edit Master title style</a:t>
            </a:r>
          </a:p>
        </p:txBody>
      </p:sp>
      <p:sp>
        <p:nvSpPr>
          <p:cNvPr id="3" name="Subtitle 2"/>
          <p:cNvSpPr>
            <a:spLocks noGrp="1"/>
          </p:cNvSpPr>
          <p:nvPr>
            <p:ph type="subTitle" idx="1"/>
          </p:nvPr>
        </p:nvSpPr>
        <p:spPr>
          <a:xfrm>
            <a:off x="229703" y="666558"/>
            <a:ext cx="8588861" cy="290708"/>
          </a:xfrm>
          <a:prstGeom prst="rect">
            <a:avLst/>
          </a:prstGeom>
        </p:spPr>
        <p:txBody>
          <a:bodyPr lIns="82296" rIns="82296">
            <a:normAutofit/>
          </a:bodyPr>
          <a:lstStyle>
            <a:lvl1pPr marL="0" indent="0" algn="l" defTabSz="685517" rtl="0" eaLnBrk="1" latinLnBrk="0" hangingPunct="1">
              <a:lnSpc>
                <a:spcPct val="80000"/>
              </a:lnSpc>
              <a:spcBef>
                <a:spcPct val="0"/>
              </a:spcBef>
              <a:buNone/>
              <a:defRPr lang="en-US" sz="1499" b="0" kern="1200" spc="0" baseline="0" dirty="0">
                <a:solidFill>
                  <a:schemeClr val="tx1"/>
                </a:solidFill>
                <a:latin typeface="+mj-lt"/>
                <a:ea typeface="+mj-ea"/>
                <a:cs typeface="+mj-cs"/>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en-US" dirty="0"/>
              <a:t>Click to edit Master subtitle style</a:t>
            </a:r>
          </a:p>
        </p:txBody>
      </p:sp>
    </p:spTree>
    <p:extLst/>
  </p:cSld>
  <p:clrMapOvr>
    <a:masterClrMapping/>
  </p:clrMapOvr>
  <p:transition>
    <p:wipe dir="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229707" y="324162"/>
            <a:ext cx="8588861" cy="397764"/>
          </a:xfrm>
        </p:spPr>
        <p:txBody>
          <a:bodyPr vert="horz" lIns="109711" tIns="60950" rIns="109711" bIns="60950" rtlCol="0" anchor="b" anchorCtr="0">
            <a:noAutofit/>
          </a:bodyPr>
          <a:lstStyle>
            <a:lvl1pPr>
              <a:lnSpc>
                <a:spcPct val="85000"/>
              </a:lnSpc>
              <a:defRPr lang="en-US" sz="2400"/>
            </a:lvl1pPr>
          </a:lstStyle>
          <a:p>
            <a:pPr marL="0" lvl="0"/>
            <a:r>
              <a:rPr lang="en-US" dirty="0"/>
              <a:t>Click to edit Master title sty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eaLnBrk="0" hangingPunct="0"/>
            <a:fld id="{B61BEF0D-F0BB-DE4B-95CE-6DB70DBA9567}" type="datetimeFigureOut">
              <a:rPr lang="en-US" dirty="0">
                <a:solidFill>
                  <a:srgbClr val="58585B"/>
                </a:solidFill>
                <a:latin typeface="Arial" panose="020B0604020202020204" pitchFamily="34" charset="0"/>
                <a:ea typeface="ＭＳ Ｐゴシック" panose="020B0600070205080204" pitchFamily="34" charset="-128"/>
                <a:cs typeface=""/>
              </a:rPr>
              <a:pPr eaLnBrk="0" hangingPunct="0"/>
              <a:t>12/10/18</a:t>
            </a:fld>
            <a:endParaRPr lang="en-US" dirty="0">
              <a:solidFill>
                <a:srgbClr val="58585B"/>
              </a:solidFill>
              <a:latin typeface="Arial" panose="020B0604020202020204" pitchFamily="34" charset="0"/>
              <a:ea typeface="ＭＳ Ｐゴシック" panose="020B0600070205080204" pitchFamily="34" charset="-128"/>
              <a:cs typeface=""/>
            </a:endParaRPr>
          </a:p>
        </p:txBody>
      </p:sp>
      <p:sp>
        <p:nvSpPr>
          <p:cNvPr id="5" name="Footer Placeholder 4"/>
          <p:cNvSpPr>
            <a:spLocks noGrp="1"/>
          </p:cNvSpPr>
          <p:nvPr>
            <p:ph type="ftr" sz="quarter" idx="11"/>
          </p:nvPr>
        </p:nvSpPr>
        <p:spPr/>
        <p:txBody>
          <a:bodyPr/>
          <a:lstStyle/>
          <a:p>
            <a:pPr eaLnBrk="0" hangingPunct="0"/>
            <a:endParaRPr lang="en-US" dirty="0">
              <a:solidFill>
                <a:srgbClr val="58585B"/>
              </a:solidFill>
              <a:latin typeface="Arial" panose="020B0604020202020204" pitchFamily="34" charset="0"/>
              <a:ea typeface="ＭＳ Ｐゴシック" panose="020B0600070205080204" pitchFamily="34" charset="-128"/>
              <a:cs typeface=""/>
            </a:endParaRPr>
          </a:p>
        </p:txBody>
      </p:sp>
      <p:sp>
        <p:nvSpPr>
          <p:cNvPr id="6" name="Slide Number Placeholder 5"/>
          <p:cNvSpPr>
            <a:spLocks noGrp="1"/>
          </p:cNvSpPr>
          <p:nvPr>
            <p:ph type="sldNum" sz="quarter" idx="12"/>
          </p:nvPr>
        </p:nvSpPr>
        <p:spPr/>
        <p:txBody>
          <a:bodyPr/>
          <a:lstStyle/>
          <a:p>
            <a:pPr eaLnBrk="0" hangingPunct="0"/>
            <a:fld id="{D57F1E4F-1CFF-5643-939E-217C01CDF565}" type="slidenum">
              <a:rPr lang="en-US" dirty="0">
                <a:solidFill>
                  <a:srgbClr val="58585B"/>
                </a:solidFill>
                <a:latin typeface="Arial" panose="020B0604020202020204" pitchFamily="34" charset="0"/>
                <a:ea typeface="ＭＳ Ｐゴシック" panose="020B0600070205080204" pitchFamily="34" charset="-128"/>
                <a:cs typeface=""/>
              </a:rPr>
              <a:pPr eaLnBrk="0" hangingPunct="0"/>
              <a:t>‹#›</a:t>
            </a:fld>
            <a:endParaRPr lang="en-US" dirty="0">
              <a:solidFill>
                <a:srgbClr val="58585B"/>
              </a:solidFill>
              <a:latin typeface="Arial" panose="020B0604020202020204" pitchFamily="34" charset="0"/>
              <a:ea typeface="ＭＳ Ｐゴシック" panose="020B0600070205080204" pitchFamily="34" charset="-128"/>
              <a:cs typeface=""/>
            </a:endParaRPr>
          </a:p>
        </p:txBody>
      </p:sp>
    </p:spTree>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1" indent="-223787">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4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1" indent="-223787">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ue - 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489099"/>
            <a:ext cx="8268468" cy="3808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lvl1pPr>
              <a:defRPr>
                <a:solidFill>
                  <a:schemeClr val="tx1"/>
                </a:solidFill>
              </a:defRPr>
            </a:lvl1pPr>
          </a:lstStyle>
          <a:p>
            <a:pPr lvl="0"/>
            <a:r>
              <a:rPr lang="en-US" dirty="0"/>
              <a:t>Click to edit title</a:t>
            </a:r>
            <a:endParaRPr lang="en-GB" dirty="0"/>
          </a:p>
        </p:txBody>
      </p:sp>
      <p:sp>
        <p:nvSpPr>
          <p:cNvPr id="3" name="Text Placeholder 10"/>
          <p:cNvSpPr>
            <a:spLocks noGrp="1"/>
          </p:cNvSpPr>
          <p:nvPr>
            <p:ph type="body" sz="quarter" idx="11" hasCustomPrompt="1"/>
          </p:nvPr>
        </p:nvSpPr>
        <p:spPr>
          <a:xfrm>
            <a:off x="437766" y="869951"/>
            <a:ext cx="8268468" cy="477838"/>
          </a:xfrm>
          <a:prstGeom prst="rect">
            <a:avLst/>
          </a:prstGeom>
        </p:spPr>
        <p:txBody>
          <a:bodyPr vert="horz"/>
          <a:lstStyle>
            <a:lvl1pPr marL="0" indent="0">
              <a:buNone/>
              <a:defRPr sz="1799">
                <a:solidFill>
                  <a:schemeClr val="bg2"/>
                </a:solidFill>
                <a:ea typeface="Arial"/>
                <a:cs typeface="Arial"/>
              </a:defRPr>
            </a:lvl1pPr>
          </a:lstStyle>
          <a:p>
            <a:pPr lvl="0"/>
            <a:r>
              <a:rPr lang="en-US" dirty="0"/>
              <a:t>Click to edit subtitle</a:t>
            </a:r>
          </a:p>
        </p:txBody>
      </p:sp>
      <p:sp>
        <p:nvSpPr>
          <p:cNvPr id="5" name="Rectangle 4"/>
          <p:cNvSpPr/>
          <p:nvPr userDrawn="1"/>
        </p:nvSpPr>
        <p:spPr>
          <a:xfrm>
            <a:off x="0" y="0"/>
            <a:ext cx="9144000" cy="73152"/>
          </a:xfrm>
          <a:prstGeom prst="rect">
            <a:avLst/>
          </a:prstGeom>
          <a:gradFill>
            <a:gsLst>
              <a:gs pos="10000">
                <a:srgbClr val="04A0C3"/>
              </a:gs>
              <a:gs pos="90000">
                <a:srgbClr val="576DEB"/>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sz="2399" dirty="0">
              <a:solidFill>
                <a:srgbClr val="FFFFFF"/>
              </a:solidFill>
            </a:endParaRPr>
          </a:p>
        </p:txBody>
      </p:sp>
      <p:sp>
        <p:nvSpPr>
          <p:cNvPr id="7" name="Text Placeholder 3"/>
          <p:cNvSpPr>
            <a:spLocks noGrp="1"/>
          </p:cNvSpPr>
          <p:nvPr>
            <p:ph type="body" sz="quarter" idx="10" hasCustomPrompt="1"/>
          </p:nvPr>
        </p:nvSpPr>
        <p:spPr>
          <a:xfrm>
            <a:off x="437767" y="1567543"/>
            <a:ext cx="8268468" cy="2780283"/>
          </a:xfrm>
          <a:prstGeom prst="rect">
            <a:avLst/>
          </a:prstGeom>
        </p:spPr>
        <p:txBody>
          <a:bodyPr lIns="91420" tIns="45710" rIns="91420" bIns="45710">
            <a:noAutofit/>
          </a:bodyPr>
          <a:lstStyle>
            <a:lvl1pPr marL="0" indent="0">
              <a:lnSpc>
                <a:spcPct val="100000"/>
              </a:lnSpc>
              <a:spcBef>
                <a:spcPts val="1799"/>
              </a:spcBef>
              <a:buClr>
                <a:schemeClr val="tx2"/>
              </a:buClr>
              <a:buSzPct val="80000"/>
              <a:buFont typeface="Arial"/>
              <a:buNone/>
              <a:defRPr sz="1799" b="0" i="0">
                <a:solidFill>
                  <a:schemeClr val="tx1"/>
                </a:solidFill>
                <a:latin typeface="+mn-lt"/>
                <a:cs typeface="CiscoSans ExtraLight"/>
              </a:defRPr>
            </a:lvl1pPr>
            <a:lvl2pPr marL="274252" indent="-274252">
              <a:lnSpc>
                <a:spcPct val="100000"/>
              </a:lnSpc>
              <a:spcBef>
                <a:spcPts val="900"/>
              </a:spcBef>
              <a:buClrTx/>
              <a:buSzPct val="100000"/>
              <a:buFont typeface="Wingdings" charset="2"/>
              <a:buChar char="§"/>
              <a:defRPr sz="1799" b="0" i="0">
                <a:solidFill>
                  <a:schemeClr val="tx1"/>
                </a:solidFill>
                <a:latin typeface="+mn-lt"/>
                <a:cs typeface="CiscoSans ExtraLight"/>
              </a:defRPr>
            </a:lvl2pPr>
            <a:lvl3pPr marL="548503" indent="-274252">
              <a:lnSpc>
                <a:spcPct val="100000"/>
              </a:lnSpc>
              <a:spcBef>
                <a:spcPts val="700"/>
              </a:spcBef>
              <a:buClrTx/>
              <a:buSzPct val="100000"/>
              <a:buFont typeface=".AppleSystemUIFont" charset="-120"/>
              <a:buChar char="–"/>
              <a:defRPr sz="1400" b="0" i="0">
                <a:solidFill>
                  <a:schemeClr val="tx1"/>
                </a:solidFill>
                <a:latin typeface="+mn-lt"/>
                <a:cs typeface="CiscoSans ExtraLight"/>
              </a:defRPr>
            </a:lvl3pPr>
            <a:lvl4pPr marL="910808" indent="-171372">
              <a:buClr>
                <a:schemeClr val="tx2"/>
              </a:buClr>
              <a:buSzPct val="80000"/>
              <a:buFont typeface="Arial"/>
              <a:buChar char="•"/>
              <a:defRPr sz="1799" b="0" i="0">
                <a:solidFill>
                  <a:schemeClr val="tx2"/>
                </a:solidFill>
                <a:latin typeface="+mn-lt"/>
                <a:cs typeface="CiscoSans ExtraLight"/>
              </a:defRPr>
            </a:lvl4pPr>
            <a:lvl5pPr marL="1082180" indent="-168198">
              <a:buClr>
                <a:schemeClr val="tx2"/>
              </a:buClr>
              <a:buSzPct val="80000"/>
              <a:buFont typeface="Arial"/>
              <a:buChar char="•"/>
              <a:defRPr sz="1799" b="0" i="0">
                <a:solidFill>
                  <a:schemeClr val="tx2"/>
                </a:solidFill>
                <a:latin typeface="+mn-lt"/>
                <a:cs typeface="CiscoSans ExtraLight"/>
              </a:defRPr>
            </a:lvl5pPr>
          </a:lstStyle>
          <a:p>
            <a:pPr lvl="0"/>
            <a:r>
              <a:rPr lang="en-US" dirty="0"/>
              <a:t>Click to edit text</a:t>
            </a:r>
          </a:p>
          <a:p>
            <a:pPr lvl="1"/>
            <a:r>
              <a:rPr lang="en-US" dirty="0"/>
              <a:t>Second level</a:t>
            </a:r>
          </a:p>
          <a:p>
            <a:pPr lvl="2"/>
            <a:r>
              <a:rPr lang="en-US" dirty="0"/>
              <a:t>Third level</a:t>
            </a:r>
          </a:p>
        </p:txBody>
      </p:sp>
    </p:spTree>
    <p:extLst/>
  </p:cSld>
  <p:clrMapOvr>
    <a:masterClrMapping/>
  </p:clrMapOvr>
  <p:transition spd="med">
    <p:fade/>
  </p:transition>
  <p:extLst mod="1">
    <p:ext uri="{DCECCB84-F9BA-43D5-87BE-67443E8EF086}">
      <p15:sldGuideLst xmlns:p15="http://schemas.microsoft.com/office/powerpoint/2012/main"/>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solidFill>
          <a:srgbClr val="39393B"/>
        </a:soli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8"/>
          <p:cNvGrpSpPr>
            <a:grpSpLocks/>
          </p:cNvGrpSpPr>
          <p:nvPr/>
        </p:nvGrpSpPr>
        <p:grpSpPr bwMode="auto">
          <a:xfrm>
            <a:off x="-9525" y="0"/>
            <a:ext cx="9144000" cy="2011363"/>
            <a:chOff x="-9339" y="0"/>
            <a:chExt cx="9144000" cy="2012111"/>
          </a:xfrm>
        </p:grpSpPr>
        <p:sp>
          <p:nvSpPr>
            <p:cNvPr id="9" name="Rectangle 8"/>
            <p:cNvSpPr/>
            <p:nvPr/>
          </p:nvSpPr>
          <p:spPr>
            <a:xfrm>
              <a:off x="-9339" y="0"/>
              <a:ext cx="9144000" cy="2012111"/>
            </a:xfrm>
            <a:prstGeom prst="rect">
              <a:avLst/>
            </a:prstGeom>
            <a:solidFill>
              <a:schemeClr val="bg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10" name="Rectangle 9"/>
            <p:cNvSpPr/>
            <p:nvPr/>
          </p:nvSpPr>
          <p:spPr>
            <a:xfrm>
              <a:off x="54161" y="31762"/>
              <a:ext cx="1344613" cy="992557"/>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pic>
          <p:nvPicPr>
            <p:cNvPr id="11"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0718" y="244748"/>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1449574" y="1067197"/>
              <a:ext cx="2951162" cy="8750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pic>
          <p:nvPicPr>
            <p:cNvPr id="13" name="Picture 15"/>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49004" y="1066801"/>
              <a:ext cx="1348984" cy="875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6"/>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6253163" y="31988"/>
              <a:ext cx="2839732" cy="19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450168" y="31988"/>
              <a:ext cx="2949991" cy="996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5" descr="C:\Users\jenowens\Documents\0 WW Sales &amp; Partner Training\Branding\AJ81636.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450959" y="31988"/>
              <a:ext cx="1752600" cy="19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43088" y="1093788"/>
            <a:ext cx="2533650"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800" b="0" i="0" spc="0" baseline="0">
                <a:solidFill>
                  <a:srgbClr val="FFFFFE"/>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solidFill>
          <a:srgbClr val="39393B"/>
        </a:soli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7257510" y="487498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9D0E4CDE-323C-4F44-9B2F-000ABB332CCC}" type="slidenum">
              <a:rPr lang="en-US" sz="600">
                <a:solidFill>
                  <a:srgbClr val="FFFFFF">
                    <a:alpha val="60000"/>
                  </a:srgbClr>
                </a:solidFill>
                <a:latin typeface="Arial"/>
                <a:ea typeface=""/>
                <a:cs typeface="CiscoSans Thin"/>
              </a:rPr>
              <a:pPr algn="r" defTabSz="610744"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4" name="Rectangle 4"/>
          <p:cNvSpPr>
            <a:spLocks noChangeArrowheads="1"/>
          </p:cNvSpPr>
          <p:nvPr/>
        </p:nvSpPr>
        <p:spPr bwMode="ltGray">
          <a:xfrm>
            <a:off x="4609311" y="487373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ea typeface=""/>
                <a:cs typeface="CiscoSans Thin"/>
              </a:rPr>
              <a:t>© 2017  Cisco and/or its affiliates. All rights reserved.   Cisco Confidential</a:t>
            </a:r>
          </a:p>
        </p:txBody>
      </p:sp>
      <p:pic>
        <p:nvPicPr>
          <p:cNvPr id="5" name="Picture 2"/>
          <p:cNvPicPr>
            <a:picLocks noChangeAspect="1" noChangeArrowheads="1"/>
          </p:cNvPicPr>
          <p:nvPr/>
        </p:nvPicPr>
        <p:blipFill>
          <a:blip r:embed="rId2">
            <a:grayscl/>
            <a:biLevel thresh="50000"/>
            <a:extLst>
              <a:ext uri="{28A0092B-C50C-407E-A947-70E740481C1C}">
                <a14:useLocalDpi xmlns:a14="http://schemas.microsoft.com/office/drawing/2010/main" val="0"/>
              </a:ext>
            </a:extLst>
          </a:blip>
          <a:srcRect/>
          <a:stretch>
            <a:fillRect/>
          </a:stretch>
        </p:blipFill>
        <p:spPr bwMode="auto">
          <a:xfrm>
            <a:off x="477838" y="4625975"/>
            <a:ext cx="423862"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0" y="4411663"/>
            <a:ext cx="9144000" cy="92075"/>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pic>
        <p:nvPicPr>
          <p:cNvPr id="8"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37475" y="4624388"/>
            <a:ext cx="14065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5_Segue">
    <p:bg>
      <p:bgPr>
        <a:solidFill>
          <a:srgbClr val="39393B"/>
        </a:solidFill>
        <a:effectLst/>
      </p:bgPr>
    </p:bg>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a:grayscl/>
            <a:biLevel thresh="50000"/>
            <a:extLst>
              <a:ext uri="{28A0092B-C50C-407E-A947-70E740481C1C}">
                <a14:useLocalDpi xmlns:a14="http://schemas.microsoft.com/office/drawing/2010/main" val="0"/>
              </a:ext>
            </a:extLst>
          </a:blip>
          <a:srcRect/>
          <a:stretch>
            <a:fillRect/>
          </a:stretch>
        </p:blipFill>
        <p:spPr bwMode="auto">
          <a:xfrm>
            <a:off x="477838" y="4625975"/>
            <a:ext cx="423862"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0" y="4411663"/>
            <a:ext cx="9144000" cy="92075"/>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sp>
        <p:nvSpPr>
          <p:cNvPr id="5" name="Rectangle 7"/>
          <p:cNvSpPr>
            <a:spLocks noChangeArrowheads="1"/>
          </p:cNvSpPr>
          <p:nvPr/>
        </p:nvSpPr>
        <p:spPr bwMode="ltGray">
          <a:xfrm>
            <a:off x="7257510" y="485466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9D76EB9A-20CE-4E22-AB47-25A459B57E7C}" type="slidenum">
              <a:rPr lang="en-US" sz="600">
                <a:solidFill>
                  <a:srgbClr val="FFFFFF">
                    <a:alpha val="60000"/>
                  </a:srgbClr>
                </a:solidFill>
                <a:latin typeface="Arial"/>
                <a:ea typeface=""/>
                <a:cs typeface="CiscoSans Thin"/>
              </a:rPr>
              <a:pPr algn="r" defTabSz="610744"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7" name="Rectangle 4"/>
          <p:cNvSpPr>
            <a:spLocks noChangeArrowheads="1"/>
          </p:cNvSpPr>
          <p:nvPr/>
        </p:nvSpPr>
        <p:spPr bwMode="ltGray">
          <a:xfrm>
            <a:off x="4609311" y="485341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ea typeface=""/>
                <a:cs typeface="CiscoSans Thin"/>
              </a:rPr>
              <a:t>© 2017  Cisco and/or its affiliates. All rights reserved.   Cisco Confidential</a:t>
            </a:r>
          </a:p>
        </p:txBody>
      </p:sp>
      <p:pic>
        <p:nvPicPr>
          <p:cNvPr id="8"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37475" y="4624388"/>
            <a:ext cx="14065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a:t>Click to edit Master text styles</a:t>
            </a:r>
          </a:p>
        </p:txBody>
      </p:sp>
      <p:sp>
        <p:nvSpPr>
          <p:cNvPr id="6"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nap Prime Quote Slide_blue">
    <p:bg>
      <p:bgPr>
        <a:solidFill>
          <a:srgbClr val="049FD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640715" y="4206241"/>
            <a:ext cx="3497263" cy="674688"/>
          </a:xfrm>
          <a:prstGeom prst="rect">
            <a:avLst/>
          </a:prstGeom>
        </p:spPr>
        <p:txBody>
          <a:bodyPr/>
          <a:lstStyle>
            <a:lvl1pPr marL="0" indent="0">
              <a:buNone/>
              <a:defRPr sz="2000">
                <a:solidFill>
                  <a:schemeClr val="bg2"/>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8" name="Text Placeholder 7"/>
          <p:cNvSpPr>
            <a:spLocks noGrp="1"/>
          </p:cNvSpPr>
          <p:nvPr>
            <p:ph type="body" sz="quarter" idx="12"/>
          </p:nvPr>
        </p:nvSpPr>
        <p:spPr>
          <a:xfrm>
            <a:off x="292100" y="1544638"/>
            <a:ext cx="7273925" cy="2343150"/>
          </a:xfrm>
          <a:prstGeom prst="rect">
            <a:avLst/>
          </a:prstGeom>
        </p:spPr>
        <p:txBody>
          <a:bodyPr anchor="ctr" anchorCtr="0"/>
          <a:lstStyle>
            <a:lvl1pPr marL="0" indent="0">
              <a:buNone/>
              <a:defRPr sz="3200" i="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24372255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347663" indent="-290513">
              <a:lnSpc>
                <a:spcPct val="95000"/>
              </a:lnSpc>
              <a:spcBef>
                <a:spcPts val="1110"/>
              </a:spcBef>
              <a:buClr>
                <a:schemeClr val="tx2"/>
              </a:buClr>
              <a:buSzPct val="80000"/>
              <a:buFont typeface="Wingdings" panose="05000000000000000000" pitchFamily="2" charset="2"/>
              <a:buChar char="§"/>
              <a:defRPr sz="28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
        <p:nvSpPr>
          <p:cNvPr id="5"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2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
        <p:nvSpPr>
          <p:cNvPr id="5"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Tree>
    <p:extLst/>
  </p:cSld>
  <p:clrMapOvr>
    <a:masterClrMapping/>
  </p:clrMapOvr>
  <p:transition spd="med">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Wingdings" panose="05000000000000000000" pitchFamily="2" charset="2"/>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Tree>
    <p:extLst/>
  </p:cSld>
  <p:clrMapOvr>
    <a:masterClrMapping/>
  </p:clrMapOvr>
  <p:transition spd="med">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558" indent="-171415">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035" indent="-171415">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450" indent="-16824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600" indent="-173038">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27000" indent="-28575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2855" indent="-2857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4269" indent="-2857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382"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Wingdings" panose="05000000000000000000" pitchFamily="2" charset="2"/>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520" indent="-171415">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799934" indent="-171415">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347" indent="-17141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9"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260170"/>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2800" b="0" i="0" kern="1200" spc="-75"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4905964" y="260171"/>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2800" b="0" i="0" kern="1200" spc="-75"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spd="med">
    <p:fade/>
  </p:transition>
  <p:hf hdr="0" ftr="0" dt="0"/>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4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4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4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spd="med">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4"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5"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1" spc="0" baseline="0">
                <a:solidFill>
                  <a:schemeClr val="accent6"/>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nap Prime Quote Slide_white">
    <p:spTree>
      <p:nvGrpSpPr>
        <p:cNvPr id="1" name=""/>
        <p:cNvGrpSpPr/>
        <p:nvPr/>
      </p:nvGrpSpPr>
      <p:grpSpPr>
        <a:xfrm>
          <a:off x="0" y="0"/>
          <a:ext cx="0" cy="0"/>
          <a:chOff x="0" y="0"/>
          <a:chExt cx="0" cy="0"/>
        </a:xfrm>
      </p:grpSpPr>
      <p:sp>
        <p:nvSpPr>
          <p:cNvPr id="6" name="Text Placeholder 5"/>
          <p:cNvSpPr>
            <a:spLocks noGrp="1"/>
          </p:cNvSpPr>
          <p:nvPr>
            <p:ph type="body" sz="quarter" idx="11"/>
          </p:nvPr>
        </p:nvSpPr>
        <p:spPr>
          <a:xfrm>
            <a:off x="640715" y="4206241"/>
            <a:ext cx="3497263" cy="674688"/>
          </a:xfrm>
          <a:prstGeom prst="rect">
            <a:avLst/>
          </a:prstGeom>
        </p:spPr>
        <p:txBody>
          <a:bodyPr/>
          <a:lstStyle>
            <a:lvl1pPr marL="0" indent="0">
              <a:buNone/>
              <a:defRPr sz="2000">
                <a:solidFill>
                  <a:schemeClr val="tx1"/>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8" name="Text Placeholder 7"/>
          <p:cNvSpPr>
            <a:spLocks noGrp="1"/>
          </p:cNvSpPr>
          <p:nvPr>
            <p:ph type="body" sz="quarter" idx="12"/>
          </p:nvPr>
        </p:nvSpPr>
        <p:spPr>
          <a:xfrm>
            <a:off x="292100" y="1544638"/>
            <a:ext cx="7273925" cy="2343150"/>
          </a:xfrm>
          <a:prstGeom prst="rect">
            <a:avLst/>
          </a:prstGeom>
        </p:spPr>
        <p:txBody>
          <a:bodyPr anchor="ctr" anchorCtr="0"/>
          <a:lstStyle>
            <a:lvl1pPr marL="0" indent="0">
              <a:buNone/>
              <a:defRPr sz="3200" i="1">
                <a:solidFill>
                  <a:schemeClr val="bg1"/>
                </a:solidFill>
                <a:latin typeface="Arial" panose="020B0604020202020204" pitchFamily="34" charset="0"/>
                <a:cs typeface="Arial" panose="020B0604020202020204" pitchFamily="34" charset="0"/>
              </a:defRPr>
            </a:lvl1pPr>
          </a:lstStyle>
          <a:p>
            <a:pPr lvl="0"/>
            <a:r>
              <a:rPr lang="en-US" dirty="0"/>
              <a:t>Edit Master text styles</a:t>
            </a:r>
          </a:p>
        </p:txBody>
      </p:sp>
    </p:spTree>
    <p:extLst>
      <p:ext uri="{BB962C8B-B14F-4D97-AF65-F5344CB8AC3E}">
        <p14:creationId xmlns:p14="http://schemas.microsoft.com/office/powerpoint/2010/main" val="20436219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chemeClr val="accent6"/>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US"/>
              <a:t>Click to edit Master text styles</a:t>
            </a:r>
          </a:p>
        </p:txBody>
      </p:sp>
    </p:spTree>
    <p:extLst/>
  </p:cSld>
  <p:clrMapOvr>
    <a:masterClrMapping/>
  </p:clrMapOvr>
  <p:transition spd="slow">
    <p:wip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Oval 9"/>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1" name="Oval 10"/>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5" name="Oval 14"/>
          <p:cNvSpPr/>
          <p:nvPr/>
        </p:nvSpPr>
        <p:spPr>
          <a:xfrm>
            <a:off x="763588" y="1622425"/>
            <a:ext cx="2319337" cy="231775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2" name="Text Placeholder 2"/>
          <p:cNvSpPr>
            <a:spLocks noGrp="1"/>
          </p:cNvSpPr>
          <p:nvPr>
            <p:ph type="body" sz="quarter" idx="17"/>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13"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defRPr/>
            </a:pPr>
            <a:endParaRPr lang="en-US" altLang="en-US">
              <a:solidFill>
                <a:srgbClr val="FFFFFF"/>
              </a:solidFill>
              <a:cs typeface=""/>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defRPr/>
            </a:pPr>
            <a:endParaRPr lang="en-US" altLang="en-US">
              <a:solidFill>
                <a:srgbClr val="FFFFFF"/>
              </a:solidFill>
              <a:cs typeface=""/>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defRPr/>
            </a:pPr>
            <a:endParaRPr lang="en-US" altLang="en-US">
              <a:solidFill>
                <a:srgbClr val="FFFFFF"/>
              </a:solidFill>
              <a:cs typeface=""/>
            </a:endParaRPr>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a:t>Click icon to add picture</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5" name="Text Placeholder 2"/>
          <p:cNvSpPr>
            <a:spLocks noGrp="1"/>
          </p:cNvSpPr>
          <p:nvPr>
            <p:ph type="body" sz="quarter" idx="16"/>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16"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_Circled_Bullets">
    <p:spTree>
      <p:nvGrpSpPr>
        <p:cNvPr id="1" name=""/>
        <p:cNvGrpSpPr/>
        <p:nvPr/>
      </p:nvGrpSpPr>
      <p:grpSpPr>
        <a:xfrm>
          <a:off x="0" y="0"/>
          <a:ext cx="0" cy="0"/>
          <a:chOff x="0" y="0"/>
          <a:chExt cx="0" cy="0"/>
        </a:xfrm>
      </p:grpSpPr>
      <p:sp>
        <p:nvSpPr>
          <p:cNvPr id="10" name="Oval 9"/>
          <p:cNvSpPr/>
          <p:nvPr/>
        </p:nvSpPr>
        <p:spPr>
          <a:xfrm>
            <a:off x="576263" y="2552700"/>
            <a:ext cx="698500" cy="698500"/>
          </a:xfrm>
          <a:prstGeom prst="ellipse">
            <a:avLst/>
          </a:prstGeom>
          <a:solidFill>
            <a:schemeClr val="accent6"/>
          </a:solidFill>
          <a:ln w="1905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pPr algn="ctr">
              <a:defRPr/>
            </a:pPr>
            <a:endParaRPr lang="en-US" sz="4000" dirty="0">
              <a:solidFill>
                <a:srgbClr val="FFFFFF"/>
              </a:solidFill>
              <a:cs typeface="Arial"/>
            </a:endParaRPr>
          </a:p>
        </p:txBody>
      </p:sp>
      <p:sp>
        <p:nvSpPr>
          <p:cNvPr id="11" name="Oval 10"/>
          <p:cNvSpPr/>
          <p:nvPr/>
        </p:nvSpPr>
        <p:spPr>
          <a:xfrm>
            <a:off x="576263" y="1427163"/>
            <a:ext cx="698500" cy="698500"/>
          </a:xfrm>
          <a:prstGeom prst="ellipse">
            <a:avLst/>
          </a:prstGeom>
          <a:solidFill>
            <a:schemeClr val="accent6"/>
          </a:solidFill>
          <a:ln w="1905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pPr algn="ctr">
              <a:defRPr/>
            </a:pPr>
            <a:endParaRPr lang="en-US" sz="4000" dirty="0">
              <a:ln>
                <a:solidFill>
                  <a:srgbClr val="049FD9"/>
                </a:solidFill>
              </a:ln>
              <a:solidFill>
                <a:srgbClr val="FFFFFF"/>
              </a:solidFill>
              <a:cs typeface="Arial"/>
            </a:endParaRPr>
          </a:p>
        </p:txBody>
      </p:sp>
      <p:sp>
        <p:nvSpPr>
          <p:cNvPr id="12" name="Oval 11"/>
          <p:cNvSpPr/>
          <p:nvPr/>
        </p:nvSpPr>
        <p:spPr>
          <a:xfrm>
            <a:off x="576263" y="3652838"/>
            <a:ext cx="698500" cy="698500"/>
          </a:xfrm>
          <a:prstGeom prst="ellipse">
            <a:avLst/>
          </a:prstGeom>
          <a:solidFill>
            <a:schemeClr val="accent6"/>
          </a:solidFill>
          <a:ln w="1905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pPr algn="ctr">
              <a:defRPr/>
            </a:pP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9" name="Text Placeholder 17"/>
          <p:cNvSpPr>
            <a:spLocks noGrp="1"/>
          </p:cNvSpPr>
          <p:nvPr>
            <p:ph type="body" sz="quarter" idx="18"/>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3" name="Text Placeholder 17"/>
          <p:cNvSpPr>
            <a:spLocks noGrp="1"/>
          </p:cNvSpPr>
          <p:nvPr>
            <p:ph type="body" sz="quarter" idx="19"/>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Text Placeholder 2"/>
          <p:cNvSpPr>
            <a:spLocks noGrp="1"/>
          </p:cNvSpPr>
          <p:nvPr>
            <p:ph type="body" sz="quarter" idx="20"/>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16"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39393B"/>
        </a:solidFill>
        <a:effectLst/>
      </p:bgPr>
    </p:bg>
    <p:spTree>
      <p:nvGrpSpPr>
        <p:cNvPr id="1" name=""/>
        <p:cNvGrpSpPr/>
        <p:nvPr/>
      </p:nvGrpSpPr>
      <p:grpSpPr>
        <a:xfrm>
          <a:off x="0" y="0"/>
          <a:ext cx="0" cy="0"/>
          <a:chOff x="0" y="0"/>
          <a:chExt cx="0" cy="0"/>
        </a:xfrm>
      </p:grpSpPr>
      <p:pic>
        <p:nvPicPr>
          <p:cNvPr id="2"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0" y="4383088"/>
            <a:ext cx="9144000" cy="92075"/>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pic>
        <p:nvPicPr>
          <p:cNvPr id="4" name="Picture 9"/>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61125" y="4106863"/>
            <a:ext cx="755650"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7296150" y="4106863"/>
            <a:ext cx="757238"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24513" y="4106863"/>
            <a:ext cx="755650" cy="639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5" descr="C:\Users\jenowens\Documents\0 WW Sales &amp; Partner Training\Branding\AJ81636.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134350" y="4106863"/>
            <a:ext cx="754063"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7975" y="4500563"/>
            <a:ext cx="14065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p:cNvPicPr>
            <a:picLocks noChangeAspect="1"/>
          </p:cNvPicPr>
          <p:nvPr userDrawn="1"/>
        </p:nvPicPr>
        <p:blipFill>
          <a:blip r:embed="rId8"/>
          <a:stretch>
            <a:fillRect/>
          </a:stretch>
        </p:blipFill>
        <p:spPr>
          <a:xfrm>
            <a:off x="3786989" y="3995220"/>
            <a:ext cx="1737511" cy="347502"/>
          </a:xfrm>
          <a:prstGeom prst="rect">
            <a:avLst/>
          </a:prstGeom>
        </p:spPr>
      </p:pic>
    </p:spTree>
    <p:extLst/>
  </p:cSld>
  <p:clrMapOvr>
    <a:masterClrMapping/>
  </p:clrMapOvr>
  <p:transition spd="slow">
    <p:wip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4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5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6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Headline Slide Without Bullets">
    <p:spTree>
      <p:nvGrpSpPr>
        <p:cNvPr id="1" name=""/>
        <p:cNvGrpSpPr/>
        <p:nvPr/>
      </p:nvGrpSpPr>
      <p:grpSpPr>
        <a:xfrm>
          <a:off x="0" y="0"/>
          <a:ext cx="0" cy="0"/>
          <a:chOff x="0" y="0"/>
          <a:chExt cx="0" cy="0"/>
        </a:xfrm>
      </p:grpSpPr>
      <p:sp>
        <p:nvSpPr>
          <p:cNvPr id="4" name="Rectangle 3"/>
          <p:cNvSpPr/>
          <p:nvPr userDrawn="1"/>
        </p:nvSpPr>
        <p:spPr>
          <a:xfrm>
            <a:off x="0" y="0"/>
            <a:ext cx="4580092" cy="51435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dirty="0">
              <a:latin typeface="Arial" panose="020B0604020202020204" pitchFamily="34" charset="0"/>
              <a:cs typeface="Arial" panose="020B0604020202020204" pitchFamily="34" charset="0"/>
            </a:endParaRPr>
          </a:p>
        </p:txBody>
      </p:sp>
      <p:sp>
        <p:nvSpPr>
          <p:cNvPr id="3" name="Title Placeholder 5"/>
          <p:cNvSpPr>
            <a:spLocks noGrp="1"/>
          </p:cNvSpPr>
          <p:nvPr>
            <p:ph type="title"/>
          </p:nvPr>
        </p:nvSpPr>
        <p:spPr bwMode="auto">
          <a:xfrm>
            <a:off x="438912" y="2167128"/>
            <a:ext cx="3827463" cy="1828800"/>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5000"/>
              </a:lnSpc>
              <a:spcBef>
                <a:spcPct val="0"/>
              </a:spcBef>
              <a:spcAft>
                <a:spcPct val="0"/>
              </a:spcAft>
              <a:defRPr lang="en-GB" sz="3200" kern="1200" dirty="0">
                <a:solidFill>
                  <a:schemeClr val="bg1"/>
                </a:solidFill>
                <a:latin typeface="Arial" panose="020B0604020202020204" pitchFamily="34" charset="0"/>
                <a:ea typeface="ＭＳ Ｐゴシック" charset="0"/>
                <a:cs typeface="Arial" panose="020B0604020202020204" pitchFamily="34" charset="0"/>
              </a:defRPr>
            </a:lvl1pPr>
          </a:lstStyle>
          <a:p>
            <a:pPr lvl="0"/>
            <a:r>
              <a:rPr lang="en-US" dirty="0"/>
              <a:t>Click to edit Master title style</a:t>
            </a:r>
            <a:endParaRPr lang="en-GB" dirty="0"/>
          </a:p>
        </p:txBody>
      </p:sp>
      <p:sp>
        <p:nvSpPr>
          <p:cNvPr id="6" name="Text Placeholder 5"/>
          <p:cNvSpPr>
            <a:spLocks noGrp="1"/>
          </p:cNvSpPr>
          <p:nvPr>
            <p:ph type="body" sz="quarter" idx="10" hasCustomPrompt="1"/>
          </p:nvPr>
        </p:nvSpPr>
        <p:spPr>
          <a:xfrm>
            <a:off x="5097463" y="531812"/>
            <a:ext cx="3551237" cy="4059237"/>
          </a:xfrm>
          <a:prstGeom prst="rect">
            <a:avLst/>
          </a:prstGeom>
        </p:spPr>
        <p:txBody>
          <a:bodyPr lIns="0" rIns="0" anchor="ctr" anchorCtr="0"/>
          <a:lstStyle>
            <a:lvl1pPr marL="0" indent="0">
              <a:lnSpc>
                <a:spcPct val="100000"/>
              </a:lnSpc>
              <a:buClr>
                <a:schemeClr val="tx1"/>
              </a:buClr>
              <a:buSzPct val="60000"/>
              <a:buFont typeface="Arial" panose="020B0604020202020204" pitchFamily="34" charset="0"/>
              <a:buNone/>
              <a:tabLst>
                <a:tab pos="228600" algn="l"/>
              </a:tabLst>
              <a:defRPr sz="2200">
                <a:latin typeface="Arial" panose="020B0604020202020204" pitchFamily="34" charset="0"/>
                <a:cs typeface="Arial" panose="020B0604020202020204" pitchFamily="34" charset="0"/>
              </a:defRPr>
            </a:lvl1pPr>
            <a:lvl2pPr marL="174625" indent="0">
              <a:lnSpc>
                <a:spcPct val="100000"/>
              </a:lnSpc>
              <a:buClr>
                <a:schemeClr val="tx1"/>
              </a:buClr>
              <a:buSzPct val="60000"/>
              <a:buFont typeface="Arial" panose="020B0604020202020204" pitchFamily="34" charset="0"/>
              <a:buNone/>
              <a:defRPr sz="2200">
                <a:latin typeface="Arial" panose="020B0604020202020204" pitchFamily="34" charset="0"/>
                <a:cs typeface="Arial" panose="020B0604020202020204" pitchFamily="34" charset="0"/>
              </a:defRPr>
            </a:lvl2pPr>
            <a:lvl3pPr marL="339725" indent="0">
              <a:lnSpc>
                <a:spcPct val="100000"/>
              </a:lnSpc>
              <a:buClr>
                <a:schemeClr val="tx1"/>
              </a:buClr>
              <a:buSzPct val="60000"/>
              <a:buFont typeface="Arial" panose="020B0604020202020204" pitchFamily="34" charset="0"/>
              <a:buNone/>
              <a:defRPr sz="2000">
                <a:latin typeface="Arial" panose="020B0604020202020204" pitchFamily="34" charset="0"/>
                <a:cs typeface="Arial" panose="020B0604020202020204" pitchFamily="34" charset="0"/>
              </a:defRPr>
            </a:lvl3pPr>
            <a:lvl4pPr marL="457200" indent="0">
              <a:lnSpc>
                <a:spcPct val="100000"/>
              </a:lnSpc>
              <a:buClr>
                <a:schemeClr val="tx1"/>
              </a:buClr>
              <a:buSzPct val="60000"/>
              <a:buFont typeface="Arial" panose="020B0604020202020204" pitchFamily="34" charset="0"/>
              <a:buNone/>
              <a:tabLst/>
              <a:defRPr sz="1800">
                <a:latin typeface="Arial" panose="020B0604020202020204" pitchFamily="34" charset="0"/>
                <a:cs typeface="Arial" panose="020B0604020202020204" pitchFamily="34" charset="0"/>
              </a:defRPr>
            </a:lvl4pPr>
            <a:lvl5pPr marL="631825" indent="0">
              <a:lnSpc>
                <a:spcPct val="100000"/>
              </a:lnSpc>
              <a:buClr>
                <a:schemeClr val="tx1"/>
              </a:buClr>
              <a:buSzPct val="60000"/>
              <a:buFont typeface="Arial" panose="020B0604020202020204" pitchFamily="34" charset="0"/>
              <a:buNone/>
              <a:defRPr sz="1800">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7" name="Rectangle 4"/>
          <p:cNvSpPr>
            <a:spLocks noChangeArrowheads="1"/>
          </p:cNvSpPr>
          <p:nvPr userDrawn="1"/>
        </p:nvSpPr>
        <p:spPr bwMode="ltGray">
          <a:xfrm>
            <a:off x="477679" y="4741653"/>
            <a:ext cx="3466792" cy="154518"/>
          </a:xfrm>
          <a:prstGeom prst="rect">
            <a:avLst/>
          </a:prstGeom>
          <a:noFill/>
          <a:ln w="9525">
            <a:noFill/>
            <a:miter lim="800000"/>
            <a:headEnd/>
            <a:tailEnd/>
          </a:ln>
          <a:effectLst/>
        </p:spPr>
        <p:txBody>
          <a:bodyPr wrap="square" lIns="61586" tIns="30792" rIns="61586" bIns="30792" anchor="b">
            <a:spAutoFit/>
          </a:bodyPr>
          <a:lstStyle/>
          <a:p>
            <a:pPr algn="l" defTabSz="610744" rtl="0" fontAlgn="auto">
              <a:spcBef>
                <a:spcPts val="0"/>
              </a:spcBef>
              <a:spcAft>
                <a:spcPts val="0"/>
              </a:spcAft>
              <a:defRPr/>
            </a:pPr>
            <a:r>
              <a:rPr lang="en-US" sz="600" kern="1200" spc="20" baseline="0" dirty="0">
                <a:solidFill>
                  <a:schemeClr val="accent1">
                    <a:lumMod val="75000"/>
                  </a:schemeClr>
                </a:solidFill>
                <a:latin typeface="Arial" panose="020B0604020202020204" pitchFamily="34" charset="0"/>
                <a:ea typeface="+mn-ea"/>
                <a:cs typeface="Arial" panose="020B0604020202020204" pitchFamily="34" charset="0"/>
              </a:rPr>
              <a:t>© 2018  Cisco and/or its affiliates. All rights reserved.   Cisco Confidential</a:t>
            </a:r>
          </a:p>
        </p:txBody>
      </p:sp>
    </p:spTree>
    <p:extLst>
      <p:ext uri="{BB962C8B-B14F-4D97-AF65-F5344CB8AC3E}">
        <p14:creationId xmlns:p14="http://schemas.microsoft.com/office/powerpoint/2010/main" val="2925965568"/>
      </p:ext>
    </p:extLst>
  </p:cSld>
  <p:clrMapOvr>
    <a:masterClrMapping/>
  </p:clrMapOvr>
  <p:extLst mod="1">
    <p:ext uri="{DCECCB84-F9BA-43D5-87BE-67443E8EF086}">
      <p15:sldGuideLst xmlns:p15="http://schemas.microsoft.com/office/powerpoint/2012/main">
        <p15:guide id="1" orient="horz" pos="1044">
          <p15:clr>
            <a:srgbClr val="FBAE40"/>
          </p15:clr>
        </p15:guide>
        <p15:guide id="2" pos="264">
          <p15:clr>
            <a:srgbClr val="FBAE40"/>
          </p15:clr>
        </p15:guide>
        <p15:guide id="3" orient="horz" pos="2196">
          <p15:clr>
            <a:srgbClr val="FBAE40"/>
          </p15:clr>
        </p15:guide>
        <p15:guide id="4" pos="2675">
          <p15:clr>
            <a:srgbClr val="FBAE4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9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Warna Master">
    <p:bg>
      <p:bgRef idx="1002">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5" hasCustomPrompt="1"/>
          </p:nvPr>
        </p:nvSpPr>
        <p:spPr>
          <a:xfrm>
            <a:off x="402675" y="0"/>
            <a:ext cx="8352064" cy="507588"/>
          </a:xfrm>
        </p:spPr>
        <p:txBody>
          <a:bodyPr anchor="b">
            <a:noAutofit/>
          </a:bodyPr>
          <a:lstStyle>
            <a:lvl1pPr marL="0" indent="0" algn="l">
              <a:buNone/>
              <a:defRPr sz="2100" spc="-113">
                <a:solidFill>
                  <a:schemeClr val="tx1"/>
                </a:solidFill>
                <a:latin typeface="+mj-lt"/>
              </a:defRPr>
            </a:lvl1pPr>
            <a:lvl2pPr algn="ctr">
              <a:defRPr/>
            </a:lvl2pPr>
            <a:lvl3pPr algn="ctr">
              <a:defRPr/>
            </a:lvl3pPr>
            <a:lvl4pPr algn="ctr">
              <a:defRPr/>
            </a:lvl4pPr>
            <a:lvl5pPr algn="ctr">
              <a:defRPr/>
            </a:lvl5pPr>
          </a:lstStyle>
          <a:p>
            <a:pPr lvl="0"/>
            <a:r>
              <a:rPr lang="en-US" dirty="0"/>
              <a:t>Slide title or leave blank</a:t>
            </a:r>
          </a:p>
        </p:txBody>
      </p:sp>
      <p:sp>
        <p:nvSpPr>
          <p:cNvPr id="7" name="Date Placeholder 6"/>
          <p:cNvSpPr>
            <a:spLocks noGrp="1"/>
          </p:cNvSpPr>
          <p:nvPr>
            <p:ph type="dt" sz="half" idx="10"/>
          </p:nvPr>
        </p:nvSpPr>
        <p:spPr>
          <a:xfrm>
            <a:off x="6457951" y="4767264"/>
            <a:ext cx="2057400" cy="273844"/>
          </a:xfrm>
          <a:prstGeom prst="rect">
            <a:avLst/>
          </a:prstGeom>
        </p:spPr>
        <p:txBody>
          <a:bodyPr/>
          <a:lstStyle/>
          <a:p>
            <a:pPr eaLnBrk="0" hangingPunct="0"/>
            <a:fld id="{4F56262E-59F4-4FD4-8EEC-BCC43A13358C}" type="datetime1">
              <a:rPr lang="en-US" smtClean="0">
                <a:solidFill>
                  <a:srgbClr val="58585B"/>
                </a:solidFill>
                <a:latin typeface="Arial" panose="020B0604020202020204" pitchFamily="34" charset="0"/>
                <a:ea typeface="ＭＳ Ｐゴシック" panose="020B0600070205080204" pitchFamily="34" charset="-128"/>
                <a:cs typeface=""/>
              </a:rPr>
              <a:pPr eaLnBrk="0" hangingPunct="0"/>
              <a:t>12/10/18</a:t>
            </a:fld>
            <a:endParaRPr lang="en-US">
              <a:solidFill>
                <a:srgbClr val="58585B"/>
              </a:solidFill>
              <a:latin typeface="Arial" panose="020B0604020202020204" pitchFamily="34" charset="0"/>
              <a:ea typeface="ＭＳ Ｐゴシック" panose="020B0600070205080204" pitchFamily="34" charset="-128"/>
              <a:cs typeface=""/>
            </a:endParaRPr>
          </a:p>
        </p:txBody>
      </p:sp>
      <p:sp>
        <p:nvSpPr>
          <p:cNvPr id="8" name="Footer Placeholder 7"/>
          <p:cNvSpPr>
            <a:spLocks noGrp="1"/>
          </p:cNvSpPr>
          <p:nvPr>
            <p:ph type="ftr" sz="quarter" idx="11"/>
          </p:nvPr>
        </p:nvSpPr>
        <p:spPr>
          <a:xfrm>
            <a:off x="3028951" y="4767264"/>
            <a:ext cx="3086100" cy="273844"/>
          </a:xfrm>
          <a:prstGeom prst="rect">
            <a:avLst/>
          </a:prstGeom>
        </p:spPr>
        <p:txBody>
          <a:bodyPr/>
          <a:lstStyle/>
          <a:p>
            <a:pPr eaLnBrk="0" hangingPunct="0"/>
            <a:endParaRPr lang="en-US">
              <a:solidFill>
                <a:srgbClr val="58585B"/>
              </a:solidFill>
              <a:latin typeface="Arial" panose="020B0604020202020204" pitchFamily="34" charset="0"/>
              <a:ea typeface="ＭＳ Ｐゴシック" panose="020B0600070205080204" pitchFamily="34" charset="-128"/>
              <a:cs typeface=""/>
            </a:endParaRPr>
          </a:p>
        </p:txBody>
      </p:sp>
      <p:sp>
        <p:nvSpPr>
          <p:cNvPr id="9" name="Slide Number Placeholder 8"/>
          <p:cNvSpPr>
            <a:spLocks noGrp="1"/>
          </p:cNvSpPr>
          <p:nvPr>
            <p:ph type="sldNum" sz="quarter" idx="12"/>
          </p:nvPr>
        </p:nvSpPr>
        <p:spPr/>
        <p:txBody>
          <a:bodyPr/>
          <a:lstStyle/>
          <a:p>
            <a:pPr eaLnBrk="0" hangingPunct="0"/>
            <a:fld id="{82E53424-D1F0-4C59-ACFB-E47533F4CD2B}" type="slidenum">
              <a:rPr lang="en-US" smtClean="0">
                <a:solidFill>
                  <a:srgbClr val="58585B"/>
                </a:solidFill>
                <a:latin typeface="Arial" panose="020B0604020202020204" pitchFamily="34" charset="0"/>
                <a:ea typeface="ＭＳ Ｐゴシック" panose="020B0600070205080204" pitchFamily="34" charset="-128"/>
                <a:cs typeface=""/>
              </a:rPr>
              <a:pPr eaLnBrk="0" hangingPunct="0"/>
              <a:t>‹#›</a:t>
            </a:fld>
            <a:endParaRPr lang="en-US">
              <a:solidFill>
                <a:srgbClr val="58585B"/>
              </a:solidFill>
              <a:latin typeface="Arial" panose="020B0604020202020204" pitchFamily="34" charset="0"/>
              <a:ea typeface="ＭＳ Ｐゴシック" panose="020B0600070205080204" pitchFamily="34" charset="-128"/>
              <a:cs typeface=""/>
            </a:endParaRPr>
          </a:p>
        </p:txBody>
      </p:sp>
      <p:sp>
        <p:nvSpPr>
          <p:cNvPr id="13" name="Text Placeholder 12"/>
          <p:cNvSpPr>
            <a:spLocks noGrp="1"/>
          </p:cNvSpPr>
          <p:nvPr>
            <p:ph type="body" sz="quarter" idx="16" hasCustomPrompt="1"/>
          </p:nvPr>
        </p:nvSpPr>
        <p:spPr>
          <a:xfrm>
            <a:off x="402675" y="483566"/>
            <a:ext cx="8352063" cy="207692"/>
          </a:xfrm>
        </p:spPr>
        <p:txBody>
          <a:bodyPr>
            <a:noAutofit/>
          </a:bodyPr>
          <a:lstStyle>
            <a:lvl1pPr marL="0" indent="0" algn="l">
              <a:buNone/>
              <a:defRPr sz="1050" i="0">
                <a:solidFill>
                  <a:schemeClr val="tx1">
                    <a:lumMod val="50000"/>
                    <a:lumOff val="50000"/>
                  </a:schemeClr>
                </a:solidFill>
              </a:defRPr>
            </a:lvl1pPr>
          </a:lstStyle>
          <a:p>
            <a:pPr lvl="0"/>
            <a:r>
              <a:rPr lang="en-US" dirty="0"/>
              <a:t>Put your subtitle here or leave blank</a:t>
            </a:r>
          </a:p>
        </p:txBody>
      </p:sp>
      <p:sp>
        <p:nvSpPr>
          <p:cNvPr id="10" name="Picture Placeholder 2"/>
          <p:cNvSpPr>
            <a:spLocks noGrp="1"/>
          </p:cNvSpPr>
          <p:nvPr>
            <p:ph type="pic" sz="quarter" idx="17"/>
          </p:nvPr>
        </p:nvSpPr>
        <p:spPr>
          <a:xfrm>
            <a:off x="9266453" y="1384027"/>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1" name="Picture Placeholder 2"/>
          <p:cNvSpPr>
            <a:spLocks noGrp="1"/>
          </p:cNvSpPr>
          <p:nvPr>
            <p:ph type="pic" sz="quarter" idx="18"/>
          </p:nvPr>
        </p:nvSpPr>
        <p:spPr>
          <a:xfrm>
            <a:off x="9266453" y="1783038"/>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2" name="Picture Placeholder 2"/>
          <p:cNvSpPr>
            <a:spLocks noGrp="1"/>
          </p:cNvSpPr>
          <p:nvPr>
            <p:ph type="pic" sz="quarter" idx="19"/>
          </p:nvPr>
        </p:nvSpPr>
        <p:spPr>
          <a:xfrm>
            <a:off x="9599854" y="1783038"/>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4" name="Picture Placeholder 2"/>
          <p:cNvSpPr>
            <a:spLocks noGrp="1"/>
          </p:cNvSpPr>
          <p:nvPr>
            <p:ph type="pic" sz="quarter" idx="20"/>
          </p:nvPr>
        </p:nvSpPr>
        <p:spPr>
          <a:xfrm>
            <a:off x="9599854" y="1384027"/>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5" name="Picture Placeholder 2"/>
          <p:cNvSpPr>
            <a:spLocks noGrp="1"/>
          </p:cNvSpPr>
          <p:nvPr>
            <p:ph type="pic" sz="quarter" idx="21"/>
          </p:nvPr>
        </p:nvSpPr>
        <p:spPr>
          <a:xfrm>
            <a:off x="9266453" y="2973811"/>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6" name="Picture Placeholder 2"/>
          <p:cNvSpPr>
            <a:spLocks noGrp="1"/>
          </p:cNvSpPr>
          <p:nvPr>
            <p:ph type="pic" sz="quarter" idx="22"/>
          </p:nvPr>
        </p:nvSpPr>
        <p:spPr>
          <a:xfrm>
            <a:off x="9599854" y="2973811"/>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7" name="Picture Placeholder 2"/>
          <p:cNvSpPr>
            <a:spLocks noGrp="1"/>
          </p:cNvSpPr>
          <p:nvPr>
            <p:ph type="pic" sz="quarter" idx="23"/>
          </p:nvPr>
        </p:nvSpPr>
        <p:spPr>
          <a:xfrm>
            <a:off x="9266453" y="2221373"/>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8" name="Picture Placeholder 2"/>
          <p:cNvSpPr>
            <a:spLocks noGrp="1"/>
          </p:cNvSpPr>
          <p:nvPr>
            <p:ph type="pic" sz="quarter" idx="24"/>
          </p:nvPr>
        </p:nvSpPr>
        <p:spPr>
          <a:xfrm>
            <a:off x="9266453" y="2620384"/>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19" name="Picture Placeholder 2"/>
          <p:cNvSpPr>
            <a:spLocks noGrp="1"/>
          </p:cNvSpPr>
          <p:nvPr>
            <p:ph type="pic" sz="quarter" idx="25"/>
          </p:nvPr>
        </p:nvSpPr>
        <p:spPr>
          <a:xfrm>
            <a:off x="9599854" y="2620384"/>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20" name="Picture Placeholder 2"/>
          <p:cNvSpPr>
            <a:spLocks noGrp="1"/>
          </p:cNvSpPr>
          <p:nvPr>
            <p:ph type="pic" sz="quarter" idx="26"/>
          </p:nvPr>
        </p:nvSpPr>
        <p:spPr>
          <a:xfrm>
            <a:off x="9599854" y="2221373"/>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21" name="Picture Placeholder 2"/>
          <p:cNvSpPr>
            <a:spLocks noGrp="1"/>
          </p:cNvSpPr>
          <p:nvPr>
            <p:ph type="pic" sz="quarter" idx="27"/>
          </p:nvPr>
        </p:nvSpPr>
        <p:spPr>
          <a:xfrm>
            <a:off x="9266453" y="3294608"/>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22" name="Picture Placeholder 2"/>
          <p:cNvSpPr>
            <a:spLocks noGrp="1"/>
          </p:cNvSpPr>
          <p:nvPr>
            <p:ph type="pic" sz="quarter" idx="28"/>
          </p:nvPr>
        </p:nvSpPr>
        <p:spPr>
          <a:xfrm>
            <a:off x="9599854" y="3294608"/>
            <a:ext cx="263336" cy="263336"/>
          </a:xfrm>
          <a:solidFill>
            <a:schemeClr val="bg1">
              <a:lumMod val="90000"/>
            </a:schemeClr>
          </a:solidFill>
        </p:spPr>
        <p:txBody>
          <a:bodyPr anchor="t">
            <a:normAutofit/>
          </a:bodyPr>
          <a:lstStyle>
            <a:lvl1pPr marL="0" indent="0" algn="ctr">
              <a:buNone/>
              <a:defRPr sz="750"/>
            </a:lvl1pPr>
          </a:lstStyle>
          <a:p>
            <a:endParaRPr lang="en-US"/>
          </a:p>
        </p:txBody>
      </p:sp>
      <p:sp>
        <p:nvSpPr>
          <p:cNvPr id="23" name="Picture Placeholder 24"/>
          <p:cNvSpPr>
            <a:spLocks noGrp="1"/>
          </p:cNvSpPr>
          <p:nvPr>
            <p:ph type="pic" sz="quarter" idx="29"/>
          </p:nvPr>
        </p:nvSpPr>
        <p:spPr>
          <a:xfrm>
            <a:off x="9586876" y="3697796"/>
            <a:ext cx="289292" cy="340517"/>
          </a:xfrm>
          <a:custGeom>
            <a:avLst/>
            <a:gdLst>
              <a:gd name="connsiteX0" fmla="*/ 252115 w 7832714"/>
              <a:gd name="connsiteY0" fmla="*/ 5667920 h 9222028"/>
              <a:gd name="connsiteX1" fmla="*/ 321118 w 7832714"/>
              <a:gd name="connsiteY1" fmla="*/ 5706061 h 9222028"/>
              <a:gd name="connsiteX2" fmla="*/ 341919 w 7832714"/>
              <a:gd name="connsiteY2" fmla="*/ 5718200 h 9222028"/>
              <a:gd name="connsiteX3" fmla="*/ 303472 w 7832714"/>
              <a:gd name="connsiteY3" fmla="*/ 5696674 h 9222028"/>
              <a:gd name="connsiteX4" fmla="*/ 252115 w 7832714"/>
              <a:gd name="connsiteY4" fmla="*/ 5667920 h 9222028"/>
              <a:gd name="connsiteX5" fmla="*/ 80926 w 7832714"/>
              <a:gd name="connsiteY5" fmla="*/ 2490980 h 9222028"/>
              <a:gd name="connsiteX6" fmla="*/ 197626 w 7832714"/>
              <a:gd name="connsiteY6" fmla="*/ 2562114 h 9222028"/>
              <a:gd name="connsiteX7" fmla="*/ 295741 w 7832714"/>
              <a:gd name="connsiteY7" fmla="*/ 2621920 h 9222028"/>
              <a:gd name="connsiteX8" fmla="*/ 301916 w 7832714"/>
              <a:gd name="connsiteY8" fmla="*/ 2627757 h 9222028"/>
              <a:gd name="connsiteX9" fmla="*/ 80926 w 7832714"/>
              <a:gd name="connsiteY9" fmla="*/ 2490980 h 9222028"/>
              <a:gd name="connsiteX10" fmla="*/ 3099404 w 7832714"/>
              <a:gd name="connsiteY10" fmla="*/ 108 h 9222028"/>
              <a:gd name="connsiteX11" fmla="*/ 3311737 w 7832714"/>
              <a:gd name="connsiteY11" fmla="*/ 22791 h 9222028"/>
              <a:gd name="connsiteX12" fmla="*/ 3430013 w 7832714"/>
              <a:gd name="connsiteY12" fmla="*/ 97396 h 9222028"/>
              <a:gd name="connsiteX13" fmla="*/ 7697298 w 7832714"/>
              <a:gd name="connsiteY13" fmla="*/ 2829812 h 9222028"/>
              <a:gd name="connsiteX14" fmla="*/ 7507434 w 7832714"/>
              <a:gd name="connsiteY14" fmla="*/ 2982131 h 9222028"/>
              <a:gd name="connsiteX15" fmla="*/ 7653724 w 7832714"/>
              <a:gd name="connsiteY15" fmla="*/ 3100256 h 9222028"/>
              <a:gd name="connsiteX16" fmla="*/ 6838238 w 7832714"/>
              <a:gd name="connsiteY16" fmla="*/ 3526128 h 9222028"/>
              <a:gd name="connsiteX17" fmla="*/ 6847576 w 7832714"/>
              <a:gd name="connsiteY17" fmla="*/ 4256638 h 9222028"/>
              <a:gd name="connsiteX18" fmla="*/ 6928502 w 7832714"/>
              <a:gd name="connsiteY18" fmla="*/ 4722920 h 9222028"/>
              <a:gd name="connsiteX19" fmla="*/ 6564336 w 7832714"/>
              <a:gd name="connsiteY19" fmla="*/ 4558167 h 9222028"/>
              <a:gd name="connsiteX20" fmla="*/ 6775988 w 7832714"/>
              <a:gd name="connsiteY20" fmla="*/ 4741572 h 9222028"/>
              <a:gd name="connsiteX21" fmla="*/ 6439834 w 7832714"/>
              <a:gd name="connsiteY21" fmla="*/ 4564384 h 9222028"/>
              <a:gd name="connsiteX22" fmla="*/ 6676388 w 7832714"/>
              <a:gd name="connsiteY22" fmla="*/ 4738463 h 9222028"/>
              <a:gd name="connsiteX23" fmla="*/ 6937840 w 7832714"/>
              <a:gd name="connsiteY23" fmla="*/ 4993364 h 9222028"/>
              <a:gd name="connsiteX24" fmla="*/ 6551886 w 7832714"/>
              <a:gd name="connsiteY24" fmla="*/ 4788200 h 9222028"/>
              <a:gd name="connsiteX25" fmla="*/ 6259308 w 7832714"/>
              <a:gd name="connsiteY25" fmla="*/ 5726982 h 9222028"/>
              <a:gd name="connsiteX26" fmla="*/ 4917804 w 7832714"/>
              <a:gd name="connsiteY26" fmla="*/ 5195420 h 9222028"/>
              <a:gd name="connsiteX27" fmla="*/ 5425148 w 7832714"/>
              <a:gd name="connsiteY27" fmla="*/ 5484515 h 9222028"/>
              <a:gd name="connsiteX28" fmla="*/ 4790192 w 7832714"/>
              <a:gd name="connsiteY28" fmla="*/ 5204746 h 9222028"/>
              <a:gd name="connsiteX29" fmla="*/ 5412698 w 7832714"/>
              <a:gd name="connsiteY29" fmla="*/ 5534252 h 9222028"/>
              <a:gd name="connsiteX30" fmla="*/ 5471836 w 7832714"/>
              <a:gd name="connsiteY30" fmla="*/ 5689680 h 9222028"/>
              <a:gd name="connsiteX31" fmla="*/ 5353560 w 7832714"/>
              <a:gd name="connsiteY31" fmla="*/ 5602640 h 9222028"/>
              <a:gd name="connsiteX32" fmla="*/ 5792428 w 7832714"/>
              <a:gd name="connsiteY32" fmla="*/ 5944581 h 9222028"/>
              <a:gd name="connsiteX33" fmla="*/ 5253958 w 7832714"/>
              <a:gd name="connsiteY33" fmla="*/ 5689680 h 9222028"/>
              <a:gd name="connsiteX34" fmla="*/ 6088118 w 7832714"/>
              <a:gd name="connsiteY34" fmla="*/ 6323824 h 9222028"/>
              <a:gd name="connsiteX35" fmla="*/ 5801764 w 7832714"/>
              <a:gd name="connsiteY35" fmla="*/ 6168397 h 9222028"/>
              <a:gd name="connsiteX36" fmla="*/ 5885804 w 7832714"/>
              <a:gd name="connsiteY36" fmla="*/ 6637788 h 9222028"/>
              <a:gd name="connsiteX37" fmla="*/ 5795540 w 7832714"/>
              <a:gd name="connsiteY37" fmla="*/ 6581834 h 9222028"/>
              <a:gd name="connsiteX38" fmla="*/ 5518524 w 7832714"/>
              <a:gd name="connsiteY38" fmla="*/ 6743478 h 9222028"/>
              <a:gd name="connsiteX39" fmla="*/ 5898252 w 7832714"/>
              <a:gd name="connsiteY39" fmla="*/ 6954860 h 9222028"/>
              <a:gd name="connsiteX40" fmla="*/ 5957392 w 7832714"/>
              <a:gd name="connsiteY40" fmla="*/ 7203544 h 9222028"/>
              <a:gd name="connsiteX41" fmla="*/ 5832890 w 7832714"/>
              <a:gd name="connsiteY41" fmla="*/ 7122722 h 9222028"/>
              <a:gd name="connsiteX42" fmla="*/ 5851564 w 7832714"/>
              <a:gd name="connsiteY42" fmla="*/ 7184893 h 9222028"/>
              <a:gd name="connsiteX43" fmla="*/ 5761302 w 7832714"/>
              <a:gd name="connsiteY43" fmla="*/ 7128939 h 9222028"/>
              <a:gd name="connsiteX44" fmla="*/ 5926266 w 7832714"/>
              <a:gd name="connsiteY44" fmla="*/ 7334103 h 9222028"/>
              <a:gd name="connsiteX45" fmla="*/ 5836002 w 7832714"/>
              <a:gd name="connsiteY45" fmla="*/ 7281258 h 9222028"/>
              <a:gd name="connsiteX46" fmla="*/ 5895140 w 7832714"/>
              <a:gd name="connsiteY46" fmla="*/ 7402492 h 9222028"/>
              <a:gd name="connsiteX47" fmla="*/ 5571436 w 7832714"/>
              <a:gd name="connsiteY47" fmla="*/ 7250172 h 9222028"/>
              <a:gd name="connsiteX48" fmla="*/ 5923154 w 7832714"/>
              <a:gd name="connsiteY48" fmla="*/ 7719564 h 9222028"/>
              <a:gd name="connsiteX49" fmla="*/ 5920040 w 7832714"/>
              <a:gd name="connsiteY49" fmla="*/ 8167195 h 9222028"/>
              <a:gd name="connsiteX50" fmla="*/ 5023632 w 7832714"/>
              <a:gd name="connsiteY50" fmla="*/ 8341274 h 9222028"/>
              <a:gd name="connsiteX51" fmla="*/ 5618622 w 7832714"/>
              <a:gd name="connsiteY51" fmla="*/ 9214083 h 9222028"/>
              <a:gd name="connsiteX52" fmla="*/ 5615948 w 7832714"/>
              <a:gd name="connsiteY52" fmla="*/ 9222028 h 9222028"/>
              <a:gd name="connsiteX53" fmla="*/ 5186348 w 7832714"/>
              <a:gd name="connsiteY53" fmla="*/ 9222028 h 9222028"/>
              <a:gd name="connsiteX54" fmla="*/ 5166784 w 7832714"/>
              <a:gd name="connsiteY54" fmla="*/ 9217953 h 9222028"/>
              <a:gd name="connsiteX55" fmla="*/ 1254351 w 7832714"/>
              <a:gd name="connsiteY55" fmla="*/ 6814975 h 9222028"/>
              <a:gd name="connsiteX56" fmla="*/ 1478454 w 7832714"/>
              <a:gd name="connsiteY56" fmla="*/ 6721718 h 9222028"/>
              <a:gd name="connsiteX57" fmla="*/ 1104950 w 7832714"/>
              <a:gd name="connsiteY57" fmla="*/ 6528988 h 9222028"/>
              <a:gd name="connsiteX58" fmla="*/ 1058262 w 7832714"/>
              <a:gd name="connsiteY58" fmla="*/ 6339367 h 9222028"/>
              <a:gd name="connsiteX59" fmla="*/ 317478 w 7832714"/>
              <a:gd name="connsiteY59" fmla="*/ 5904170 h 9222028"/>
              <a:gd name="connsiteX60" fmla="*/ 333041 w 7832714"/>
              <a:gd name="connsiteY60" fmla="*/ 5745634 h 9222028"/>
              <a:gd name="connsiteX61" fmla="*/ 799921 w 7832714"/>
              <a:gd name="connsiteY61" fmla="*/ 6062706 h 9222028"/>
              <a:gd name="connsiteX62" fmla="*/ 381614 w 7832714"/>
              <a:gd name="connsiteY62" fmla="*/ 5741365 h 9222028"/>
              <a:gd name="connsiteX63" fmla="*/ 341919 w 7832714"/>
              <a:gd name="connsiteY63" fmla="*/ 5718200 h 9222028"/>
              <a:gd name="connsiteX64" fmla="*/ 352422 w 7832714"/>
              <a:gd name="connsiteY64" fmla="*/ 5724080 h 9222028"/>
              <a:gd name="connsiteX65" fmla="*/ 662970 w 7832714"/>
              <a:gd name="connsiteY65" fmla="*/ 5897953 h 9222028"/>
              <a:gd name="connsiteX66" fmla="*/ 852834 w 7832714"/>
              <a:gd name="connsiteY66" fmla="*/ 5944581 h 9222028"/>
              <a:gd name="connsiteX67" fmla="*/ 522906 w 7832714"/>
              <a:gd name="connsiteY67" fmla="*/ 5764285 h 9222028"/>
              <a:gd name="connsiteX68" fmla="*/ 292578 w 7832714"/>
              <a:gd name="connsiteY68" fmla="*/ 5450321 h 9222028"/>
              <a:gd name="connsiteX69" fmla="*/ 996011 w 7832714"/>
              <a:gd name="connsiteY69" fmla="*/ 5798479 h 9222028"/>
              <a:gd name="connsiteX70" fmla="*/ 622507 w 7832714"/>
              <a:gd name="connsiteY70" fmla="*/ 5546686 h 9222028"/>
              <a:gd name="connsiteX71" fmla="*/ 669195 w 7832714"/>
              <a:gd name="connsiteY71" fmla="*/ 5565338 h 9222028"/>
              <a:gd name="connsiteX72" fmla="*/ 404629 w 7832714"/>
              <a:gd name="connsiteY72" fmla="*/ 5391259 h 9222028"/>
              <a:gd name="connsiteX73" fmla="*/ 491780 w 7832714"/>
              <a:gd name="connsiteY73" fmla="*/ 5136358 h 9222028"/>
              <a:gd name="connsiteX74" fmla="*/ 731446 w 7832714"/>
              <a:gd name="connsiteY74" fmla="*/ 5341522 h 9222028"/>
              <a:gd name="connsiteX75" fmla="*/ 675420 w 7832714"/>
              <a:gd name="connsiteY75" fmla="*/ 5232723 h 9222028"/>
              <a:gd name="connsiteX76" fmla="*/ 1207663 w 7832714"/>
              <a:gd name="connsiteY76" fmla="*/ 5580881 h 9222028"/>
              <a:gd name="connsiteX77" fmla="*/ 575819 w 7832714"/>
              <a:gd name="connsiteY77" fmla="*/ 4881456 h 9222028"/>
              <a:gd name="connsiteX78" fmla="*/ 1080049 w 7832714"/>
              <a:gd name="connsiteY78" fmla="*/ 5033775 h 9222028"/>
              <a:gd name="connsiteX79" fmla="*/ 905748 w 7832714"/>
              <a:gd name="connsiteY79" fmla="*/ 4940519 h 9222028"/>
              <a:gd name="connsiteX80" fmla="*/ 694095 w 7832714"/>
              <a:gd name="connsiteY80" fmla="*/ 4803743 h 9222028"/>
              <a:gd name="connsiteX81" fmla="*/ 762571 w 7832714"/>
              <a:gd name="connsiteY81" fmla="*/ 4841045 h 9222028"/>
              <a:gd name="connsiteX82" fmla="*/ 591381 w 7832714"/>
              <a:gd name="connsiteY82" fmla="*/ 4722920 h 9222028"/>
              <a:gd name="connsiteX83" fmla="*/ 921310 w 7832714"/>
              <a:gd name="connsiteY83" fmla="*/ 4900108 h 9222028"/>
              <a:gd name="connsiteX84" fmla="*/ 1160975 w 7832714"/>
              <a:gd name="connsiteY84" fmla="*/ 5002690 h 9222028"/>
              <a:gd name="connsiteX85" fmla="*/ 544693 w 7832714"/>
              <a:gd name="connsiteY85" fmla="*/ 4533299 h 9222028"/>
              <a:gd name="connsiteX86" fmla="*/ 535356 w 7832714"/>
              <a:gd name="connsiteY86" fmla="*/ 4312592 h 9222028"/>
              <a:gd name="connsiteX87" fmla="*/ 610057 w 7832714"/>
              <a:gd name="connsiteY87" fmla="*/ 4365437 h 9222028"/>
              <a:gd name="connsiteX88" fmla="*/ 1073824 w 7832714"/>
              <a:gd name="connsiteY88" fmla="*/ 4533299 h 9222028"/>
              <a:gd name="connsiteX89" fmla="*/ 684758 w 7832714"/>
              <a:gd name="connsiteY89" fmla="*/ 4039039 h 9222028"/>
              <a:gd name="connsiteX90" fmla="*/ 52913 w 7832714"/>
              <a:gd name="connsiteY90" fmla="*/ 3634927 h 9222028"/>
              <a:gd name="connsiteX91" fmla="*/ 149402 w 7832714"/>
              <a:gd name="connsiteY91" fmla="*/ 3336506 h 9222028"/>
              <a:gd name="connsiteX92" fmla="*/ 186752 w 7832714"/>
              <a:gd name="connsiteY92" fmla="*/ 3364483 h 9222028"/>
              <a:gd name="connsiteX93" fmla="*/ 0 w 7832714"/>
              <a:gd name="connsiteY93" fmla="*/ 3097148 h 9222028"/>
              <a:gd name="connsiteX94" fmla="*/ 775021 w 7832714"/>
              <a:gd name="connsiteY94" fmla="*/ 3516802 h 9222028"/>
              <a:gd name="connsiteX95" fmla="*/ 572706 w 7832714"/>
              <a:gd name="connsiteY95" fmla="*/ 3252575 h 9222028"/>
              <a:gd name="connsiteX96" fmla="*/ 999124 w 7832714"/>
              <a:gd name="connsiteY96" fmla="*/ 3330289 h 9222028"/>
              <a:gd name="connsiteX97" fmla="*/ 457542 w 7832714"/>
              <a:gd name="connsiteY97" fmla="*/ 2947937 h 9222028"/>
              <a:gd name="connsiteX98" fmla="*/ 834159 w 7832714"/>
              <a:gd name="connsiteY98" fmla="*/ 3190404 h 9222028"/>
              <a:gd name="connsiteX99" fmla="*/ 1248126 w 7832714"/>
              <a:gd name="connsiteY99" fmla="*/ 3395569 h 9222028"/>
              <a:gd name="connsiteX100" fmla="*/ 1139188 w 7832714"/>
              <a:gd name="connsiteY100" fmla="*/ 3280552 h 9222028"/>
              <a:gd name="connsiteX101" fmla="*/ 1447328 w 7832714"/>
              <a:gd name="connsiteY101" fmla="*/ 3467065 h 9222028"/>
              <a:gd name="connsiteX102" fmla="*/ 887072 w 7832714"/>
              <a:gd name="connsiteY102" fmla="*/ 3118908 h 9222028"/>
              <a:gd name="connsiteX103" fmla="*/ 743896 w 7832714"/>
              <a:gd name="connsiteY103" fmla="*/ 2895092 h 9222028"/>
              <a:gd name="connsiteX104" fmla="*/ 299758 w 7832714"/>
              <a:gd name="connsiteY104" fmla="*/ 2624369 h 9222028"/>
              <a:gd name="connsiteX105" fmla="*/ 295741 w 7832714"/>
              <a:gd name="connsiteY105" fmla="*/ 2621920 h 9222028"/>
              <a:gd name="connsiteX106" fmla="*/ 258691 w 7832714"/>
              <a:gd name="connsiteY106" fmla="*/ 2586902 h 9222028"/>
              <a:gd name="connsiteX107" fmla="*/ 712770 w 7832714"/>
              <a:gd name="connsiteY107" fmla="*/ 2727230 h 9222028"/>
              <a:gd name="connsiteX108" fmla="*/ 1036474 w 7832714"/>
              <a:gd name="connsiteY108" fmla="*/ 2910635 h 9222028"/>
              <a:gd name="connsiteX109" fmla="*/ 619394 w 7832714"/>
              <a:gd name="connsiteY109" fmla="*/ 2630865 h 9222028"/>
              <a:gd name="connsiteX110" fmla="*/ 1400640 w 7832714"/>
              <a:gd name="connsiteY110" fmla="*/ 2804944 h 9222028"/>
              <a:gd name="connsiteX111" fmla="*/ 852834 w 7832714"/>
              <a:gd name="connsiteY111" fmla="*/ 2487872 h 9222028"/>
              <a:gd name="connsiteX112" fmla="*/ 1173426 w 7832714"/>
              <a:gd name="connsiteY112" fmla="*/ 2537609 h 9222028"/>
              <a:gd name="connsiteX113" fmla="*/ 837272 w 7832714"/>
              <a:gd name="connsiteY113" fmla="*/ 2360421 h 9222028"/>
              <a:gd name="connsiteX114" fmla="*/ 1039586 w 7832714"/>
              <a:gd name="connsiteY114" fmla="*/ 2366638 h 9222028"/>
              <a:gd name="connsiteX115" fmla="*/ 1301039 w 7832714"/>
              <a:gd name="connsiteY115" fmla="*/ 2531392 h 9222028"/>
              <a:gd name="connsiteX116" fmla="*/ 1375740 w 7832714"/>
              <a:gd name="connsiteY116" fmla="*/ 2500306 h 9222028"/>
              <a:gd name="connsiteX117" fmla="*/ 1064487 w 7832714"/>
              <a:gd name="connsiteY117" fmla="*/ 2357313 h 9222028"/>
              <a:gd name="connsiteX118" fmla="*/ 924423 w 7832714"/>
              <a:gd name="connsiteY118" fmla="*/ 2052675 h 9222028"/>
              <a:gd name="connsiteX119" fmla="*/ 1235676 w 7832714"/>
              <a:gd name="connsiteY119" fmla="*/ 2242296 h 9222028"/>
              <a:gd name="connsiteX120" fmla="*/ 1173426 w 7832714"/>
              <a:gd name="connsiteY120" fmla="*/ 2223645 h 9222028"/>
              <a:gd name="connsiteX121" fmla="*/ 1743019 w 7832714"/>
              <a:gd name="connsiteY121" fmla="*/ 2484763 h 9222028"/>
              <a:gd name="connsiteX122" fmla="*/ 1176538 w 7832714"/>
              <a:gd name="connsiteY122" fmla="*/ 2040241 h 9222028"/>
              <a:gd name="connsiteX123" fmla="*/ 1447328 w 7832714"/>
              <a:gd name="connsiteY123" fmla="*/ 1838185 h 9222028"/>
              <a:gd name="connsiteX124" fmla="*/ 1942222 w 7832714"/>
              <a:gd name="connsiteY124" fmla="*/ 2086869 h 9222028"/>
              <a:gd name="connsiteX125" fmla="*/ 1649643 w 7832714"/>
              <a:gd name="connsiteY125" fmla="*/ 1844402 h 9222028"/>
              <a:gd name="connsiteX126" fmla="*/ 2104073 w 7832714"/>
              <a:gd name="connsiteY126" fmla="*/ 2062001 h 9222028"/>
              <a:gd name="connsiteX127" fmla="*/ 2502478 w 7832714"/>
              <a:gd name="connsiteY127" fmla="*/ 2127280 h 9222028"/>
              <a:gd name="connsiteX128" fmla="*/ 2465127 w 7832714"/>
              <a:gd name="connsiteY128" fmla="*/ 1869270 h 9222028"/>
              <a:gd name="connsiteX129" fmla="*/ 2788831 w 7832714"/>
              <a:gd name="connsiteY129" fmla="*/ 2052675 h 9222028"/>
              <a:gd name="connsiteX130" fmla="*/ 3003596 w 7832714"/>
              <a:gd name="connsiteY130" fmla="*/ 2009155 h 9222028"/>
              <a:gd name="connsiteX131" fmla="*/ 3588752 w 7832714"/>
              <a:gd name="connsiteY131" fmla="*/ 2354204 h 9222028"/>
              <a:gd name="connsiteX132" fmla="*/ 3918681 w 7832714"/>
              <a:gd name="connsiteY132" fmla="*/ 2518957 h 9222028"/>
              <a:gd name="connsiteX133" fmla="*/ 2757706 w 7832714"/>
              <a:gd name="connsiteY133" fmla="*/ 1617478 h 9222028"/>
              <a:gd name="connsiteX134" fmla="*/ 2816844 w 7832714"/>
              <a:gd name="connsiteY134" fmla="*/ 1477593 h 9222028"/>
              <a:gd name="connsiteX135" fmla="*/ 2735918 w 7832714"/>
              <a:gd name="connsiteY135" fmla="*/ 1474484 h 9222028"/>
              <a:gd name="connsiteX136" fmla="*/ 2717243 w 7832714"/>
              <a:gd name="connsiteY136" fmla="*/ 1350142 h 9222028"/>
              <a:gd name="connsiteX137" fmla="*/ 3009821 w 7832714"/>
              <a:gd name="connsiteY137" fmla="*/ 1511787 h 9222028"/>
              <a:gd name="connsiteX138" fmla="*/ 2832406 w 7832714"/>
              <a:gd name="connsiteY138" fmla="*/ 1194715 h 9222028"/>
              <a:gd name="connsiteX139" fmla="*/ 2944458 w 7832714"/>
              <a:gd name="connsiteY139" fmla="*/ 1250668 h 9222028"/>
              <a:gd name="connsiteX140" fmla="*/ 2692342 w 7832714"/>
              <a:gd name="connsiteY140" fmla="*/ 977116 h 9222028"/>
              <a:gd name="connsiteX141" fmla="*/ 2810619 w 7832714"/>
              <a:gd name="connsiteY141" fmla="*/ 1051721 h 9222028"/>
              <a:gd name="connsiteX142" fmla="*/ 2393539 w 7832714"/>
              <a:gd name="connsiteY142" fmla="*/ 370949 h 9222028"/>
              <a:gd name="connsiteX143" fmla="*/ 2633204 w 7832714"/>
              <a:gd name="connsiteY143" fmla="*/ 355406 h 9222028"/>
              <a:gd name="connsiteX144" fmla="*/ 2900882 w 7832714"/>
              <a:gd name="connsiteY144" fmla="*/ 532593 h 9222028"/>
              <a:gd name="connsiteX145" fmla="*/ 2975583 w 7832714"/>
              <a:gd name="connsiteY145" fmla="*/ 311886 h 9222028"/>
              <a:gd name="connsiteX146" fmla="*/ 3037834 w 7832714"/>
              <a:gd name="connsiteY146" fmla="*/ 349189 h 9222028"/>
              <a:gd name="connsiteX147" fmla="*/ 3420676 w 7832714"/>
              <a:gd name="connsiteY147" fmla="*/ 417577 h 9222028"/>
              <a:gd name="connsiteX148" fmla="*/ 3099404 w 7832714"/>
              <a:gd name="connsiteY148" fmla="*/ 108 h 922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7832714" h="9222028">
                <a:moveTo>
                  <a:pt x="252115" y="5667920"/>
                </a:moveTo>
                <a:cubicBezTo>
                  <a:pt x="276626" y="5681131"/>
                  <a:pt x="299581" y="5693832"/>
                  <a:pt x="321118" y="5706061"/>
                </a:cubicBezTo>
                <a:lnTo>
                  <a:pt x="341919" y="5718200"/>
                </a:lnTo>
                <a:lnTo>
                  <a:pt x="303472" y="5696674"/>
                </a:lnTo>
                <a:cubicBezTo>
                  <a:pt x="252115" y="5667920"/>
                  <a:pt x="252115" y="5667920"/>
                  <a:pt x="252115" y="5667920"/>
                </a:cubicBezTo>
                <a:close/>
                <a:moveTo>
                  <a:pt x="80926" y="2490980"/>
                </a:moveTo>
                <a:cubicBezTo>
                  <a:pt x="122362" y="2516237"/>
                  <a:pt x="161208" y="2539916"/>
                  <a:pt x="197626" y="2562114"/>
                </a:cubicBezTo>
                <a:lnTo>
                  <a:pt x="295741" y="2621920"/>
                </a:lnTo>
                <a:lnTo>
                  <a:pt x="301916" y="2627757"/>
                </a:lnTo>
                <a:cubicBezTo>
                  <a:pt x="80926" y="2490980"/>
                  <a:pt x="80926" y="2490980"/>
                  <a:pt x="80926" y="2490980"/>
                </a:cubicBezTo>
                <a:close/>
                <a:moveTo>
                  <a:pt x="3099404" y="108"/>
                </a:moveTo>
                <a:cubicBezTo>
                  <a:pt x="3150080" y="-1106"/>
                  <a:pt x="3223030" y="8025"/>
                  <a:pt x="3311737" y="22791"/>
                </a:cubicBezTo>
                <a:cubicBezTo>
                  <a:pt x="3311737" y="22791"/>
                  <a:pt x="3311737" y="22791"/>
                  <a:pt x="3430013" y="97396"/>
                </a:cubicBezTo>
                <a:cubicBezTo>
                  <a:pt x="8456756" y="1993612"/>
                  <a:pt x="7697298" y="2829812"/>
                  <a:pt x="7697298" y="2829812"/>
                </a:cubicBezTo>
                <a:cubicBezTo>
                  <a:pt x="7697298" y="2829812"/>
                  <a:pt x="7697298" y="2829812"/>
                  <a:pt x="7507434" y="2982131"/>
                </a:cubicBezTo>
                <a:cubicBezTo>
                  <a:pt x="7569684" y="3019434"/>
                  <a:pt x="7737760" y="3137559"/>
                  <a:pt x="7653724" y="3100256"/>
                </a:cubicBezTo>
                <a:cubicBezTo>
                  <a:pt x="8481656" y="3855634"/>
                  <a:pt x="6128580" y="2842247"/>
                  <a:pt x="6838238" y="3526128"/>
                </a:cubicBezTo>
                <a:cubicBezTo>
                  <a:pt x="7130816" y="3889828"/>
                  <a:pt x="7631936" y="4520865"/>
                  <a:pt x="6847576" y="4256638"/>
                </a:cubicBezTo>
                <a:cubicBezTo>
                  <a:pt x="6645262" y="4293940"/>
                  <a:pt x="7261544" y="4766440"/>
                  <a:pt x="6928502" y="4722920"/>
                </a:cubicBezTo>
                <a:cubicBezTo>
                  <a:pt x="6928502" y="4722920"/>
                  <a:pt x="6928502" y="4722920"/>
                  <a:pt x="6564336" y="4558167"/>
                </a:cubicBezTo>
                <a:cubicBezTo>
                  <a:pt x="6723076" y="4673184"/>
                  <a:pt x="6813338" y="4726029"/>
                  <a:pt x="6775988" y="4741572"/>
                </a:cubicBezTo>
                <a:cubicBezTo>
                  <a:pt x="6660824" y="4654532"/>
                  <a:pt x="6542548" y="4611013"/>
                  <a:pt x="6439834" y="4564384"/>
                </a:cubicBezTo>
                <a:cubicBezTo>
                  <a:pt x="6439834" y="4564384"/>
                  <a:pt x="6439834" y="4564384"/>
                  <a:pt x="6676388" y="4738463"/>
                </a:cubicBezTo>
                <a:cubicBezTo>
                  <a:pt x="6156594" y="4455585"/>
                  <a:pt x="7498096" y="5307328"/>
                  <a:pt x="6937840" y="4993364"/>
                </a:cubicBezTo>
                <a:cubicBezTo>
                  <a:pt x="6937840" y="4993364"/>
                  <a:pt x="6937840" y="4993364"/>
                  <a:pt x="6551886" y="4788200"/>
                </a:cubicBezTo>
                <a:cubicBezTo>
                  <a:pt x="5512300" y="4539516"/>
                  <a:pt x="6635924" y="5571555"/>
                  <a:pt x="6259308" y="5726982"/>
                </a:cubicBezTo>
                <a:cubicBezTo>
                  <a:pt x="5848452" y="5580881"/>
                  <a:pt x="5054756" y="5182986"/>
                  <a:pt x="4917804" y="5195420"/>
                </a:cubicBezTo>
                <a:cubicBezTo>
                  <a:pt x="4917804" y="5195420"/>
                  <a:pt x="4917804" y="5195420"/>
                  <a:pt x="5425148" y="5484515"/>
                </a:cubicBezTo>
                <a:cubicBezTo>
                  <a:pt x="5546536" y="5615075"/>
                  <a:pt x="4995618" y="5254483"/>
                  <a:pt x="4790192" y="5204746"/>
                </a:cubicBezTo>
                <a:cubicBezTo>
                  <a:pt x="4790192" y="5204746"/>
                  <a:pt x="4790192" y="5204746"/>
                  <a:pt x="5412698" y="5534252"/>
                </a:cubicBezTo>
                <a:cubicBezTo>
                  <a:pt x="5412698" y="5534252"/>
                  <a:pt x="5412698" y="5534252"/>
                  <a:pt x="5471836" y="5689680"/>
                </a:cubicBezTo>
                <a:cubicBezTo>
                  <a:pt x="5471836" y="5689680"/>
                  <a:pt x="5471836" y="5689680"/>
                  <a:pt x="5353560" y="5602640"/>
                </a:cubicBezTo>
                <a:cubicBezTo>
                  <a:pt x="5356672" y="5649269"/>
                  <a:pt x="5468724" y="5761177"/>
                  <a:pt x="5792428" y="5944581"/>
                </a:cubicBezTo>
                <a:cubicBezTo>
                  <a:pt x="5506074" y="5789153"/>
                  <a:pt x="5288196" y="5655486"/>
                  <a:pt x="5253958" y="5689680"/>
                </a:cubicBezTo>
                <a:cubicBezTo>
                  <a:pt x="5994742" y="6112443"/>
                  <a:pt x="6013416" y="6205699"/>
                  <a:pt x="6088118" y="6323824"/>
                </a:cubicBezTo>
                <a:cubicBezTo>
                  <a:pt x="5997854" y="6270979"/>
                  <a:pt x="5910704" y="6249219"/>
                  <a:pt x="5801764" y="6168397"/>
                </a:cubicBezTo>
                <a:cubicBezTo>
                  <a:pt x="6673274" y="6830518"/>
                  <a:pt x="4961380" y="5950798"/>
                  <a:pt x="5885804" y="6637788"/>
                </a:cubicBezTo>
                <a:cubicBezTo>
                  <a:pt x="5885804" y="6637788"/>
                  <a:pt x="5885804" y="6637788"/>
                  <a:pt x="5795540" y="6581834"/>
                </a:cubicBezTo>
                <a:cubicBezTo>
                  <a:pt x="5241508" y="6395320"/>
                  <a:pt x="6000968" y="6877146"/>
                  <a:pt x="5518524" y="6743478"/>
                </a:cubicBezTo>
                <a:cubicBezTo>
                  <a:pt x="5518524" y="6743478"/>
                  <a:pt x="5518524" y="6743478"/>
                  <a:pt x="5898252" y="6954860"/>
                </a:cubicBezTo>
                <a:cubicBezTo>
                  <a:pt x="5755076" y="6939317"/>
                  <a:pt x="5739514" y="7004597"/>
                  <a:pt x="5957392" y="7203544"/>
                </a:cubicBezTo>
                <a:cubicBezTo>
                  <a:pt x="5957392" y="7203544"/>
                  <a:pt x="5957392" y="7203544"/>
                  <a:pt x="5832890" y="7122722"/>
                </a:cubicBezTo>
                <a:cubicBezTo>
                  <a:pt x="5832890" y="7122722"/>
                  <a:pt x="5832890" y="7122722"/>
                  <a:pt x="5851564" y="7184893"/>
                </a:cubicBezTo>
                <a:cubicBezTo>
                  <a:pt x="5851564" y="7184893"/>
                  <a:pt x="5851564" y="7184893"/>
                  <a:pt x="5761302" y="7128939"/>
                </a:cubicBezTo>
                <a:cubicBezTo>
                  <a:pt x="5870240" y="7212870"/>
                  <a:pt x="5708388" y="7169350"/>
                  <a:pt x="5926266" y="7334103"/>
                </a:cubicBezTo>
                <a:cubicBezTo>
                  <a:pt x="5926266" y="7334103"/>
                  <a:pt x="5926266" y="7334103"/>
                  <a:pt x="5836002" y="7281258"/>
                </a:cubicBezTo>
                <a:cubicBezTo>
                  <a:pt x="5655476" y="7206652"/>
                  <a:pt x="5748852" y="7290584"/>
                  <a:pt x="5895140" y="7402492"/>
                </a:cubicBezTo>
                <a:cubicBezTo>
                  <a:pt x="5895140" y="7402492"/>
                  <a:pt x="5895140" y="7402492"/>
                  <a:pt x="5571436" y="7250172"/>
                </a:cubicBezTo>
                <a:cubicBezTo>
                  <a:pt x="5994742" y="7573462"/>
                  <a:pt x="5403360" y="7355863"/>
                  <a:pt x="5923154" y="7719564"/>
                </a:cubicBezTo>
                <a:cubicBezTo>
                  <a:pt x="5944940" y="7874991"/>
                  <a:pt x="6038316" y="8086372"/>
                  <a:pt x="5920040" y="8167195"/>
                </a:cubicBezTo>
                <a:cubicBezTo>
                  <a:pt x="6072556" y="8561981"/>
                  <a:pt x="5334884" y="8220040"/>
                  <a:pt x="5023632" y="8341274"/>
                </a:cubicBezTo>
                <a:cubicBezTo>
                  <a:pt x="5117786" y="8627649"/>
                  <a:pt x="5616508" y="9053606"/>
                  <a:pt x="5618622" y="9214083"/>
                </a:cubicBezTo>
                <a:lnTo>
                  <a:pt x="5615948" y="9222028"/>
                </a:lnTo>
                <a:lnTo>
                  <a:pt x="5186348" y="9222028"/>
                </a:lnTo>
                <a:lnTo>
                  <a:pt x="5166784" y="9217953"/>
                </a:lnTo>
                <a:cubicBezTo>
                  <a:pt x="4876224" y="9151780"/>
                  <a:pt x="3569299" y="8765202"/>
                  <a:pt x="1254351" y="6814975"/>
                </a:cubicBezTo>
                <a:cubicBezTo>
                  <a:pt x="1649643" y="6976620"/>
                  <a:pt x="1718119" y="6954860"/>
                  <a:pt x="1478454" y="6721718"/>
                </a:cubicBezTo>
                <a:cubicBezTo>
                  <a:pt x="1478454" y="6721718"/>
                  <a:pt x="1478454" y="6721718"/>
                  <a:pt x="1104950" y="6528988"/>
                </a:cubicBezTo>
                <a:cubicBezTo>
                  <a:pt x="1378853" y="6625354"/>
                  <a:pt x="1114287" y="6423298"/>
                  <a:pt x="1058262" y="6339367"/>
                </a:cubicBezTo>
                <a:cubicBezTo>
                  <a:pt x="709658" y="6115551"/>
                  <a:pt x="600719" y="6121768"/>
                  <a:pt x="317478" y="5904170"/>
                </a:cubicBezTo>
                <a:cubicBezTo>
                  <a:pt x="326816" y="5798479"/>
                  <a:pt x="323703" y="5851324"/>
                  <a:pt x="333041" y="5745634"/>
                </a:cubicBezTo>
                <a:cubicBezTo>
                  <a:pt x="557144" y="5882410"/>
                  <a:pt x="491780" y="5901061"/>
                  <a:pt x="799921" y="6062706"/>
                </a:cubicBezTo>
                <a:cubicBezTo>
                  <a:pt x="658301" y="5972947"/>
                  <a:pt x="645365" y="5899847"/>
                  <a:pt x="381614" y="5741365"/>
                </a:cubicBezTo>
                <a:lnTo>
                  <a:pt x="341919" y="5718200"/>
                </a:lnTo>
                <a:lnTo>
                  <a:pt x="352422" y="5724080"/>
                </a:lnTo>
                <a:cubicBezTo>
                  <a:pt x="412605" y="5757776"/>
                  <a:pt x="508900" y="5811690"/>
                  <a:pt x="662970" y="5897953"/>
                </a:cubicBezTo>
                <a:cubicBezTo>
                  <a:pt x="541581" y="5807805"/>
                  <a:pt x="852834" y="5969449"/>
                  <a:pt x="852834" y="5944581"/>
                </a:cubicBezTo>
                <a:cubicBezTo>
                  <a:pt x="753233" y="5873084"/>
                  <a:pt x="588269" y="5770502"/>
                  <a:pt x="522906" y="5764285"/>
                </a:cubicBezTo>
                <a:cubicBezTo>
                  <a:pt x="385954" y="5627509"/>
                  <a:pt x="-18675" y="5316654"/>
                  <a:pt x="292578" y="5450321"/>
                </a:cubicBezTo>
                <a:cubicBezTo>
                  <a:pt x="295691" y="5400585"/>
                  <a:pt x="684758" y="5636834"/>
                  <a:pt x="996011" y="5798479"/>
                </a:cubicBezTo>
                <a:cubicBezTo>
                  <a:pt x="955548" y="5758068"/>
                  <a:pt x="768796" y="5627509"/>
                  <a:pt x="622507" y="5546686"/>
                </a:cubicBezTo>
                <a:cubicBezTo>
                  <a:pt x="622507" y="5546686"/>
                  <a:pt x="622507" y="5546686"/>
                  <a:pt x="669195" y="5565338"/>
                </a:cubicBezTo>
                <a:cubicBezTo>
                  <a:pt x="669195" y="5565338"/>
                  <a:pt x="669195" y="5565338"/>
                  <a:pt x="404629" y="5391259"/>
                </a:cubicBezTo>
                <a:cubicBezTo>
                  <a:pt x="967998" y="5602640"/>
                  <a:pt x="-112051" y="4887674"/>
                  <a:pt x="491780" y="5136358"/>
                </a:cubicBezTo>
                <a:cubicBezTo>
                  <a:pt x="550918" y="5195420"/>
                  <a:pt x="382842" y="5142575"/>
                  <a:pt x="731446" y="5341522"/>
                </a:cubicBezTo>
                <a:cubicBezTo>
                  <a:pt x="731446" y="5341522"/>
                  <a:pt x="731446" y="5341522"/>
                  <a:pt x="675420" y="5232723"/>
                </a:cubicBezTo>
                <a:cubicBezTo>
                  <a:pt x="756346" y="5310437"/>
                  <a:pt x="958660" y="5453430"/>
                  <a:pt x="1207663" y="5580881"/>
                </a:cubicBezTo>
                <a:cubicBezTo>
                  <a:pt x="1070712" y="5391259"/>
                  <a:pt x="628732" y="5043101"/>
                  <a:pt x="575819" y="4881456"/>
                </a:cubicBezTo>
                <a:cubicBezTo>
                  <a:pt x="1048924" y="5142575"/>
                  <a:pt x="706545" y="4865914"/>
                  <a:pt x="1080049" y="5033775"/>
                </a:cubicBezTo>
                <a:cubicBezTo>
                  <a:pt x="1002236" y="4993364"/>
                  <a:pt x="946210" y="4965387"/>
                  <a:pt x="905748" y="4940519"/>
                </a:cubicBezTo>
                <a:cubicBezTo>
                  <a:pt x="859059" y="4934302"/>
                  <a:pt x="771908" y="4890782"/>
                  <a:pt x="694095" y="4803743"/>
                </a:cubicBezTo>
                <a:cubicBezTo>
                  <a:pt x="722108" y="4819285"/>
                  <a:pt x="740783" y="4828611"/>
                  <a:pt x="762571" y="4841045"/>
                </a:cubicBezTo>
                <a:cubicBezTo>
                  <a:pt x="722108" y="4809960"/>
                  <a:pt x="672307" y="4775766"/>
                  <a:pt x="591381" y="4722920"/>
                </a:cubicBezTo>
                <a:cubicBezTo>
                  <a:pt x="787471" y="4800634"/>
                  <a:pt x="887072" y="4862805"/>
                  <a:pt x="921310" y="4900108"/>
                </a:cubicBezTo>
                <a:cubicBezTo>
                  <a:pt x="933760" y="4881456"/>
                  <a:pt x="896410" y="4828611"/>
                  <a:pt x="1160975" y="5002690"/>
                </a:cubicBezTo>
                <a:cubicBezTo>
                  <a:pt x="1357065" y="5043101"/>
                  <a:pt x="672307" y="4648315"/>
                  <a:pt x="544693" y="4533299"/>
                </a:cubicBezTo>
                <a:cubicBezTo>
                  <a:pt x="613169" y="4492888"/>
                  <a:pt x="610057" y="4461802"/>
                  <a:pt x="535356" y="4312592"/>
                </a:cubicBezTo>
                <a:cubicBezTo>
                  <a:pt x="535356" y="4312592"/>
                  <a:pt x="535356" y="4312592"/>
                  <a:pt x="610057" y="4365437"/>
                </a:cubicBezTo>
                <a:cubicBezTo>
                  <a:pt x="697208" y="4387197"/>
                  <a:pt x="1129850" y="4623447"/>
                  <a:pt x="1073824" y="4533299"/>
                </a:cubicBezTo>
                <a:cubicBezTo>
                  <a:pt x="-389067" y="3656687"/>
                  <a:pt x="1104950" y="4402740"/>
                  <a:pt x="684758" y="4039039"/>
                </a:cubicBezTo>
                <a:cubicBezTo>
                  <a:pt x="199202" y="3777921"/>
                  <a:pt x="432642" y="3843200"/>
                  <a:pt x="52913" y="3634927"/>
                </a:cubicBezTo>
                <a:cubicBezTo>
                  <a:pt x="554031" y="3796572"/>
                  <a:pt x="-277016" y="3227707"/>
                  <a:pt x="149402" y="3336506"/>
                </a:cubicBezTo>
                <a:cubicBezTo>
                  <a:pt x="149402" y="3336506"/>
                  <a:pt x="149402" y="3336506"/>
                  <a:pt x="186752" y="3364483"/>
                </a:cubicBezTo>
                <a:cubicBezTo>
                  <a:pt x="563369" y="3541671"/>
                  <a:pt x="326816" y="3314746"/>
                  <a:pt x="0" y="3097148"/>
                </a:cubicBezTo>
                <a:cubicBezTo>
                  <a:pt x="345491" y="3311638"/>
                  <a:pt x="485555" y="3327181"/>
                  <a:pt x="775021" y="3516802"/>
                </a:cubicBezTo>
                <a:cubicBezTo>
                  <a:pt x="305028" y="3221490"/>
                  <a:pt x="572706" y="3252575"/>
                  <a:pt x="572706" y="3252575"/>
                </a:cubicBezTo>
                <a:cubicBezTo>
                  <a:pt x="1020911" y="3485717"/>
                  <a:pt x="641182" y="3181079"/>
                  <a:pt x="999124" y="3330289"/>
                </a:cubicBezTo>
                <a:cubicBezTo>
                  <a:pt x="999124" y="3330289"/>
                  <a:pt x="999124" y="3330289"/>
                  <a:pt x="457542" y="2947937"/>
                </a:cubicBezTo>
                <a:cubicBezTo>
                  <a:pt x="457542" y="2947937"/>
                  <a:pt x="457542" y="2947937"/>
                  <a:pt x="834159" y="3190404"/>
                </a:cubicBezTo>
                <a:cubicBezTo>
                  <a:pt x="799921" y="3131342"/>
                  <a:pt x="1086274" y="3286770"/>
                  <a:pt x="1248126" y="3395569"/>
                </a:cubicBezTo>
                <a:cubicBezTo>
                  <a:pt x="1319715" y="3417329"/>
                  <a:pt x="1195213" y="3336506"/>
                  <a:pt x="1139188" y="3280552"/>
                </a:cubicBezTo>
                <a:cubicBezTo>
                  <a:pt x="1139188" y="3280552"/>
                  <a:pt x="1139188" y="3280552"/>
                  <a:pt x="1447328" y="3467065"/>
                </a:cubicBezTo>
                <a:cubicBezTo>
                  <a:pt x="1606068" y="3510585"/>
                  <a:pt x="849722" y="3059845"/>
                  <a:pt x="887072" y="3118908"/>
                </a:cubicBezTo>
                <a:cubicBezTo>
                  <a:pt x="52913" y="2550043"/>
                  <a:pt x="1347727" y="3324072"/>
                  <a:pt x="743896" y="2895092"/>
                </a:cubicBezTo>
                <a:cubicBezTo>
                  <a:pt x="743896" y="2895092"/>
                  <a:pt x="743896" y="2895092"/>
                  <a:pt x="299758" y="2624369"/>
                </a:cubicBezTo>
                <a:lnTo>
                  <a:pt x="295741" y="2621920"/>
                </a:lnTo>
                <a:lnTo>
                  <a:pt x="258691" y="2586902"/>
                </a:lnTo>
                <a:cubicBezTo>
                  <a:pt x="120416" y="2435257"/>
                  <a:pt x="1095028" y="3036143"/>
                  <a:pt x="712770" y="2727230"/>
                </a:cubicBezTo>
                <a:cubicBezTo>
                  <a:pt x="712770" y="2727230"/>
                  <a:pt x="712770" y="2727230"/>
                  <a:pt x="1036474" y="2910635"/>
                </a:cubicBezTo>
                <a:cubicBezTo>
                  <a:pt x="971111" y="2848464"/>
                  <a:pt x="996011" y="2836030"/>
                  <a:pt x="619394" y="2630865"/>
                </a:cubicBezTo>
                <a:cubicBezTo>
                  <a:pt x="756346" y="2618431"/>
                  <a:pt x="1145413" y="2730339"/>
                  <a:pt x="1400640" y="2804944"/>
                </a:cubicBezTo>
                <a:cubicBezTo>
                  <a:pt x="1319715" y="2702362"/>
                  <a:pt x="1101837" y="2658842"/>
                  <a:pt x="852834" y="2487872"/>
                </a:cubicBezTo>
                <a:cubicBezTo>
                  <a:pt x="410854" y="2177017"/>
                  <a:pt x="980448" y="2481655"/>
                  <a:pt x="1173426" y="2537609"/>
                </a:cubicBezTo>
                <a:cubicBezTo>
                  <a:pt x="1173426" y="2537609"/>
                  <a:pt x="1173426" y="2537609"/>
                  <a:pt x="837272" y="2360421"/>
                </a:cubicBezTo>
                <a:cubicBezTo>
                  <a:pt x="837272" y="2360421"/>
                  <a:pt x="837272" y="2360421"/>
                  <a:pt x="1039586" y="2366638"/>
                </a:cubicBezTo>
                <a:cubicBezTo>
                  <a:pt x="1039586" y="2366638"/>
                  <a:pt x="1039586" y="2366638"/>
                  <a:pt x="1301039" y="2531392"/>
                </a:cubicBezTo>
                <a:cubicBezTo>
                  <a:pt x="1301039" y="2531392"/>
                  <a:pt x="1301039" y="2531392"/>
                  <a:pt x="1375740" y="2500306"/>
                </a:cubicBezTo>
                <a:cubicBezTo>
                  <a:pt x="1164088" y="2360421"/>
                  <a:pt x="1179650" y="2400832"/>
                  <a:pt x="1064487" y="2357313"/>
                </a:cubicBezTo>
                <a:cubicBezTo>
                  <a:pt x="1192101" y="2351096"/>
                  <a:pt x="289466" y="1772905"/>
                  <a:pt x="924423" y="2052675"/>
                </a:cubicBezTo>
                <a:cubicBezTo>
                  <a:pt x="924423" y="2052675"/>
                  <a:pt x="924423" y="2052675"/>
                  <a:pt x="1235676" y="2242296"/>
                </a:cubicBezTo>
                <a:cubicBezTo>
                  <a:pt x="1145413" y="2189451"/>
                  <a:pt x="1132962" y="2192560"/>
                  <a:pt x="1173426" y="2223645"/>
                </a:cubicBezTo>
                <a:cubicBezTo>
                  <a:pt x="1643418" y="2568694"/>
                  <a:pt x="1509579" y="2354204"/>
                  <a:pt x="1743019" y="2484763"/>
                </a:cubicBezTo>
                <a:cubicBezTo>
                  <a:pt x="1350840" y="2239188"/>
                  <a:pt x="1699444" y="2366638"/>
                  <a:pt x="1176538" y="2040241"/>
                </a:cubicBezTo>
                <a:cubicBezTo>
                  <a:pt x="1964009" y="2347987"/>
                  <a:pt x="971111" y="1673431"/>
                  <a:pt x="1447328" y="1838185"/>
                </a:cubicBezTo>
                <a:cubicBezTo>
                  <a:pt x="1696331" y="2006047"/>
                  <a:pt x="1668318" y="1928333"/>
                  <a:pt x="1942222" y="2086869"/>
                </a:cubicBezTo>
                <a:cubicBezTo>
                  <a:pt x="2172549" y="2170800"/>
                  <a:pt x="1562492" y="1835076"/>
                  <a:pt x="1649643" y="1844402"/>
                </a:cubicBezTo>
                <a:cubicBezTo>
                  <a:pt x="1649643" y="1844402"/>
                  <a:pt x="1649643" y="1844402"/>
                  <a:pt x="2104073" y="2062001"/>
                </a:cubicBezTo>
                <a:cubicBezTo>
                  <a:pt x="1515804" y="1629912"/>
                  <a:pt x="2726580" y="2351096"/>
                  <a:pt x="2502478" y="2127280"/>
                </a:cubicBezTo>
                <a:cubicBezTo>
                  <a:pt x="1964009" y="1760471"/>
                  <a:pt x="3016046" y="2276490"/>
                  <a:pt x="2465127" y="1869270"/>
                </a:cubicBezTo>
                <a:cubicBezTo>
                  <a:pt x="2465127" y="1869270"/>
                  <a:pt x="2465127" y="1869270"/>
                  <a:pt x="2788831" y="2052675"/>
                </a:cubicBezTo>
                <a:cubicBezTo>
                  <a:pt x="2539828" y="1838185"/>
                  <a:pt x="3174785" y="2164583"/>
                  <a:pt x="3003596" y="2009155"/>
                </a:cubicBezTo>
                <a:cubicBezTo>
                  <a:pt x="3339750" y="2186342"/>
                  <a:pt x="3174785" y="2121063"/>
                  <a:pt x="3588752" y="2354204"/>
                </a:cubicBezTo>
                <a:cubicBezTo>
                  <a:pt x="3327300" y="2149040"/>
                  <a:pt x="4273510" y="2758316"/>
                  <a:pt x="3918681" y="2518957"/>
                </a:cubicBezTo>
                <a:cubicBezTo>
                  <a:pt x="4341986" y="2677493"/>
                  <a:pt x="2623867" y="1620586"/>
                  <a:pt x="2757706" y="1617478"/>
                </a:cubicBezTo>
                <a:cubicBezTo>
                  <a:pt x="2278375" y="1259994"/>
                  <a:pt x="3604315" y="1940767"/>
                  <a:pt x="2816844" y="1477593"/>
                </a:cubicBezTo>
                <a:cubicBezTo>
                  <a:pt x="2816844" y="1477593"/>
                  <a:pt x="2816844" y="1477593"/>
                  <a:pt x="2735918" y="1474484"/>
                </a:cubicBezTo>
                <a:cubicBezTo>
                  <a:pt x="2735918" y="1474484"/>
                  <a:pt x="2735918" y="1474484"/>
                  <a:pt x="2717243" y="1350142"/>
                </a:cubicBezTo>
                <a:cubicBezTo>
                  <a:pt x="2717243" y="1350142"/>
                  <a:pt x="2717243" y="1350142"/>
                  <a:pt x="3009821" y="1511787"/>
                </a:cubicBezTo>
                <a:cubicBezTo>
                  <a:pt x="2832406" y="1362576"/>
                  <a:pt x="3271274" y="1502461"/>
                  <a:pt x="2832406" y="1194715"/>
                </a:cubicBezTo>
                <a:cubicBezTo>
                  <a:pt x="2854194" y="1207149"/>
                  <a:pt x="2885320" y="1219583"/>
                  <a:pt x="2944458" y="1250668"/>
                </a:cubicBezTo>
                <a:cubicBezTo>
                  <a:pt x="2732805" y="1070373"/>
                  <a:pt x="3137435" y="1284863"/>
                  <a:pt x="2692342" y="977116"/>
                </a:cubicBezTo>
                <a:cubicBezTo>
                  <a:pt x="2692342" y="977116"/>
                  <a:pt x="2692342" y="977116"/>
                  <a:pt x="2810619" y="1051721"/>
                </a:cubicBezTo>
                <a:cubicBezTo>
                  <a:pt x="2156986" y="585438"/>
                  <a:pt x="2446452" y="545027"/>
                  <a:pt x="2393539" y="370949"/>
                </a:cubicBezTo>
                <a:cubicBezTo>
                  <a:pt x="2832406" y="613416"/>
                  <a:pt x="2701680" y="457988"/>
                  <a:pt x="2633204" y="355406"/>
                </a:cubicBezTo>
                <a:cubicBezTo>
                  <a:pt x="2636317" y="377165"/>
                  <a:pt x="2841744" y="495290"/>
                  <a:pt x="2900882" y="532593"/>
                </a:cubicBezTo>
                <a:cubicBezTo>
                  <a:pt x="2421552" y="175110"/>
                  <a:pt x="3514052" y="706672"/>
                  <a:pt x="2975583" y="311886"/>
                </a:cubicBezTo>
                <a:cubicBezTo>
                  <a:pt x="2975583" y="311886"/>
                  <a:pt x="2975583" y="311886"/>
                  <a:pt x="3037834" y="349189"/>
                </a:cubicBezTo>
                <a:cubicBezTo>
                  <a:pt x="3293062" y="461096"/>
                  <a:pt x="2667442" y="4139"/>
                  <a:pt x="3420676" y="417577"/>
                </a:cubicBezTo>
                <a:cubicBezTo>
                  <a:pt x="2995815" y="100505"/>
                  <a:pt x="2947376" y="3751"/>
                  <a:pt x="3099404" y="108"/>
                </a:cubicBezTo>
                <a:close/>
              </a:path>
            </a:pathLst>
          </a:custGeom>
          <a:solidFill>
            <a:schemeClr val="bg1">
              <a:lumMod val="90000"/>
            </a:schemeClr>
          </a:solidFill>
        </p:spPr>
        <p:txBody>
          <a:bodyPr wrap="square">
            <a:noAutofit/>
          </a:bodyPr>
          <a:lstStyle>
            <a:lvl1pPr>
              <a:defRPr sz="750"/>
            </a:lvl1pPr>
          </a:lstStyle>
          <a:p>
            <a:endParaRPr lang="en-US" dirty="0"/>
          </a:p>
        </p:txBody>
      </p:sp>
      <p:sp>
        <p:nvSpPr>
          <p:cNvPr id="24" name="Picture Placeholder 25"/>
          <p:cNvSpPr>
            <a:spLocks noGrp="1"/>
          </p:cNvSpPr>
          <p:nvPr>
            <p:ph type="pic" sz="quarter" idx="30"/>
          </p:nvPr>
        </p:nvSpPr>
        <p:spPr>
          <a:xfrm>
            <a:off x="9209366" y="3694029"/>
            <a:ext cx="377510" cy="377033"/>
          </a:xfrm>
          <a:custGeom>
            <a:avLst/>
            <a:gdLst>
              <a:gd name="connsiteX0" fmla="*/ 3043136 w 6086272"/>
              <a:gd name="connsiteY0" fmla="*/ 0 h 6080164"/>
              <a:gd name="connsiteX1" fmla="*/ 3919290 w 6086272"/>
              <a:gd name="connsiteY1" fmla="*/ 361892 h 6080164"/>
              <a:gd name="connsiteX2" fmla="*/ 5724016 w 6086272"/>
              <a:gd name="connsiteY2" fmla="*/ 2164808 h 6080164"/>
              <a:gd name="connsiteX3" fmla="*/ 5724016 w 6086272"/>
              <a:gd name="connsiteY3" fmla="*/ 3915356 h 6080164"/>
              <a:gd name="connsiteX4" fmla="*/ 3919290 w 6086272"/>
              <a:gd name="connsiteY4" fmla="*/ 5718272 h 6080164"/>
              <a:gd name="connsiteX5" fmla="*/ 2166982 w 6086272"/>
              <a:gd name="connsiteY5" fmla="*/ 5718272 h 6080164"/>
              <a:gd name="connsiteX6" fmla="*/ 362256 w 6086272"/>
              <a:gd name="connsiteY6" fmla="*/ 3915356 h 6080164"/>
              <a:gd name="connsiteX7" fmla="*/ 362256 w 6086272"/>
              <a:gd name="connsiteY7" fmla="*/ 2164808 h 6080164"/>
              <a:gd name="connsiteX8" fmla="*/ 2166982 w 6086272"/>
              <a:gd name="connsiteY8" fmla="*/ 361892 h 6080164"/>
              <a:gd name="connsiteX9" fmla="*/ 3043136 w 6086272"/>
              <a:gd name="connsiteY9" fmla="*/ 0 h 6080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086272" h="6080164">
                <a:moveTo>
                  <a:pt x="3043136" y="0"/>
                </a:moveTo>
                <a:cubicBezTo>
                  <a:pt x="3360461" y="0"/>
                  <a:pt x="3677786" y="120631"/>
                  <a:pt x="3919290" y="361892"/>
                </a:cubicBezTo>
                <a:cubicBezTo>
                  <a:pt x="5724016" y="2164808"/>
                  <a:pt x="5724016" y="2164808"/>
                  <a:pt x="5724016" y="2164808"/>
                </a:cubicBezTo>
                <a:cubicBezTo>
                  <a:pt x="6207024" y="2647331"/>
                  <a:pt x="6207024" y="3432833"/>
                  <a:pt x="5724016" y="3915356"/>
                </a:cubicBezTo>
                <a:cubicBezTo>
                  <a:pt x="3919290" y="5718272"/>
                  <a:pt x="3919290" y="5718272"/>
                  <a:pt x="3919290" y="5718272"/>
                </a:cubicBezTo>
                <a:cubicBezTo>
                  <a:pt x="3436282" y="6200795"/>
                  <a:pt x="2649990" y="6200795"/>
                  <a:pt x="2166982" y="5718272"/>
                </a:cubicBezTo>
                <a:cubicBezTo>
                  <a:pt x="362256" y="3915356"/>
                  <a:pt x="362256" y="3915356"/>
                  <a:pt x="362256" y="3915356"/>
                </a:cubicBezTo>
                <a:cubicBezTo>
                  <a:pt x="-120752" y="3432833"/>
                  <a:pt x="-120752" y="2647331"/>
                  <a:pt x="362256" y="2164808"/>
                </a:cubicBezTo>
                <a:cubicBezTo>
                  <a:pt x="2166982" y="361892"/>
                  <a:pt x="2166982" y="361892"/>
                  <a:pt x="2166982" y="361892"/>
                </a:cubicBezTo>
                <a:cubicBezTo>
                  <a:pt x="2408486" y="120631"/>
                  <a:pt x="2725811" y="0"/>
                  <a:pt x="3043136" y="0"/>
                </a:cubicBezTo>
                <a:close/>
              </a:path>
            </a:pathLst>
          </a:custGeom>
          <a:solidFill>
            <a:schemeClr val="bg1">
              <a:lumMod val="90000"/>
            </a:schemeClr>
          </a:solidFill>
        </p:spPr>
        <p:txBody>
          <a:bodyPr wrap="square">
            <a:noAutofit/>
          </a:bodyPr>
          <a:lstStyle>
            <a:lvl1pPr>
              <a:defRPr sz="750"/>
            </a:lvl1pPr>
          </a:lstStyle>
          <a:p>
            <a:endParaRPr lang="en-US"/>
          </a:p>
        </p:txBody>
      </p:sp>
    </p:spTree>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15:guide id="1" orient="horz" pos="4320">
          <p15:clr>
            <a:srgbClr val="FBAE40"/>
          </p15:clr>
        </p15:guide>
        <p15:guide id="2" pos="7678">
          <p15:clr>
            <a:srgbClr val="FBAE40"/>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2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10" tIns="45705" rIns="91410" bIns="45705">
            <a:noAutofit/>
          </a:bodyPr>
          <a:lstStyle>
            <a:lvl1pPr marL="280893" indent="-223763">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33" indent="-21582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467" indent="-171395">
              <a:buClr>
                <a:schemeClr val="tx1"/>
              </a:buClr>
              <a:buSzPct val="80000"/>
              <a:buFont typeface="Arial"/>
              <a:buChar char="•"/>
              <a:defRPr sz="1600" b="0" i="0">
                <a:solidFill>
                  <a:srgbClr val="676767"/>
                </a:solidFill>
                <a:latin typeface="+mn-lt"/>
                <a:cs typeface="CiscoSans ExtraLight"/>
              </a:defRPr>
            </a:lvl3pPr>
            <a:lvl4pPr marL="910922" indent="-171395">
              <a:buClr>
                <a:schemeClr val="tx1"/>
              </a:buClr>
              <a:buSzPct val="80000"/>
              <a:buFont typeface="Arial"/>
              <a:buChar char="•"/>
              <a:defRPr sz="1400" b="0" i="0">
                <a:solidFill>
                  <a:srgbClr val="676767"/>
                </a:solidFill>
                <a:latin typeface="+mn-lt"/>
                <a:cs typeface="CiscoSans ExtraLight"/>
              </a:defRPr>
            </a:lvl4pPr>
            <a:lvl5pPr marL="1082315" indent="-168220">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21"/>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14" tIns="45707" rIns="91414" bIns="45707"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userDrawn="1">
  <p:cSld name="Bullet Slide">
    <p:spTree>
      <p:nvGrpSpPr>
        <p:cNvPr id="1" name=""/>
        <p:cNvGrpSpPr/>
        <p:nvPr/>
      </p:nvGrpSpPr>
      <p:grpSpPr>
        <a:xfrm>
          <a:off x="0" y="0"/>
          <a:ext cx="0" cy="0"/>
          <a:chOff x="0" y="0"/>
          <a:chExt cx="0" cy="0"/>
        </a:xfrm>
      </p:grpSpPr>
      <p:sp>
        <p:nvSpPr>
          <p:cNvPr id="11" name="Title 1"/>
          <p:cNvSpPr>
            <a:spLocks noGrp="1"/>
          </p:cNvSpPr>
          <p:nvPr>
            <p:ph type="title"/>
          </p:nvPr>
        </p:nvSpPr>
        <p:spPr>
          <a:xfrm>
            <a:off x="219518" y="329565"/>
            <a:ext cx="8711929" cy="628650"/>
          </a:xfrm>
        </p:spPr>
        <p:txBody>
          <a:bodyPr/>
          <a:lstStyle>
            <a:lvl1pPr algn="l" defTabSz="914240" rtl="0" eaLnBrk="1" latinLnBrk="0" hangingPunct="1">
              <a:lnSpc>
                <a:spcPct val="80000"/>
              </a:lnSpc>
              <a:spcBef>
                <a:spcPct val="0"/>
              </a:spcBef>
              <a:buNone/>
              <a:defRPr lang="en-US" sz="3600" b="0" kern="1200" spc="-100" baseline="0" dirty="0">
                <a:solidFill>
                  <a:schemeClr val="tx2"/>
                </a:solidFill>
                <a:latin typeface="+mj-lt"/>
                <a:ea typeface="+mj-ea"/>
                <a:cs typeface="+mj-cs"/>
              </a:defRPr>
            </a:lvl1pPr>
          </a:lstStyle>
          <a:p>
            <a:r>
              <a:rPr lang="en-US" dirty="0"/>
              <a:t>Click to edit Master title style</a:t>
            </a:r>
          </a:p>
        </p:txBody>
      </p:sp>
      <p:sp>
        <p:nvSpPr>
          <p:cNvPr id="12" name="Text Placeholder 7"/>
          <p:cNvSpPr>
            <a:spLocks noGrp="1"/>
          </p:cNvSpPr>
          <p:nvPr>
            <p:ph type="body" sz="quarter" idx="11" hasCustomPrompt="1"/>
          </p:nvPr>
        </p:nvSpPr>
        <p:spPr>
          <a:xfrm>
            <a:off x="219518" y="912495"/>
            <a:ext cx="8711929" cy="342900"/>
          </a:xfrm>
          <a:prstGeom prst="rect">
            <a:avLst/>
          </a:prstGeom>
        </p:spPr>
        <p:txBody>
          <a:bodyPr>
            <a:noAutofit/>
          </a:bodyPr>
          <a:lstStyle>
            <a:lvl1pPr marL="0" indent="0">
              <a:buNone/>
              <a:defRPr lang="en-US" sz="2775" kern="1200" spc="-50" baseline="0" dirty="0">
                <a:solidFill>
                  <a:schemeClr val="bg1">
                    <a:lumMod val="20000"/>
                    <a:lumOff val="80000"/>
                  </a:schemeClr>
                </a:solidFill>
                <a:latin typeface="+mj-lt"/>
                <a:ea typeface="+mn-ea"/>
                <a:cs typeface="+mn-cs"/>
              </a:defRPr>
            </a:lvl1pPr>
          </a:lstStyle>
          <a:p>
            <a:pPr marL="0" lvl="0" indent="0" algn="l" defTabSz="914240" rtl="0" eaLnBrk="1" latinLnBrk="0" hangingPunct="1">
              <a:lnSpc>
                <a:spcPct val="95000"/>
              </a:lnSpc>
              <a:spcBef>
                <a:spcPts val="1440"/>
              </a:spcBef>
              <a:buClr>
                <a:schemeClr val="accent1">
                  <a:lumMod val="40000"/>
                  <a:lumOff val="60000"/>
                </a:schemeClr>
              </a:buClr>
              <a:buSzPct val="90000"/>
              <a:buFont typeface="Arial" pitchFamily="34" charset="0"/>
              <a:buNone/>
              <a:tabLst/>
            </a:pPr>
            <a:r>
              <a:rPr lang="en-US" dirty="0"/>
              <a:t>Slide Subtitle</a:t>
            </a:r>
          </a:p>
        </p:txBody>
      </p:sp>
      <p:sp>
        <p:nvSpPr>
          <p:cNvPr id="7" name="Text Placeholder 6"/>
          <p:cNvSpPr>
            <a:spLocks noGrp="1"/>
          </p:cNvSpPr>
          <p:nvPr>
            <p:ph type="body" sz="quarter" idx="13" hasCustomPrompt="1"/>
          </p:nvPr>
        </p:nvSpPr>
        <p:spPr>
          <a:xfrm>
            <a:off x="219513" y="1257300"/>
            <a:ext cx="8697018" cy="3543300"/>
          </a:xfrm>
        </p:spPr>
        <p:txBody>
          <a:bodyPr/>
          <a:lstStyle>
            <a:lvl1pPr marL="228560" indent="-228560" algn="l" defTabSz="914240" rtl="0" eaLnBrk="1" latinLnBrk="0" hangingPunct="1">
              <a:lnSpc>
                <a:spcPct val="95000"/>
              </a:lnSpc>
              <a:spcBef>
                <a:spcPts val="1440"/>
              </a:spcBef>
              <a:buClr>
                <a:schemeClr val="accent3">
                  <a:lumMod val="40000"/>
                  <a:lumOff val="60000"/>
                </a:schemeClr>
              </a:buClr>
              <a:buSzPct val="90000"/>
              <a:buFont typeface="Arial" pitchFamily="34" charset="0"/>
              <a:buChar char="•"/>
              <a:tabLst/>
              <a:defRPr/>
            </a:lvl1pPr>
            <a:lvl2pPr marL="406329" indent="0" algn="l" defTabSz="914240" rtl="0" eaLnBrk="1" latinLnBrk="0" hangingPunct="1">
              <a:lnSpc>
                <a:spcPct val="95000"/>
              </a:lnSpc>
              <a:spcBef>
                <a:spcPts val="600"/>
              </a:spcBef>
              <a:buClr>
                <a:schemeClr val="tx2"/>
              </a:buClr>
              <a:buSzPct val="90000"/>
              <a:buFontTx/>
              <a:buNone/>
              <a:tabLst/>
              <a:defRPr/>
            </a:lvl2pPr>
            <a:lvl3pPr marL="571400" indent="-1588" algn="l" defTabSz="914240" rtl="0" eaLnBrk="1" latinLnBrk="0" hangingPunct="1">
              <a:lnSpc>
                <a:spcPct val="95000"/>
              </a:lnSpc>
              <a:spcBef>
                <a:spcPts val="840"/>
              </a:spcBef>
              <a:buClr>
                <a:schemeClr val="tx2"/>
              </a:buClr>
              <a:buSzPct val="90000"/>
              <a:buFont typeface="Arial" pitchFamily="34" charset="0"/>
              <a:buNone/>
              <a:tabLst/>
              <a:defRPr/>
            </a:lvl3pPr>
          </a:lstStyle>
          <a:p>
            <a:pPr marL="228560" lvl="0" indent="-228560" algn="l" defTabSz="914240" rtl="0" eaLnBrk="1" latinLnBrk="0" hangingPunct="1">
              <a:lnSpc>
                <a:spcPct val="95000"/>
              </a:lnSpc>
              <a:spcBef>
                <a:spcPts val="1440"/>
              </a:spcBef>
              <a:buClr>
                <a:schemeClr val="accent3">
                  <a:lumMod val="40000"/>
                  <a:lumOff val="60000"/>
                </a:schemeClr>
              </a:buClr>
              <a:buSzPct val="90000"/>
              <a:buFont typeface="Arial" pitchFamily="34" charset="0"/>
              <a:buChar char="•"/>
              <a:tabLst/>
            </a:pPr>
            <a:r>
              <a:rPr lang="en-US" dirty="0"/>
              <a:t>Body Text</a:t>
            </a:r>
          </a:p>
          <a:p>
            <a:pPr marL="406329" lvl="1" indent="0" algn="l" defTabSz="914240" rtl="0" eaLnBrk="1" latinLnBrk="0" hangingPunct="1">
              <a:lnSpc>
                <a:spcPct val="95000"/>
              </a:lnSpc>
              <a:spcBef>
                <a:spcPts val="600"/>
              </a:spcBef>
              <a:buClr>
                <a:schemeClr val="tx2"/>
              </a:buClr>
              <a:buSzPct val="90000"/>
              <a:buFontTx/>
              <a:buNone/>
              <a:tabLst/>
            </a:pPr>
            <a:r>
              <a:rPr lang="en-US" dirty="0"/>
              <a:t>Second level</a:t>
            </a:r>
          </a:p>
          <a:p>
            <a:pPr marL="571400" lvl="2" indent="-1588" algn="l" defTabSz="914240" rtl="0" eaLnBrk="1" latinLnBrk="0" hangingPunct="1">
              <a:lnSpc>
                <a:spcPct val="95000"/>
              </a:lnSpc>
              <a:spcBef>
                <a:spcPts val="840"/>
              </a:spcBef>
              <a:buClr>
                <a:schemeClr val="tx2"/>
              </a:buClr>
              <a:buSzPct val="90000"/>
              <a:buFont typeface="Arial" pitchFamily="34" charset="0"/>
              <a:buNone/>
              <a:tabLst/>
            </a:pPr>
            <a:r>
              <a:rPr lang="en-US" dirty="0"/>
              <a:t>Third level</a:t>
            </a:r>
          </a:p>
          <a:p>
            <a:pPr lvl="3"/>
            <a:r>
              <a:rPr lang="en-US" dirty="0"/>
              <a:t>Fourth level</a:t>
            </a:r>
          </a:p>
          <a:p>
            <a:pPr lvl="4"/>
            <a:r>
              <a:rPr lang="en-US" dirty="0"/>
              <a:t>Fifth level</a:t>
            </a:r>
          </a:p>
        </p:txBody>
      </p:sp>
    </p:spTree>
    <p:extLst/>
  </p:cSld>
  <p:clrMapOvr>
    <a:masterClrMapping/>
  </p:clrMapOvr>
  <p:transition>
    <p:wipe dir="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3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2" y="1347788"/>
            <a:ext cx="8277344"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Blue Ramp - Segue">
    <p:spTree>
      <p:nvGrpSpPr>
        <p:cNvPr id="1" name=""/>
        <p:cNvGrpSpPr/>
        <p:nvPr/>
      </p:nvGrpSpPr>
      <p:grpSpPr>
        <a:xfrm>
          <a:off x="0" y="0"/>
          <a:ext cx="0" cy="0"/>
          <a:chOff x="0" y="0"/>
          <a:chExt cx="0" cy="0"/>
        </a:xfrm>
      </p:grpSpPr>
      <p:sp>
        <p:nvSpPr>
          <p:cNvPr id="5" name="Rectangle 4"/>
          <p:cNvSpPr/>
          <p:nvPr userDrawn="1"/>
        </p:nvSpPr>
        <p:spPr>
          <a:xfrm>
            <a:off x="0" y="0"/>
            <a:ext cx="9144000" cy="73152"/>
          </a:xfrm>
          <a:prstGeom prst="rect">
            <a:avLst/>
          </a:prstGeom>
          <a:gradFill>
            <a:gsLst>
              <a:gs pos="10000">
                <a:srgbClr val="04A0C3"/>
              </a:gs>
              <a:gs pos="90000">
                <a:srgbClr val="576DEB"/>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 name="Title 1"/>
          <p:cNvSpPr>
            <a:spLocks noGrp="1"/>
          </p:cNvSpPr>
          <p:nvPr>
            <p:ph type="ctrTitle" hasCustomPrompt="1"/>
          </p:nvPr>
        </p:nvSpPr>
        <p:spPr>
          <a:xfrm>
            <a:off x="425454" y="1238865"/>
            <a:ext cx="8291507" cy="2039470"/>
          </a:xfrm>
          <a:prstGeom prst="rect">
            <a:avLst/>
          </a:prstGeom>
        </p:spPr>
        <p:txBody>
          <a:bodyPr anchor="b">
            <a:noAutofit/>
          </a:bodyPr>
          <a:lstStyle>
            <a:lvl1pPr marL="0" indent="0" algn="l">
              <a:lnSpc>
                <a:spcPct val="90000"/>
              </a:lnSpc>
              <a:buFont typeface="Arial" panose="020B0604020202020204" pitchFamily="34" charset="0"/>
              <a:buNone/>
              <a:defRPr sz="4600" b="0" i="0" spc="-100" baseline="0">
                <a:solidFill>
                  <a:schemeClr val="tx1"/>
                </a:solidFill>
                <a:latin typeface="+mj-lt"/>
                <a:cs typeface="CiscoSans Thin"/>
              </a:defRPr>
            </a:lvl1pPr>
          </a:lstStyle>
          <a:p>
            <a:r>
              <a:rPr lang="en-US" dirty="0"/>
              <a:t>Click to edit segue title</a:t>
            </a:r>
          </a:p>
        </p:txBody>
      </p:sp>
    </p:spTree>
    <p:extLst/>
  </p:cSld>
  <p:clrMapOvr>
    <a:masterClrMapping/>
  </p:clrMapOvr>
  <p:transition spd="med">
    <p:fade/>
  </p:transition>
  <p:extLst mod="1">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799">
                <a:solidFill>
                  <a:schemeClr val="tx2"/>
                </a:solidFill>
              </a:defRPr>
            </a:lvl1pPr>
          </a:lstStyle>
          <a:p>
            <a:pPr lvl="0"/>
            <a:r>
              <a:rPr lang="en-US"/>
              <a:t>Click to edit Master title style</a:t>
            </a:r>
            <a:endParaRPr lang="en-GB" dirty="0"/>
          </a:p>
        </p:txBody>
      </p:sp>
    </p:spTree>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4605" y="1347788"/>
            <a:ext cx="8328650"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Tree>
    <p:extLst/>
  </p:cSld>
  <p:clrMapOvr>
    <a:masterClrMapping/>
  </p:clrMapOvr>
  <p:transition spd="med">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4605" y="1347788"/>
            <a:ext cx="8328650"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Tree>
    <p:extLst/>
  </p:cSld>
  <p:clrMapOvr>
    <a:masterClrMapping/>
  </p:clrMapOvr>
  <p:transition spd="med">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7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4605" y="1347788"/>
            <a:ext cx="8328650"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Tree>
    <p:extLst/>
  </p:cSld>
  <p:clrMapOvr>
    <a:masterClrMapping/>
  </p:clrMapOvr>
  <p:transition spd="med">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achback Activity">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461963" y="874270"/>
            <a:ext cx="3809518" cy="770461"/>
          </a:xfrm>
          <a:prstGeom prst="rect">
            <a:avLst/>
          </a:prstGeom>
        </p:spPr>
        <p:txBody>
          <a:bodyPr lIns="91420" tIns="45710" rIns="91420" bIns="45710" anchor="b" anchorCtr="0">
            <a:noAutofit/>
          </a:bodyPr>
          <a:lstStyle>
            <a:lvl1pPr marL="0" marR="0" indent="0" algn="ctr" defTabSz="685720" rtl="0" eaLnBrk="1" fontAlgn="auto" latinLnBrk="0" hangingPunct="1">
              <a:lnSpc>
                <a:spcPct val="80000"/>
              </a:lnSpc>
              <a:spcBef>
                <a:spcPct val="0"/>
              </a:spcBef>
              <a:spcAft>
                <a:spcPts val="0"/>
              </a:spcAft>
              <a:buClrTx/>
              <a:buSzTx/>
              <a:buFontTx/>
              <a:buNone/>
              <a:tabLst/>
              <a:defRPr kumimoji="0" lang="en-US" sz="2400" b="0" i="0" u="none" strike="noStrike" kern="1200" cap="none" spc="-75" normalizeH="0" baseline="0" noProof="0" dirty="0" smtClean="0">
                <a:ln>
                  <a:noFill/>
                </a:ln>
                <a:solidFill>
                  <a:schemeClr val="tx2"/>
                </a:solidFill>
                <a:effectLst/>
                <a:uLnTx/>
                <a:uFillTx/>
                <a:latin typeface="Arial" panose="020B0604020202020204" pitchFamily="34" charset="0"/>
                <a:ea typeface="+mj-ea"/>
                <a:cs typeface="Arial" panose="020B0604020202020204" pitchFamily="34" charset="0"/>
              </a:defRPr>
            </a:lvl1pPr>
          </a:lstStyle>
          <a:p>
            <a:pPr lvl="0"/>
            <a:r>
              <a:rPr lang="en-US" dirty="0"/>
              <a:t>Click to edit Master text styles</a:t>
            </a:r>
          </a:p>
        </p:txBody>
      </p:sp>
      <p:sp>
        <p:nvSpPr>
          <p:cNvPr id="10" name="Text Placeholder 17"/>
          <p:cNvSpPr>
            <a:spLocks noGrp="1"/>
          </p:cNvSpPr>
          <p:nvPr>
            <p:ph type="body" sz="quarter" idx="22"/>
          </p:nvPr>
        </p:nvSpPr>
        <p:spPr>
          <a:xfrm>
            <a:off x="4863470" y="874269"/>
            <a:ext cx="3813048" cy="770461"/>
          </a:xfrm>
          <a:prstGeom prst="rect">
            <a:avLst/>
          </a:prstGeom>
        </p:spPr>
        <p:txBody>
          <a:bodyPr lIns="91420" tIns="45710" rIns="91420" bIns="45710" anchor="b" anchorCtr="0">
            <a:noAutofit/>
          </a:bodyPr>
          <a:lstStyle>
            <a:lvl1pPr marL="0" marR="0" indent="0" algn="ctr" defTabSz="685720" rtl="0" eaLnBrk="1" fontAlgn="auto" latinLnBrk="0" hangingPunct="1">
              <a:lnSpc>
                <a:spcPct val="80000"/>
              </a:lnSpc>
              <a:spcBef>
                <a:spcPct val="0"/>
              </a:spcBef>
              <a:spcAft>
                <a:spcPts val="0"/>
              </a:spcAft>
              <a:buClrTx/>
              <a:buSzTx/>
              <a:buFontTx/>
              <a:buNone/>
              <a:tabLst/>
              <a:defRPr kumimoji="0" lang="en-US" sz="2400" b="0" i="0" u="none" strike="noStrike" kern="1200" cap="none" spc="-75" normalizeH="0" baseline="0" noProof="0" dirty="0" smtClean="0">
                <a:ln>
                  <a:noFill/>
                </a:ln>
                <a:solidFill>
                  <a:schemeClr val="tx2"/>
                </a:solidFill>
                <a:effectLst/>
                <a:uLnTx/>
                <a:uFillTx/>
                <a:latin typeface="Arial" panose="020B0604020202020204" pitchFamily="34" charset="0"/>
                <a:ea typeface="+mj-ea"/>
                <a:cs typeface="Arial" panose="020B0604020202020204" pitchFamily="34" charset="0"/>
              </a:defRPr>
            </a:lvl1pPr>
          </a:lstStyle>
          <a:p>
            <a:pPr lvl="0"/>
            <a:r>
              <a:rPr lang="en-US" dirty="0"/>
              <a:t>Click to edit Master text styles</a:t>
            </a:r>
          </a:p>
        </p:txBody>
      </p:sp>
      <p:sp>
        <p:nvSpPr>
          <p:cNvPr id="13" name="Text Placeholder 3"/>
          <p:cNvSpPr>
            <a:spLocks noGrp="1"/>
          </p:cNvSpPr>
          <p:nvPr>
            <p:ph type="body" sz="quarter" idx="11" hasCustomPrompt="1"/>
          </p:nvPr>
        </p:nvSpPr>
        <p:spPr>
          <a:xfrm>
            <a:off x="461963" y="1786854"/>
            <a:ext cx="3809520" cy="2724912"/>
          </a:xfrm>
          <a:prstGeom prst="rect">
            <a:avLst/>
          </a:prstGeom>
        </p:spPr>
        <p:txBody>
          <a:bodyPr lIns="91420" tIns="45710" rIns="91420" bIns="45710">
            <a:noAutofit/>
          </a:bodyPr>
          <a:lstStyle>
            <a:lvl1pPr marL="61901" indent="0">
              <a:lnSpc>
                <a:spcPct val="95000"/>
              </a:lnSpc>
              <a:spcBef>
                <a:spcPts val="1110"/>
              </a:spcBef>
              <a:buClr>
                <a:schemeClr val="tx2"/>
              </a:buClr>
              <a:buSzPct val="80000"/>
              <a:buFont typeface="Arial"/>
              <a:buNone/>
              <a:defRPr sz="1800" b="0" i="0" baseline="0">
                <a:solidFill>
                  <a:schemeClr val="tx2"/>
                </a:solidFill>
                <a:latin typeface="Arial" panose="020B0604020202020204" pitchFamily="34" charset="0"/>
                <a:cs typeface="Arial" panose="020B0604020202020204" pitchFamily="34" charset="0"/>
              </a:defRPr>
            </a:lvl1pPr>
            <a:lvl2pPr marL="142875" indent="0">
              <a:lnSpc>
                <a:spcPct val="95000"/>
              </a:lnSpc>
              <a:spcBef>
                <a:spcPts val="450"/>
              </a:spcBef>
              <a:buClr>
                <a:schemeClr val="tx2"/>
              </a:buClr>
              <a:buSzPct val="80000"/>
              <a:buNone/>
              <a:defRPr sz="1600" b="0" i="0">
                <a:solidFill>
                  <a:schemeClr val="tx2"/>
                </a:solidFill>
                <a:latin typeface="Arial" panose="020B0604020202020204" pitchFamily="34" charset="0"/>
                <a:cs typeface="Arial" panose="020B0604020202020204" pitchFamily="34" charset="0"/>
              </a:defRPr>
            </a:lvl2pPr>
            <a:lvl3pPr marL="260495" indent="0">
              <a:buClr>
                <a:schemeClr val="tx2"/>
              </a:buClr>
              <a:buSzPct val="80000"/>
              <a:buFont typeface="Arial"/>
              <a:buNone/>
              <a:defRPr sz="1400" b="0" i="0">
                <a:solidFill>
                  <a:schemeClr val="tx2"/>
                </a:solidFill>
                <a:latin typeface="Arial" panose="020B0604020202020204" pitchFamily="34" charset="0"/>
                <a:cs typeface="Arial" panose="020B0604020202020204" pitchFamily="34" charset="0"/>
              </a:defRPr>
            </a:lvl3pPr>
            <a:lvl4pPr marL="333375" indent="0">
              <a:buClr>
                <a:schemeClr val="tx2"/>
              </a:buClr>
              <a:buSzPct val="80000"/>
              <a:buNone/>
              <a:defRPr b="0" i="0">
                <a:solidFill>
                  <a:schemeClr val="tx2"/>
                </a:solidFill>
                <a:latin typeface="Arial" panose="020B0604020202020204" pitchFamily="34" charset="0"/>
                <a:cs typeface="Arial" panose="020B0604020202020204" pitchFamily="34" charset="0"/>
              </a:defRPr>
            </a:lvl4pPr>
            <a:lvl5pPr marL="404812" indent="0">
              <a:buClr>
                <a:schemeClr val="tx2"/>
              </a:buClr>
              <a:buSzPct val="80000"/>
              <a:buNone/>
              <a:defRPr b="0" i="0">
                <a:solidFill>
                  <a:schemeClr val="tx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
        <p:nvSpPr>
          <p:cNvPr id="16" name="Text Placeholder 3"/>
          <p:cNvSpPr>
            <a:spLocks noGrp="1"/>
          </p:cNvSpPr>
          <p:nvPr>
            <p:ph type="body" sz="quarter" idx="26" hasCustomPrompt="1"/>
          </p:nvPr>
        </p:nvSpPr>
        <p:spPr>
          <a:xfrm>
            <a:off x="4856008" y="1786853"/>
            <a:ext cx="3813048" cy="2728371"/>
          </a:xfrm>
          <a:prstGeom prst="rect">
            <a:avLst/>
          </a:prstGeom>
        </p:spPr>
        <p:txBody>
          <a:bodyPr lIns="91420" tIns="45710" rIns="91420" bIns="45710">
            <a:noAutofit/>
          </a:bodyPr>
          <a:lstStyle>
            <a:lvl1pPr marL="61901" indent="0">
              <a:lnSpc>
                <a:spcPct val="95000"/>
              </a:lnSpc>
              <a:spcBef>
                <a:spcPts val="1110"/>
              </a:spcBef>
              <a:buClr>
                <a:schemeClr val="tx2"/>
              </a:buClr>
              <a:buSzPct val="80000"/>
              <a:buFont typeface="Arial"/>
              <a:buNone/>
              <a:defRPr sz="1800" b="0" i="0" baseline="0">
                <a:solidFill>
                  <a:schemeClr val="tx2"/>
                </a:solidFill>
                <a:latin typeface="Arial" panose="020B0604020202020204" pitchFamily="34" charset="0"/>
                <a:cs typeface="Arial" panose="020B0604020202020204" pitchFamily="34" charset="0"/>
              </a:defRPr>
            </a:lvl1pPr>
            <a:lvl2pPr marL="142875" indent="0">
              <a:lnSpc>
                <a:spcPct val="95000"/>
              </a:lnSpc>
              <a:spcBef>
                <a:spcPts val="450"/>
              </a:spcBef>
              <a:buClr>
                <a:schemeClr val="tx2"/>
              </a:buClr>
              <a:buSzPct val="80000"/>
              <a:buNone/>
              <a:defRPr sz="1600" b="0" i="0">
                <a:solidFill>
                  <a:schemeClr val="tx2"/>
                </a:solidFill>
                <a:latin typeface="Arial" panose="020B0604020202020204" pitchFamily="34" charset="0"/>
                <a:cs typeface="Arial" panose="020B0604020202020204" pitchFamily="34" charset="0"/>
              </a:defRPr>
            </a:lvl2pPr>
            <a:lvl3pPr marL="260495" indent="0">
              <a:buClr>
                <a:schemeClr val="tx2"/>
              </a:buClr>
              <a:buSzPct val="80000"/>
              <a:buFont typeface="Arial"/>
              <a:buNone/>
              <a:defRPr sz="1400" b="0" i="0">
                <a:solidFill>
                  <a:schemeClr val="tx2"/>
                </a:solidFill>
                <a:latin typeface="Arial" panose="020B0604020202020204" pitchFamily="34" charset="0"/>
                <a:cs typeface="Arial" panose="020B0604020202020204" pitchFamily="34" charset="0"/>
              </a:defRPr>
            </a:lvl3pPr>
            <a:lvl4pPr marL="333375" indent="0">
              <a:buClr>
                <a:schemeClr val="tx2"/>
              </a:buClr>
              <a:buSzPct val="80000"/>
              <a:buNone/>
              <a:defRPr b="0" i="0">
                <a:solidFill>
                  <a:schemeClr val="tx2"/>
                </a:solidFill>
                <a:latin typeface="Arial" panose="020B0604020202020204" pitchFamily="34" charset="0"/>
                <a:cs typeface="Arial" panose="020B0604020202020204" pitchFamily="34" charset="0"/>
              </a:defRPr>
            </a:lvl4pPr>
            <a:lvl5pPr marL="404812" indent="0">
              <a:buClr>
                <a:schemeClr val="tx2"/>
              </a:buClr>
              <a:buSzPct val="80000"/>
              <a:buNone/>
              <a:defRPr b="0" i="0">
                <a:solidFill>
                  <a:schemeClr val="tx2"/>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56834623"/>
      </p:ext>
    </p:extLst>
  </p:cSld>
  <p:clrMapOvr>
    <a:masterClrMapping/>
  </p:clrMapOvr>
  <p:transition spd="med">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8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54605" y="1347788"/>
            <a:ext cx="8328650" cy="3168210"/>
          </a:xfrm>
          <a:prstGeom prst="rect">
            <a:avLst/>
          </a:prstGeom>
        </p:spPr>
        <p:txBody>
          <a:bodyPr lIns="91420" tIns="45710" rIns="91420" bIns="45710">
            <a:noAutofit/>
          </a:bodyPr>
          <a:lstStyle>
            <a:lvl1pPr marL="280858" indent="-223736">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768" indent="-215801">
              <a:lnSpc>
                <a:spcPct val="95000"/>
              </a:lnSpc>
              <a:spcBef>
                <a:spcPts val="450"/>
              </a:spcBef>
              <a:buClr>
                <a:schemeClr val="tx1"/>
              </a:buClr>
              <a:buSzPct val="80000"/>
              <a:buFont typeface="Arial"/>
              <a:buChar char="•"/>
              <a:defRPr sz="1799" b="0" i="0">
                <a:solidFill>
                  <a:srgbClr val="676767"/>
                </a:solidFill>
                <a:latin typeface="+mn-lt"/>
                <a:cs typeface="CiscoSans ExtraLight"/>
              </a:defRPr>
            </a:lvl2pPr>
            <a:lvl3pPr marL="747371" indent="-171372">
              <a:buClr>
                <a:schemeClr val="tx1"/>
              </a:buClr>
              <a:buSzPct val="80000"/>
              <a:buFont typeface="Arial"/>
              <a:buChar char="•"/>
              <a:defRPr sz="1600" b="0" i="0">
                <a:solidFill>
                  <a:srgbClr val="676767"/>
                </a:solidFill>
                <a:latin typeface="+mn-lt"/>
                <a:cs typeface="CiscoSans ExtraLight"/>
              </a:defRPr>
            </a:lvl3pPr>
            <a:lvl4pPr marL="910808" indent="-171372">
              <a:buClr>
                <a:schemeClr val="tx1"/>
              </a:buClr>
              <a:buSzPct val="80000"/>
              <a:buFont typeface="Arial"/>
              <a:buChar char="•"/>
              <a:defRPr sz="1400" b="0" i="0">
                <a:solidFill>
                  <a:srgbClr val="676767"/>
                </a:solidFill>
                <a:latin typeface="+mn-lt"/>
                <a:cs typeface="CiscoSans ExtraLight"/>
              </a:defRPr>
            </a:lvl4pPr>
            <a:lvl5pPr marL="1082180" indent="-168198">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Tree>
    <p:extLst/>
  </p:cSld>
  <p:clrMapOvr>
    <a:masterClrMapping/>
  </p:clrMapOvr>
  <p:transition spd="med">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type="title">
  <p:cSld name="Title +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229703" y="324162"/>
            <a:ext cx="8588861" cy="397764"/>
          </a:xfrm>
        </p:spPr>
        <p:txBody>
          <a:bodyPr vert="horz" lIns="82287" tIns="45715" rIns="82287" bIns="45715" rtlCol="0" anchor="b" anchorCtr="0">
            <a:noAutofit/>
          </a:bodyPr>
          <a:lstStyle>
            <a:lvl1pPr>
              <a:lnSpc>
                <a:spcPct val="85000"/>
              </a:lnSpc>
              <a:defRPr lang="en-US" sz="2399"/>
            </a:lvl1pPr>
          </a:lstStyle>
          <a:p>
            <a:pPr marL="0" lvl="0"/>
            <a:r>
              <a:rPr lang="en-US" dirty="0"/>
              <a:t>Click to edit Master title style</a:t>
            </a:r>
          </a:p>
        </p:txBody>
      </p:sp>
      <p:sp>
        <p:nvSpPr>
          <p:cNvPr id="3" name="Subtitle 2"/>
          <p:cNvSpPr>
            <a:spLocks noGrp="1"/>
          </p:cNvSpPr>
          <p:nvPr>
            <p:ph type="subTitle" idx="1"/>
          </p:nvPr>
        </p:nvSpPr>
        <p:spPr>
          <a:xfrm>
            <a:off x="229703" y="666558"/>
            <a:ext cx="8588861" cy="290708"/>
          </a:xfrm>
          <a:prstGeom prst="rect">
            <a:avLst/>
          </a:prstGeom>
        </p:spPr>
        <p:txBody>
          <a:bodyPr lIns="82296" rIns="82296">
            <a:normAutofit/>
          </a:bodyPr>
          <a:lstStyle>
            <a:lvl1pPr marL="0" indent="0" algn="l" defTabSz="685517" rtl="0" eaLnBrk="1" latinLnBrk="0" hangingPunct="1">
              <a:lnSpc>
                <a:spcPct val="80000"/>
              </a:lnSpc>
              <a:spcBef>
                <a:spcPct val="0"/>
              </a:spcBef>
              <a:buNone/>
              <a:defRPr lang="en-US" sz="1499" b="0" kern="1200" spc="0" baseline="0" dirty="0">
                <a:solidFill>
                  <a:schemeClr val="tx1"/>
                </a:solidFill>
                <a:latin typeface="+mj-lt"/>
                <a:ea typeface="+mj-ea"/>
                <a:cs typeface="+mj-cs"/>
              </a:defRPr>
            </a:lvl1pPr>
            <a:lvl2pPr marL="342797" indent="0" algn="ctr">
              <a:buNone/>
              <a:defRPr>
                <a:solidFill>
                  <a:schemeClr val="tx1">
                    <a:tint val="75000"/>
                  </a:schemeClr>
                </a:solidFill>
              </a:defRPr>
            </a:lvl2pPr>
            <a:lvl3pPr marL="685595" indent="0" algn="ctr">
              <a:buNone/>
              <a:defRPr>
                <a:solidFill>
                  <a:schemeClr val="tx1">
                    <a:tint val="75000"/>
                  </a:schemeClr>
                </a:solidFill>
              </a:defRPr>
            </a:lvl3pPr>
            <a:lvl4pPr marL="1028392" indent="0" algn="ctr">
              <a:buNone/>
              <a:defRPr>
                <a:solidFill>
                  <a:schemeClr val="tx1">
                    <a:tint val="75000"/>
                  </a:schemeClr>
                </a:solidFill>
              </a:defRPr>
            </a:lvl4pPr>
            <a:lvl5pPr marL="1371188" indent="0" algn="ctr">
              <a:buNone/>
              <a:defRPr>
                <a:solidFill>
                  <a:schemeClr val="tx1">
                    <a:tint val="75000"/>
                  </a:schemeClr>
                </a:solidFill>
              </a:defRPr>
            </a:lvl5pPr>
            <a:lvl6pPr marL="1713986" indent="0" algn="ctr">
              <a:buNone/>
              <a:defRPr>
                <a:solidFill>
                  <a:schemeClr val="tx1">
                    <a:tint val="75000"/>
                  </a:schemeClr>
                </a:solidFill>
              </a:defRPr>
            </a:lvl6pPr>
            <a:lvl7pPr marL="2056783" indent="0" algn="ctr">
              <a:buNone/>
              <a:defRPr>
                <a:solidFill>
                  <a:schemeClr val="tx1">
                    <a:tint val="75000"/>
                  </a:schemeClr>
                </a:solidFill>
              </a:defRPr>
            </a:lvl7pPr>
            <a:lvl8pPr marL="2399580" indent="0" algn="ctr">
              <a:buNone/>
              <a:defRPr>
                <a:solidFill>
                  <a:schemeClr val="tx1">
                    <a:tint val="75000"/>
                  </a:schemeClr>
                </a:solidFill>
              </a:defRPr>
            </a:lvl8pPr>
            <a:lvl9pPr marL="2742377" indent="0" algn="ctr">
              <a:buNone/>
              <a:defRPr>
                <a:solidFill>
                  <a:schemeClr val="tx1">
                    <a:tint val="75000"/>
                  </a:schemeClr>
                </a:solidFill>
              </a:defRPr>
            </a:lvl9pPr>
          </a:lstStyle>
          <a:p>
            <a:r>
              <a:rPr lang="en-US" dirty="0"/>
              <a:t>Click to edit Master subtitle style</a:t>
            </a:r>
          </a:p>
        </p:txBody>
      </p:sp>
    </p:spTree>
    <p:extLst/>
  </p:cSld>
  <p:clrMapOvr>
    <a:masterClrMapping/>
  </p:clrMapOvr>
  <p:transition>
    <p:wipe dir="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ctrTitle"/>
          </p:nvPr>
        </p:nvSpPr>
        <p:spPr>
          <a:xfrm>
            <a:off x="229707" y="324162"/>
            <a:ext cx="8588861" cy="397764"/>
          </a:xfrm>
        </p:spPr>
        <p:txBody>
          <a:bodyPr vert="horz" lIns="109711" tIns="60950" rIns="109711" bIns="60950" rtlCol="0" anchor="b" anchorCtr="0">
            <a:noAutofit/>
          </a:bodyPr>
          <a:lstStyle>
            <a:lvl1pPr>
              <a:lnSpc>
                <a:spcPct val="85000"/>
              </a:lnSpc>
              <a:defRPr lang="en-US" sz="2400"/>
            </a:lvl1pPr>
          </a:lstStyle>
          <a:p>
            <a:pPr marL="0" lvl="0"/>
            <a:r>
              <a:rPr lang="en-US" dirty="0"/>
              <a:t>Click to edit Master title styl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eaLnBrk="0" hangingPunct="0"/>
            <a:fld id="{B61BEF0D-F0BB-DE4B-95CE-6DB70DBA9567}" type="datetimeFigureOut">
              <a:rPr lang="en-US" dirty="0">
                <a:solidFill>
                  <a:srgbClr val="58585B"/>
                </a:solidFill>
                <a:latin typeface="Arial" panose="020B0604020202020204" pitchFamily="34" charset="0"/>
                <a:ea typeface="ＭＳ Ｐゴシック" panose="020B0600070205080204" pitchFamily="34" charset="-128"/>
                <a:cs typeface=""/>
              </a:rPr>
              <a:pPr eaLnBrk="0" hangingPunct="0"/>
              <a:t>12/10/18</a:t>
            </a:fld>
            <a:endParaRPr lang="en-US" dirty="0">
              <a:solidFill>
                <a:srgbClr val="58585B"/>
              </a:solidFill>
              <a:latin typeface="Arial" panose="020B0604020202020204" pitchFamily="34" charset="0"/>
              <a:ea typeface="ＭＳ Ｐゴシック" panose="020B0600070205080204" pitchFamily="34" charset="-128"/>
              <a:cs typeface=""/>
            </a:endParaRPr>
          </a:p>
        </p:txBody>
      </p:sp>
      <p:sp>
        <p:nvSpPr>
          <p:cNvPr id="5" name="Footer Placeholder 4"/>
          <p:cNvSpPr>
            <a:spLocks noGrp="1"/>
          </p:cNvSpPr>
          <p:nvPr>
            <p:ph type="ftr" sz="quarter" idx="11"/>
          </p:nvPr>
        </p:nvSpPr>
        <p:spPr/>
        <p:txBody>
          <a:bodyPr/>
          <a:lstStyle/>
          <a:p>
            <a:pPr eaLnBrk="0" hangingPunct="0"/>
            <a:endParaRPr lang="en-US" dirty="0">
              <a:solidFill>
                <a:srgbClr val="58585B"/>
              </a:solidFill>
              <a:latin typeface="Arial" panose="020B0604020202020204" pitchFamily="34" charset="0"/>
              <a:ea typeface="ＭＳ Ｐゴシック" panose="020B0600070205080204" pitchFamily="34" charset="-128"/>
              <a:cs typeface=""/>
            </a:endParaRPr>
          </a:p>
        </p:txBody>
      </p:sp>
      <p:sp>
        <p:nvSpPr>
          <p:cNvPr id="6" name="Slide Number Placeholder 5"/>
          <p:cNvSpPr>
            <a:spLocks noGrp="1"/>
          </p:cNvSpPr>
          <p:nvPr>
            <p:ph type="sldNum" sz="quarter" idx="12"/>
          </p:nvPr>
        </p:nvSpPr>
        <p:spPr/>
        <p:txBody>
          <a:bodyPr/>
          <a:lstStyle/>
          <a:p>
            <a:pPr eaLnBrk="0" hangingPunct="0"/>
            <a:fld id="{D57F1E4F-1CFF-5643-939E-217C01CDF565}" type="slidenum">
              <a:rPr lang="en-US" dirty="0">
                <a:solidFill>
                  <a:srgbClr val="58585B"/>
                </a:solidFill>
                <a:latin typeface="Arial" panose="020B0604020202020204" pitchFamily="34" charset="0"/>
                <a:ea typeface="ＭＳ Ｐゴシック" panose="020B0600070205080204" pitchFamily="34" charset="-128"/>
                <a:cs typeface=""/>
              </a:rPr>
              <a:pPr eaLnBrk="0" hangingPunct="0"/>
              <a:t>‹#›</a:t>
            </a:fld>
            <a:endParaRPr lang="en-US" dirty="0">
              <a:solidFill>
                <a:srgbClr val="58585B"/>
              </a:solidFill>
              <a:latin typeface="Arial" panose="020B0604020202020204" pitchFamily="34" charset="0"/>
              <a:ea typeface="ＭＳ Ｐゴシック" panose="020B0600070205080204" pitchFamily="34" charset="-128"/>
              <a:cs typeface=""/>
            </a:endParaRPr>
          </a:p>
        </p:txBody>
      </p:sp>
    </p:spTree>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1" indent="-223787">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4_Bullet">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62301" y="1347788"/>
            <a:ext cx="8277344" cy="3168210"/>
          </a:xfrm>
          <a:prstGeom prst="rect">
            <a:avLst/>
          </a:prstGeom>
        </p:spPr>
        <p:txBody>
          <a:bodyPr lIns="91420" tIns="45710" rIns="91420" bIns="45710">
            <a:noAutofit/>
          </a:bodyPr>
          <a:lstStyle>
            <a:lvl1pPr marL="280921" indent="-223787">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GB" dirty="0"/>
              <a:t>First level</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ue - Bullet">
    <p:spTree>
      <p:nvGrpSpPr>
        <p:cNvPr id="1" name=""/>
        <p:cNvGrpSpPr/>
        <p:nvPr/>
      </p:nvGrpSpPr>
      <p:grpSpPr>
        <a:xfrm>
          <a:off x="0" y="0"/>
          <a:ext cx="0" cy="0"/>
          <a:chOff x="0" y="0"/>
          <a:chExt cx="0" cy="0"/>
        </a:xfrm>
      </p:grpSpPr>
      <p:sp>
        <p:nvSpPr>
          <p:cNvPr id="6" name="Title Placeholder 5"/>
          <p:cNvSpPr>
            <a:spLocks noGrp="1"/>
          </p:cNvSpPr>
          <p:nvPr>
            <p:ph type="title" hasCustomPrompt="1"/>
          </p:nvPr>
        </p:nvSpPr>
        <p:spPr bwMode="auto">
          <a:xfrm>
            <a:off x="437766" y="489099"/>
            <a:ext cx="8268468" cy="38085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t"/>
          <a:lstStyle>
            <a:lvl1pPr>
              <a:defRPr>
                <a:solidFill>
                  <a:schemeClr val="tx1"/>
                </a:solidFill>
              </a:defRPr>
            </a:lvl1pPr>
          </a:lstStyle>
          <a:p>
            <a:pPr lvl="0"/>
            <a:r>
              <a:rPr lang="en-US" dirty="0"/>
              <a:t>Click to edit title</a:t>
            </a:r>
            <a:endParaRPr lang="en-GB" dirty="0"/>
          </a:p>
        </p:txBody>
      </p:sp>
      <p:sp>
        <p:nvSpPr>
          <p:cNvPr id="3" name="Text Placeholder 10"/>
          <p:cNvSpPr>
            <a:spLocks noGrp="1"/>
          </p:cNvSpPr>
          <p:nvPr>
            <p:ph type="body" sz="quarter" idx="11" hasCustomPrompt="1"/>
          </p:nvPr>
        </p:nvSpPr>
        <p:spPr>
          <a:xfrm>
            <a:off x="437766" y="869951"/>
            <a:ext cx="8268468" cy="477838"/>
          </a:xfrm>
          <a:prstGeom prst="rect">
            <a:avLst/>
          </a:prstGeom>
        </p:spPr>
        <p:txBody>
          <a:bodyPr vert="horz"/>
          <a:lstStyle>
            <a:lvl1pPr marL="0" indent="0">
              <a:buNone/>
              <a:defRPr sz="1799">
                <a:solidFill>
                  <a:schemeClr val="bg2"/>
                </a:solidFill>
                <a:ea typeface="Arial"/>
                <a:cs typeface="Arial"/>
              </a:defRPr>
            </a:lvl1pPr>
          </a:lstStyle>
          <a:p>
            <a:pPr lvl="0"/>
            <a:r>
              <a:rPr lang="en-US" dirty="0"/>
              <a:t>Click to edit subtitle</a:t>
            </a:r>
          </a:p>
        </p:txBody>
      </p:sp>
      <p:sp>
        <p:nvSpPr>
          <p:cNvPr id="5" name="Rectangle 4"/>
          <p:cNvSpPr/>
          <p:nvPr userDrawn="1"/>
        </p:nvSpPr>
        <p:spPr>
          <a:xfrm>
            <a:off x="0" y="0"/>
            <a:ext cx="9144000" cy="73152"/>
          </a:xfrm>
          <a:prstGeom prst="rect">
            <a:avLst/>
          </a:prstGeom>
          <a:gradFill>
            <a:gsLst>
              <a:gs pos="10000">
                <a:srgbClr val="04A0C3"/>
              </a:gs>
              <a:gs pos="90000">
                <a:srgbClr val="576DEB"/>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sz="2399" dirty="0">
              <a:solidFill>
                <a:srgbClr val="FFFFFF"/>
              </a:solidFill>
            </a:endParaRPr>
          </a:p>
        </p:txBody>
      </p:sp>
      <p:sp>
        <p:nvSpPr>
          <p:cNvPr id="7" name="Text Placeholder 3"/>
          <p:cNvSpPr>
            <a:spLocks noGrp="1"/>
          </p:cNvSpPr>
          <p:nvPr>
            <p:ph type="body" sz="quarter" idx="10" hasCustomPrompt="1"/>
          </p:nvPr>
        </p:nvSpPr>
        <p:spPr>
          <a:xfrm>
            <a:off x="437767" y="1567543"/>
            <a:ext cx="8268468" cy="2780283"/>
          </a:xfrm>
          <a:prstGeom prst="rect">
            <a:avLst/>
          </a:prstGeom>
        </p:spPr>
        <p:txBody>
          <a:bodyPr lIns="91420" tIns="45710" rIns="91420" bIns="45710">
            <a:noAutofit/>
          </a:bodyPr>
          <a:lstStyle>
            <a:lvl1pPr marL="0" indent="0">
              <a:lnSpc>
                <a:spcPct val="100000"/>
              </a:lnSpc>
              <a:spcBef>
                <a:spcPts val="1799"/>
              </a:spcBef>
              <a:buClr>
                <a:schemeClr val="tx2"/>
              </a:buClr>
              <a:buSzPct val="80000"/>
              <a:buFont typeface="Arial"/>
              <a:buNone/>
              <a:defRPr sz="1799" b="0" i="0">
                <a:solidFill>
                  <a:schemeClr val="tx1"/>
                </a:solidFill>
                <a:latin typeface="+mn-lt"/>
                <a:cs typeface="CiscoSans ExtraLight"/>
              </a:defRPr>
            </a:lvl1pPr>
            <a:lvl2pPr marL="274252" indent="-274252">
              <a:lnSpc>
                <a:spcPct val="100000"/>
              </a:lnSpc>
              <a:spcBef>
                <a:spcPts val="900"/>
              </a:spcBef>
              <a:buClrTx/>
              <a:buSzPct val="100000"/>
              <a:buFont typeface="Wingdings" charset="2"/>
              <a:buChar char="§"/>
              <a:defRPr sz="1799" b="0" i="0">
                <a:solidFill>
                  <a:schemeClr val="tx1"/>
                </a:solidFill>
                <a:latin typeface="+mn-lt"/>
                <a:cs typeface="CiscoSans ExtraLight"/>
              </a:defRPr>
            </a:lvl2pPr>
            <a:lvl3pPr marL="548503" indent="-274252">
              <a:lnSpc>
                <a:spcPct val="100000"/>
              </a:lnSpc>
              <a:spcBef>
                <a:spcPts val="700"/>
              </a:spcBef>
              <a:buClrTx/>
              <a:buSzPct val="100000"/>
              <a:buFont typeface=".AppleSystemUIFont" charset="-120"/>
              <a:buChar char="–"/>
              <a:defRPr sz="1400" b="0" i="0">
                <a:solidFill>
                  <a:schemeClr val="tx1"/>
                </a:solidFill>
                <a:latin typeface="+mn-lt"/>
                <a:cs typeface="CiscoSans ExtraLight"/>
              </a:defRPr>
            </a:lvl3pPr>
            <a:lvl4pPr marL="910808" indent="-171372">
              <a:buClr>
                <a:schemeClr val="tx2"/>
              </a:buClr>
              <a:buSzPct val="80000"/>
              <a:buFont typeface="Arial"/>
              <a:buChar char="•"/>
              <a:defRPr sz="1799" b="0" i="0">
                <a:solidFill>
                  <a:schemeClr val="tx2"/>
                </a:solidFill>
                <a:latin typeface="+mn-lt"/>
                <a:cs typeface="CiscoSans ExtraLight"/>
              </a:defRPr>
            </a:lvl4pPr>
            <a:lvl5pPr marL="1082180" indent="-168198">
              <a:buClr>
                <a:schemeClr val="tx2"/>
              </a:buClr>
              <a:buSzPct val="80000"/>
              <a:buFont typeface="Arial"/>
              <a:buChar char="•"/>
              <a:defRPr sz="1799" b="0" i="0">
                <a:solidFill>
                  <a:schemeClr val="tx2"/>
                </a:solidFill>
                <a:latin typeface="+mn-lt"/>
                <a:cs typeface="CiscoSans ExtraLight"/>
              </a:defRPr>
            </a:lvl5pPr>
          </a:lstStyle>
          <a:p>
            <a:pPr lvl="0"/>
            <a:r>
              <a:rPr lang="en-US" dirty="0"/>
              <a:t>Click to edit text</a:t>
            </a:r>
          </a:p>
          <a:p>
            <a:pPr lvl="1"/>
            <a:r>
              <a:rPr lang="en-US" dirty="0"/>
              <a:t>Second level</a:t>
            </a:r>
          </a:p>
          <a:p>
            <a:pPr lvl="2"/>
            <a:r>
              <a:rPr lang="en-US" dirty="0"/>
              <a:t>Third level</a:t>
            </a:r>
          </a:p>
        </p:txBody>
      </p:sp>
    </p:spTree>
    <p:extLst/>
  </p:cSld>
  <p:clrMapOvr>
    <a:masterClrMapping/>
  </p:clrMapOvr>
  <p:transition spd="med">
    <p:fade/>
  </p:transition>
  <p:extLst mod="1">
    <p:ext uri="{DCECCB84-F9BA-43D5-87BE-67443E8EF086}">
      <p15:sldGuideLst xmlns:p15="http://schemas.microsoft.com/office/powerpoint/2012/main"/>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rgbClr val="049FD9"/>
            </a:gs>
            <a:gs pos="100000">
              <a:srgbClr val="004BAF"/>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1"/>
            <a:ext cx="941388" cy="585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ubtitle 2"/>
          <p:cNvSpPr>
            <a:spLocks noGrp="1"/>
          </p:cNvSpPr>
          <p:nvPr>
            <p:ph type="subTitle" idx="1"/>
          </p:nvPr>
        </p:nvSpPr>
        <p:spPr>
          <a:xfrm>
            <a:off x="469497" y="3793199"/>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7" y="4033196"/>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Edit Master text styles</a:t>
            </a:r>
          </a:p>
        </p:txBody>
      </p:sp>
      <p:sp>
        <p:nvSpPr>
          <p:cNvPr id="18" name="Text Placeholder 40"/>
          <p:cNvSpPr>
            <a:spLocks noGrp="1"/>
          </p:cNvSpPr>
          <p:nvPr>
            <p:ph type="body" sz="quarter" idx="12"/>
          </p:nvPr>
        </p:nvSpPr>
        <p:spPr>
          <a:xfrm>
            <a:off x="469497" y="4273193"/>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Edit Master text styles</a:t>
            </a:r>
          </a:p>
        </p:txBody>
      </p:sp>
      <p:sp>
        <p:nvSpPr>
          <p:cNvPr id="19" name="Text Placeholder 2"/>
          <p:cNvSpPr>
            <a:spLocks noGrp="1"/>
          </p:cNvSpPr>
          <p:nvPr>
            <p:ph type="body" sz="quarter" idx="13"/>
          </p:nvPr>
        </p:nvSpPr>
        <p:spPr>
          <a:xfrm>
            <a:off x="463293"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74" indent="0">
              <a:buNone/>
              <a:defRPr/>
            </a:lvl2pPr>
            <a:lvl3pPr marL="427391" indent="0">
              <a:buNone/>
              <a:defRPr/>
            </a:lvl3pPr>
            <a:lvl4pPr marL="516681" indent="0">
              <a:buNone/>
              <a:defRPr/>
            </a:lvl4pPr>
            <a:lvl5pPr marL="601206" indent="0">
              <a:buNone/>
              <a:defRPr/>
            </a:lvl5pPr>
          </a:lstStyle>
          <a:p>
            <a:pPr lvl="0"/>
            <a:r>
              <a:rPr lang="en-US"/>
              <a:t>Edit Master text styles</a:t>
            </a:r>
          </a:p>
        </p:txBody>
      </p:sp>
      <p:sp>
        <p:nvSpPr>
          <p:cNvPr id="20" name="Title 1"/>
          <p:cNvSpPr>
            <a:spLocks noGrp="1"/>
          </p:cNvSpPr>
          <p:nvPr>
            <p:ph type="ctrTitle"/>
          </p:nvPr>
        </p:nvSpPr>
        <p:spPr>
          <a:xfrm>
            <a:off x="425766"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6" y="3209551"/>
            <a:ext cx="4684867" cy="288131"/>
          </a:xfrm>
          <a:prstGeom prst="rect">
            <a:avLst/>
          </a:prstGeom>
        </p:spPr>
        <p:txBody>
          <a:bodyPr vert="horz" lIns="68574" tIns="34288" rIns="68574" bIns="34288" rtlCol="0">
            <a:noAutofit/>
          </a:bodyPr>
          <a:lstStyle>
            <a:lvl1pPr marL="0" indent="0" algn="l" defTabSz="685731" rtl="0" eaLnBrk="1" latinLnBrk="0" hangingPunct="1">
              <a:lnSpc>
                <a:spcPct val="95000"/>
              </a:lnSpc>
              <a:spcBef>
                <a:spcPts val="1080"/>
              </a:spcBef>
              <a:buClr>
                <a:srgbClr val="92D050"/>
              </a:buClr>
              <a:buSzPct val="90000"/>
              <a:buFont typeface="Arial" pitchFamily="34" charset="0"/>
              <a:buNone/>
              <a:tabLst/>
              <a:defRPr lang="en-US" sz="1800" kern="1200" baseline="0" dirty="0">
                <a:solidFill>
                  <a:schemeClr val="tx1"/>
                </a:solidFill>
                <a:latin typeface="+mj-lt"/>
                <a:ea typeface="+mn-ea"/>
                <a:cs typeface="+mn-cs"/>
              </a:defRPr>
            </a:lvl1pPr>
            <a:lvl2pPr marL="342863" indent="0" algn="ctr">
              <a:buNone/>
              <a:defRPr>
                <a:solidFill>
                  <a:schemeClr val="tx1">
                    <a:tint val="75000"/>
                  </a:schemeClr>
                </a:solidFill>
              </a:defRPr>
            </a:lvl2pPr>
            <a:lvl3pPr marL="685731" indent="0" algn="ctr">
              <a:buNone/>
              <a:defRPr>
                <a:solidFill>
                  <a:schemeClr val="tx1">
                    <a:tint val="75000"/>
                  </a:schemeClr>
                </a:solidFill>
              </a:defRPr>
            </a:lvl3pPr>
            <a:lvl4pPr marL="1028597" indent="0" algn="ctr">
              <a:buNone/>
              <a:defRPr>
                <a:solidFill>
                  <a:schemeClr val="tx1">
                    <a:tint val="75000"/>
                  </a:schemeClr>
                </a:solidFill>
              </a:defRPr>
            </a:lvl4pPr>
            <a:lvl5pPr marL="1371464" indent="0" algn="ctr">
              <a:buNone/>
              <a:defRPr>
                <a:solidFill>
                  <a:schemeClr val="tx1">
                    <a:tint val="75000"/>
                  </a:schemeClr>
                </a:solidFill>
              </a:defRPr>
            </a:lvl5pPr>
            <a:lvl6pPr marL="1714326" indent="0" algn="ctr">
              <a:buNone/>
              <a:defRPr>
                <a:solidFill>
                  <a:schemeClr val="tx1">
                    <a:tint val="75000"/>
                  </a:schemeClr>
                </a:solidFill>
              </a:defRPr>
            </a:lvl6pPr>
            <a:lvl7pPr marL="2057195" indent="0" algn="ctr">
              <a:buNone/>
              <a:defRPr>
                <a:solidFill>
                  <a:schemeClr val="tx1">
                    <a:tint val="75000"/>
                  </a:schemeClr>
                </a:solidFill>
              </a:defRPr>
            </a:lvl7pPr>
            <a:lvl8pPr marL="2400060" indent="0" algn="ctr">
              <a:buNone/>
              <a:defRPr>
                <a:solidFill>
                  <a:schemeClr val="tx1">
                    <a:tint val="75000"/>
                  </a:schemeClr>
                </a:solidFill>
              </a:defRPr>
            </a:lvl8pPr>
            <a:lvl9pPr marL="2742928" indent="0" algn="ctr">
              <a:buNone/>
              <a:defRPr>
                <a:solidFill>
                  <a:schemeClr val="tx1">
                    <a:tint val="75000"/>
                  </a:schemeClr>
                </a:solidFill>
              </a:defRPr>
            </a:lvl9pPr>
          </a:lstStyle>
          <a:p>
            <a:pPr lvl="0"/>
            <a:r>
              <a:rPr lang="en-US"/>
              <a:t>Click to edit Master subtitle style</a:t>
            </a:r>
            <a:endParaRPr lang="en-US" dirty="0"/>
          </a:p>
        </p:txBody>
      </p:sp>
      <p:sp>
        <p:nvSpPr>
          <p:cNvPr id="2" name="Title 1"/>
          <p:cNvSpPr>
            <a:spLocks noGrp="1"/>
          </p:cNvSpPr>
          <p:nvPr>
            <p:ph type="ctrTitle"/>
          </p:nvPr>
        </p:nvSpPr>
        <p:spPr>
          <a:xfrm>
            <a:off x="459526" y="2462028"/>
            <a:ext cx="4712557" cy="766763"/>
          </a:xfrm>
        </p:spPr>
        <p:txBody>
          <a:bodyPr lIns="61715" tIns="34288" rIns="61715" bIns="34288" rtlCol="0" anchor="b">
            <a:noAutofit/>
          </a:bodyPr>
          <a:lstStyle>
            <a:lvl1pPr marL="0" indent="0" algn="l" defTabSz="685731" rtl="0" eaLnBrk="1" latinLnBrk="0" hangingPunct="1">
              <a:lnSpc>
                <a:spcPct val="80000"/>
              </a:lnSpc>
              <a:spcBef>
                <a:spcPct val="0"/>
              </a:spcBef>
              <a:buClr>
                <a:schemeClr val="tx1"/>
              </a:buClr>
              <a:buFont typeface="Ciscolight" pitchFamily="2" charset="0"/>
              <a:buNone/>
              <a:defRPr lang="en-US" sz="5200" b="0" kern="1200" spc="0" baseline="0" dirty="0">
                <a:solidFill>
                  <a:schemeClr val="tx2"/>
                </a:solidFill>
                <a:latin typeface="+mj-lt"/>
                <a:ea typeface="+mj-ea"/>
                <a:cs typeface="+mj-cs"/>
              </a:defRPr>
            </a:lvl1pPr>
          </a:lstStyle>
          <a:p>
            <a:r>
              <a:rPr lang="en-US"/>
              <a:t>Click to edit Master title sty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a:solidFill>
                  <a:schemeClr val="tx1"/>
                </a:solidFill>
                <a:latin typeface="+mj-lt"/>
              </a:defRPr>
            </a:lvl1pPr>
          </a:lstStyle>
          <a:p>
            <a:pPr lvl="0"/>
            <a:r>
              <a:rPr lang="en-US" noProof="0"/>
              <a:t>Click icon to add picture</a:t>
            </a:r>
            <a:endParaRPr lang="en-US" noProof="0" dirty="0"/>
          </a:p>
        </p:txBody>
      </p:sp>
    </p:spTree>
    <p:extLst/>
  </p:cSld>
  <p:clrMapOvr>
    <a:masterClrMapping/>
  </p:clrMapOvr>
  <p:transition spd="slow">
    <p:wipe/>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169" y="4742908"/>
            <a:ext cx="218953" cy="154518"/>
          </a:xfrm>
          <a:prstGeom prst="rect">
            <a:avLst/>
          </a:prstGeom>
          <a:noFill/>
          <a:ln w="9525" algn="ctr">
            <a:noFill/>
            <a:miter lim="800000"/>
            <a:headEnd/>
            <a:tailEnd/>
          </a:ln>
          <a:effectLst/>
        </p:spPr>
        <p:txBody>
          <a:bodyPr wrap="none" lIns="61586" tIns="30792" rIns="61586" bIns="30792" anchor="b">
            <a:spAutoFit/>
          </a:bodyPr>
          <a:lstStyle/>
          <a:p>
            <a:pPr algn="r" defTabSz="610729" fontAlgn="auto">
              <a:spcBef>
                <a:spcPts val="0"/>
              </a:spcBef>
              <a:spcAft>
                <a:spcPts val="0"/>
              </a:spcAft>
              <a:defRPr/>
            </a:pPr>
            <a:fld id="{509F5890-BE05-4D5D-AADF-DD6FDB4C472B}" type="slidenum">
              <a:rPr lang="en-US" sz="600">
                <a:solidFill>
                  <a:srgbClr val="FFFFFF">
                    <a:alpha val="60000"/>
                  </a:srgbClr>
                </a:solidFill>
                <a:latin typeface="Arial"/>
                <a:ea typeface=""/>
                <a:cs typeface="CiscoSans Thin"/>
              </a:rPr>
              <a:pPr algn="r" defTabSz="610729"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4" name="Rectangle 4"/>
          <p:cNvSpPr>
            <a:spLocks noChangeArrowheads="1"/>
          </p:cNvSpPr>
          <p:nvPr/>
        </p:nvSpPr>
        <p:spPr bwMode="ltGray">
          <a:xfrm>
            <a:off x="5867508" y="4741655"/>
            <a:ext cx="2658018" cy="154518"/>
          </a:xfrm>
          <a:prstGeom prst="rect">
            <a:avLst/>
          </a:prstGeom>
          <a:noFill/>
          <a:ln w="9525">
            <a:noFill/>
            <a:miter lim="800000"/>
            <a:headEnd/>
            <a:tailEnd/>
          </a:ln>
          <a:effectLst/>
        </p:spPr>
        <p:txBody>
          <a:bodyPr lIns="61586" tIns="30792" rIns="61586" bIns="30792" anchor="b">
            <a:spAutoFit/>
          </a:bodyPr>
          <a:lstStyle/>
          <a:p>
            <a:pPr defTabSz="610729" fontAlgn="auto">
              <a:spcBef>
                <a:spcPts val="0"/>
              </a:spcBef>
              <a:spcAft>
                <a:spcPts val="0"/>
              </a:spcAft>
              <a:defRPr/>
            </a:pPr>
            <a:r>
              <a:rPr lang="en-US" sz="600" dirty="0">
                <a:solidFill>
                  <a:srgbClr val="FFFFFF">
                    <a:alpha val="60000"/>
                  </a:srgbClr>
                </a:solidFill>
                <a:latin typeface="Arial"/>
                <a:ea typeface=""/>
                <a:cs typeface="CiscoSans Thin"/>
              </a:rPr>
              <a:t>© 2016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cSld>
  <p:clrMapOvr>
    <a:masterClrMapping/>
  </p:clrMapOvr>
  <p:transition spd="slow">
    <p:wip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Group Activity">
    <p:spTree>
      <p:nvGrpSpPr>
        <p:cNvPr id="1" name=""/>
        <p:cNvGrpSpPr/>
        <p:nvPr/>
      </p:nvGrpSpPr>
      <p:grpSpPr>
        <a:xfrm>
          <a:off x="0" y="0"/>
          <a:ext cx="0" cy="0"/>
          <a:chOff x="0" y="0"/>
          <a:chExt cx="0" cy="0"/>
        </a:xfrm>
      </p:grpSpPr>
      <p:sp>
        <p:nvSpPr>
          <p:cNvPr id="18" name="Text Placeholder 17"/>
          <p:cNvSpPr>
            <a:spLocks noGrp="1"/>
          </p:cNvSpPr>
          <p:nvPr>
            <p:ph type="body" sz="quarter" idx="17"/>
          </p:nvPr>
        </p:nvSpPr>
        <p:spPr>
          <a:xfrm>
            <a:off x="388811" y="2349016"/>
            <a:ext cx="2756725" cy="770461"/>
          </a:xfrm>
          <a:prstGeom prst="rect">
            <a:avLst/>
          </a:prstGeom>
        </p:spPr>
        <p:txBody>
          <a:bodyPr lIns="91420" tIns="45710" rIns="91420" bIns="45710" anchor="b" anchorCtr="0">
            <a:noAutofit/>
          </a:bodyPr>
          <a:lstStyle>
            <a:lvl1pPr marL="0" marR="0" indent="0" algn="ctr" defTabSz="685720" rtl="0" eaLnBrk="1" fontAlgn="auto" latinLnBrk="0" hangingPunct="1">
              <a:lnSpc>
                <a:spcPct val="80000"/>
              </a:lnSpc>
              <a:spcBef>
                <a:spcPct val="0"/>
              </a:spcBef>
              <a:spcAft>
                <a:spcPts val="0"/>
              </a:spcAft>
              <a:buClrTx/>
              <a:buSzTx/>
              <a:buFontTx/>
              <a:buNone/>
              <a:tabLst/>
              <a:defRPr kumimoji="0" lang="en-US" sz="2400" b="0" i="0" u="none" strike="noStrike" kern="1200" cap="none" spc="-75" normalizeH="0" baseline="0" noProof="0" dirty="0" smtClean="0">
                <a:ln>
                  <a:noFill/>
                </a:ln>
                <a:solidFill>
                  <a:schemeClr val="tx2"/>
                </a:solidFill>
                <a:effectLst/>
                <a:uLnTx/>
                <a:uFillTx/>
                <a:latin typeface="Arial" panose="020B0604020202020204" pitchFamily="34" charset="0"/>
                <a:ea typeface="+mj-ea"/>
                <a:cs typeface="Arial" panose="020B0604020202020204" pitchFamily="34" charset="0"/>
              </a:defRPr>
            </a:lvl1pPr>
          </a:lstStyle>
          <a:p>
            <a:pPr lvl="0"/>
            <a:r>
              <a:rPr lang="en-US" dirty="0"/>
              <a:t>Click to edit Master text styles</a:t>
            </a:r>
          </a:p>
        </p:txBody>
      </p:sp>
      <p:sp>
        <p:nvSpPr>
          <p:cNvPr id="16" name="Text Placeholder 3"/>
          <p:cNvSpPr>
            <a:spLocks noGrp="1"/>
          </p:cNvSpPr>
          <p:nvPr>
            <p:ph type="body" sz="quarter" idx="26" hasCustomPrompt="1"/>
          </p:nvPr>
        </p:nvSpPr>
        <p:spPr>
          <a:xfrm>
            <a:off x="3785616" y="996695"/>
            <a:ext cx="4883440" cy="3518529"/>
          </a:xfrm>
          <a:prstGeom prst="rect">
            <a:avLst/>
          </a:prstGeom>
        </p:spPr>
        <p:txBody>
          <a:bodyPr lIns="91420" tIns="45710" rIns="91420" bIns="45710">
            <a:noAutofit/>
          </a:bodyPr>
          <a:lstStyle>
            <a:lvl1pPr marL="404801" indent="-342900">
              <a:lnSpc>
                <a:spcPct val="95000"/>
              </a:lnSpc>
              <a:spcBef>
                <a:spcPts val="1110"/>
              </a:spcBef>
              <a:buClr>
                <a:schemeClr val="tx2"/>
              </a:buClr>
              <a:buSzPct val="80000"/>
              <a:buFont typeface="+mj-lt"/>
              <a:buAutoNum type="arabicPeriod"/>
              <a:defRPr sz="1800" b="0" i="0" baseline="0">
                <a:solidFill>
                  <a:schemeClr val="tx2"/>
                </a:solidFill>
                <a:latin typeface="Arial" panose="020B0604020202020204" pitchFamily="34" charset="0"/>
                <a:cs typeface="Arial" panose="020B0604020202020204" pitchFamily="34" charset="0"/>
              </a:defRPr>
            </a:lvl1pPr>
            <a:lvl2pPr marL="142875" indent="0">
              <a:lnSpc>
                <a:spcPct val="95000"/>
              </a:lnSpc>
              <a:spcBef>
                <a:spcPts val="450"/>
              </a:spcBef>
              <a:buClr>
                <a:schemeClr val="tx2"/>
              </a:buClr>
              <a:buSzPct val="80000"/>
              <a:buNone/>
              <a:defRPr sz="1600" b="0" i="0">
                <a:solidFill>
                  <a:schemeClr val="tx2"/>
                </a:solidFill>
                <a:latin typeface="Arial" panose="020B0604020202020204" pitchFamily="34" charset="0"/>
                <a:cs typeface="Arial" panose="020B0604020202020204" pitchFamily="34" charset="0"/>
              </a:defRPr>
            </a:lvl2pPr>
            <a:lvl3pPr marL="260495" indent="0">
              <a:buClr>
                <a:schemeClr val="tx2"/>
              </a:buClr>
              <a:buSzPct val="80000"/>
              <a:buFont typeface="Arial"/>
              <a:buNone/>
              <a:defRPr sz="1400" b="0" i="0">
                <a:solidFill>
                  <a:schemeClr val="tx2"/>
                </a:solidFill>
                <a:latin typeface="Arial" panose="020B0604020202020204" pitchFamily="34" charset="0"/>
                <a:cs typeface="Arial" panose="020B0604020202020204" pitchFamily="34" charset="0"/>
              </a:defRPr>
            </a:lvl3pPr>
            <a:lvl4pPr marL="333375" indent="0">
              <a:buClr>
                <a:schemeClr val="tx2"/>
              </a:buClr>
              <a:buSzPct val="80000"/>
              <a:buNone/>
              <a:defRPr b="0" i="0">
                <a:solidFill>
                  <a:schemeClr val="tx2"/>
                </a:solidFill>
                <a:latin typeface="Arial" panose="020B0604020202020204" pitchFamily="34" charset="0"/>
                <a:cs typeface="Arial" panose="020B0604020202020204" pitchFamily="34" charset="0"/>
              </a:defRPr>
            </a:lvl4pPr>
            <a:lvl5pPr marL="404812" indent="0">
              <a:buClr>
                <a:schemeClr val="tx2"/>
              </a:buClr>
              <a:buSzPct val="80000"/>
              <a:buNone/>
              <a:defRPr b="0" i="0">
                <a:solidFill>
                  <a:schemeClr val="tx2"/>
                </a:solidFill>
                <a:latin typeface="Arial" panose="020B0604020202020204" pitchFamily="34" charset="0"/>
                <a:cs typeface="Arial" panose="020B0604020202020204" pitchFamily="34" charset="0"/>
              </a:defRPr>
            </a:lvl5pPr>
          </a:lstStyle>
          <a:p>
            <a:pPr lvl="0"/>
            <a:r>
              <a:rPr lang="en-US" dirty="0"/>
              <a:t>Click to edit Master text styles</a:t>
            </a:r>
          </a:p>
        </p:txBody>
      </p:sp>
    </p:spTree>
    <p:extLst>
      <p:ext uri="{BB962C8B-B14F-4D97-AF65-F5344CB8AC3E}">
        <p14:creationId xmlns:p14="http://schemas.microsoft.com/office/powerpoint/2010/main" val="683261644"/>
      </p:ext>
    </p:extLst>
  </p:cSld>
  <p:clrMapOvr>
    <a:masterClrMapping/>
  </p:clrMapOvr>
  <p:transition spd="med">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5_Segue">
    <p:bg>
      <p:bgPr>
        <a:solidFill>
          <a:srgbClr val="39393B"/>
        </a:solidFill>
        <a:effectLst/>
      </p:bgPr>
    </p:bg>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GB" dirty="0"/>
              <a:t>Section Title Goes Here</a:t>
            </a:r>
            <a:endParaRPr lang="en-US" dirty="0"/>
          </a:p>
        </p:txBody>
      </p:sp>
      <p:sp>
        <p:nvSpPr>
          <p:cNvPr id="7" name="Rectangle 7"/>
          <p:cNvSpPr>
            <a:spLocks noChangeArrowheads="1"/>
          </p:cNvSpPr>
          <p:nvPr userDrawn="1"/>
        </p:nvSpPr>
        <p:spPr bwMode="ltGray">
          <a:xfrm>
            <a:off x="8515169" y="4742908"/>
            <a:ext cx="218953" cy="154518"/>
          </a:xfrm>
          <a:prstGeom prst="rect">
            <a:avLst/>
          </a:prstGeom>
          <a:noFill/>
          <a:ln w="9525" algn="ctr">
            <a:noFill/>
            <a:miter lim="800000"/>
            <a:headEnd/>
            <a:tailEnd/>
          </a:ln>
          <a:effectLst/>
        </p:spPr>
        <p:txBody>
          <a:bodyPr wrap="none" lIns="61586" tIns="30792" rIns="61586" bIns="30792" anchor="b">
            <a:spAutoFit/>
          </a:bodyPr>
          <a:lstStyle/>
          <a:p>
            <a:pPr algn="r" defTabSz="610729" fontAlgn="auto">
              <a:spcBef>
                <a:spcPts val="0"/>
              </a:spcBef>
              <a:spcAft>
                <a:spcPts val="0"/>
              </a:spcAft>
              <a:defRPr/>
            </a:pPr>
            <a:fld id="{4ABDCABE-3F10-B64C-92F1-862014417034}" type="slidenum">
              <a:rPr lang="en-US" sz="600">
                <a:solidFill>
                  <a:srgbClr val="FFFFFF">
                    <a:alpha val="60000"/>
                  </a:srgbClr>
                </a:solidFill>
                <a:latin typeface="Arial"/>
                <a:ea typeface=""/>
                <a:cs typeface="CiscoSans Thin"/>
              </a:rPr>
              <a:pPr algn="r" defTabSz="610729"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8" name="Rectangle 4"/>
          <p:cNvSpPr>
            <a:spLocks noChangeArrowheads="1"/>
          </p:cNvSpPr>
          <p:nvPr userDrawn="1"/>
        </p:nvSpPr>
        <p:spPr bwMode="ltGray">
          <a:xfrm>
            <a:off x="5867508" y="4741655"/>
            <a:ext cx="2658018" cy="154518"/>
          </a:xfrm>
          <a:prstGeom prst="rect">
            <a:avLst/>
          </a:prstGeom>
          <a:noFill/>
          <a:ln w="9525">
            <a:noFill/>
            <a:miter lim="800000"/>
            <a:headEnd/>
            <a:tailEnd/>
          </a:ln>
          <a:effectLst/>
        </p:spPr>
        <p:txBody>
          <a:bodyPr lIns="61586" tIns="30792" rIns="61586" bIns="30792" anchor="b">
            <a:spAutoFit/>
          </a:bodyPr>
          <a:lstStyle/>
          <a:p>
            <a:pPr defTabSz="610729" fontAlgn="auto">
              <a:spcBef>
                <a:spcPts val="0"/>
              </a:spcBef>
              <a:spcAft>
                <a:spcPts val="0"/>
              </a:spcAft>
              <a:defRPr/>
            </a:pPr>
            <a:r>
              <a:rPr lang="en-US" sz="600" dirty="0">
                <a:solidFill>
                  <a:srgbClr val="FFFFFF">
                    <a:alpha val="60000"/>
                  </a:srgbClr>
                </a:solidFill>
                <a:latin typeface="Arial"/>
                <a:ea typeface=""/>
                <a:cs typeface="CiscoSans Thin"/>
              </a:rPr>
              <a:t>© 2016  Cisco and/or its affiliates. All rights reserved.   Cisco Confidential</a:t>
            </a:r>
          </a:p>
        </p:txBody>
      </p:sp>
      <p:pic>
        <p:nvPicPr>
          <p:cNvPr id="9"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cSld>
  <p:clrMapOvr>
    <a:masterClrMapping/>
  </p:clrMapOvr>
  <p:transition spd="slow">
    <p:wip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tx2"/>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9"/>
            <a:ext cx="8280057" cy="3073946"/>
          </a:xfrm>
          <a:prstGeom prst="rect">
            <a:avLst/>
          </a:prstGeom>
        </p:spPr>
        <p:txBody>
          <a:bodyPr lIns="91420" tIns="45710" rIns="91420" bIns="45710">
            <a:noAutofit/>
          </a:bodyPr>
          <a:lstStyle>
            <a:lvl1pPr marL="285683" marR="0" indent="-285683" algn="ctr" defTabSz="457094"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a:t>Edit Master text styles</a:t>
            </a:r>
          </a:p>
        </p:txBody>
      </p:sp>
      <p:sp>
        <p:nvSpPr>
          <p:cNvPr id="4"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1" indent="-223787">
              <a:lnSpc>
                <a:spcPct val="95000"/>
              </a:lnSpc>
              <a:spcBef>
                <a:spcPts val="1110"/>
              </a:spcBef>
              <a:buClr>
                <a:schemeClr val="tx2"/>
              </a:buClr>
              <a:buSzPct val="80000"/>
              <a:buFont typeface="Arial"/>
              <a:buChar char="•"/>
              <a:defRPr sz="3700" b="0" i="0">
                <a:solidFill>
                  <a:schemeClr val="tx2"/>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US"/>
              <a:t>Edit Master text styles</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4"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33"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28" indent="0">
              <a:buClr>
                <a:schemeClr val="tx1"/>
              </a:buClr>
              <a:buSzPct val="80000"/>
              <a:buFont typeface="Arial"/>
              <a:buNone/>
              <a:defRPr sz="1600" b="0" i="0">
                <a:solidFill>
                  <a:srgbClr val="676767"/>
                </a:solidFill>
                <a:latin typeface="+mn-lt"/>
                <a:cs typeface="CiscoSans ExtraLight"/>
              </a:defRPr>
            </a:lvl3pPr>
            <a:lvl4pPr marL="739601" indent="0">
              <a:buClr>
                <a:schemeClr val="tx1"/>
              </a:buClr>
              <a:buSzPct val="80000"/>
              <a:buFont typeface="Arial"/>
              <a:buNone/>
              <a:defRPr sz="1400" b="0" i="0">
                <a:solidFill>
                  <a:srgbClr val="676767"/>
                </a:solidFill>
                <a:latin typeface="+mn-lt"/>
                <a:cs typeface="CiscoSans ExtraLight"/>
              </a:defRPr>
            </a:lvl4pPr>
            <a:lvl5pPr marL="914187" indent="0">
              <a:buClr>
                <a:schemeClr val="tx1"/>
              </a:buClr>
              <a:buSzPct val="80000"/>
              <a:buFont typeface="Arial"/>
              <a:buNone/>
              <a:defRPr sz="1200" b="0" i="0">
                <a:solidFill>
                  <a:srgbClr val="676767"/>
                </a:solidFill>
                <a:latin typeface="+mn-lt"/>
                <a:cs typeface="CiscoSans ExtraLight"/>
              </a:defRPr>
            </a:lvl5pPr>
          </a:lstStyle>
          <a:p>
            <a:pPr lvl="0"/>
            <a:r>
              <a:rPr lang="en-US"/>
              <a:t>Edit Master text styles</a:t>
            </a:r>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1" y="895601"/>
            <a:ext cx="8398739" cy="3168210"/>
          </a:xfrm>
          <a:prstGeom prst="rect">
            <a:avLst/>
          </a:prstGeom>
        </p:spPr>
        <p:txBody>
          <a:bodyPr lIns="91420" tIns="45710" rIns="91420" bIns="45710">
            <a:noAutofit/>
          </a:bodyPr>
          <a:lstStyle>
            <a:lvl1pPr marL="57134"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33"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28" indent="0">
              <a:buClr>
                <a:schemeClr val="tx1"/>
              </a:buClr>
              <a:buSzPct val="80000"/>
              <a:buFont typeface="Arial"/>
              <a:buNone/>
              <a:defRPr sz="1600" b="0" i="0">
                <a:solidFill>
                  <a:srgbClr val="676767"/>
                </a:solidFill>
                <a:latin typeface="+mn-lt"/>
                <a:cs typeface="CiscoSans ExtraLight"/>
              </a:defRPr>
            </a:lvl3pPr>
            <a:lvl4pPr marL="739601" indent="0">
              <a:buClr>
                <a:schemeClr val="tx1"/>
              </a:buClr>
              <a:buSzPct val="80000"/>
              <a:buFont typeface="Arial"/>
              <a:buNone/>
              <a:defRPr sz="1400" b="0" i="0">
                <a:solidFill>
                  <a:srgbClr val="676767"/>
                </a:solidFill>
                <a:latin typeface="+mn-lt"/>
                <a:cs typeface="CiscoSans ExtraLight"/>
              </a:defRPr>
            </a:lvl4pPr>
            <a:lvl5pPr marL="914187" indent="0">
              <a:buClr>
                <a:schemeClr val="tx1"/>
              </a:buClr>
              <a:buSzPct val="80000"/>
              <a:buFont typeface="Arial"/>
              <a:buNone/>
              <a:defRPr sz="1200" b="0" i="0">
                <a:solidFill>
                  <a:srgbClr val="676767"/>
                </a:solidFill>
                <a:latin typeface="+mn-lt"/>
                <a:cs typeface="CiscoSans ExtraLight"/>
              </a:defRPr>
            </a:lvl5pPr>
          </a:lstStyle>
          <a:p>
            <a:pPr lvl="0"/>
            <a:r>
              <a:rPr lang="en-US"/>
              <a:t>Edit Master text styles</a:t>
            </a:r>
          </a:p>
        </p:txBody>
      </p:sp>
    </p:spTree>
    <p:extLst/>
  </p:cSld>
  <p:clrMapOvr>
    <a:masterClrMapping/>
  </p:clrMapOvr>
  <p:transition spd="med">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395" indent="-392390">
              <a:lnSpc>
                <a:spcPts val="4440"/>
              </a:lnSpc>
              <a:spcBef>
                <a:spcPts val="0"/>
              </a:spcBef>
              <a:buClr>
                <a:schemeClr val="tx2"/>
              </a:buClr>
              <a:buSzPct val="80000"/>
              <a:buFont typeface="Arial"/>
              <a:buChar char="•"/>
              <a:defRPr sz="3700" b="0" i="0">
                <a:solidFill>
                  <a:schemeClr val="tx2"/>
                </a:solidFill>
                <a:latin typeface="+mn-lt"/>
                <a:cs typeface="CiscoSans ExtraLight"/>
              </a:defRPr>
            </a:lvl1pPr>
            <a:lvl2pPr marL="507882" indent="-215849">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39" indent="-171411">
              <a:buClr>
                <a:schemeClr val="tx1"/>
              </a:buClr>
              <a:buSzPct val="80000"/>
              <a:buFont typeface="Arial"/>
              <a:buChar char="•"/>
              <a:defRPr sz="1600" b="0" i="0">
                <a:solidFill>
                  <a:srgbClr val="676767"/>
                </a:solidFill>
                <a:latin typeface="+mn-lt"/>
                <a:cs typeface="CiscoSans ExtraLight"/>
              </a:defRPr>
            </a:lvl3pPr>
            <a:lvl4pPr marL="911012" indent="-171411">
              <a:buClr>
                <a:schemeClr val="tx1"/>
              </a:buClr>
              <a:buSzPct val="80000"/>
              <a:buFont typeface="Arial"/>
              <a:buChar char="•"/>
              <a:defRPr sz="1400" b="0" i="0">
                <a:solidFill>
                  <a:srgbClr val="676767"/>
                </a:solidFill>
                <a:latin typeface="+mn-lt"/>
                <a:cs typeface="CiscoSans ExtraLight"/>
              </a:defRPr>
            </a:lvl4pPr>
            <a:lvl5pPr marL="1082423" indent="-168236">
              <a:buClr>
                <a:schemeClr val="tx1"/>
              </a:buClr>
              <a:buSzPct val="80000"/>
              <a:buFont typeface="Arial"/>
              <a:buChar char="•"/>
              <a:defRPr sz="1200" b="0" i="0">
                <a:solidFill>
                  <a:srgbClr val="676767"/>
                </a:solidFill>
                <a:latin typeface="+mn-lt"/>
                <a:cs typeface="CiscoSans ExtraLight"/>
              </a:defRPr>
            </a:lvl5pPr>
          </a:lstStyle>
          <a:p>
            <a:pPr lvl="0"/>
            <a:r>
              <a:rPr lang="en-US"/>
              <a:t>Edit Master text styles</a:t>
            </a:r>
          </a:p>
        </p:txBody>
      </p:sp>
    </p:spTree>
    <p:extLst/>
  </p:cSld>
  <p:clrMapOvr>
    <a:masterClrMapping/>
  </p:clrMapOvr>
  <p:transition spd="med">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1" indent="-223787">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507882"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747539" indent="-171411">
              <a:buClr>
                <a:schemeClr val="tx2"/>
              </a:buClr>
              <a:buSzPct val="80000"/>
              <a:buFont typeface="Arial"/>
              <a:buChar char="•"/>
              <a:defRPr sz="1600" b="0" i="0">
                <a:solidFill>
                  <a:schemeClr val="tx2"/>
                </a:solidFill>
                <a:latin typeface="+mn-lt"/>
                <a:cs typeface="CiscoSans ExtraLight"/>
              </a:defRPr>
            </a:lvl3pPr>
            <a:lvl4pPr marL="911012" indent="-171411">
              <a:buClr>
                <a:schemeClr val="tx2"/>
              </a:buClr>
              <a:buSzPct val="80000"/>
              <a:buFont typeface="Arial"/>
              <a:buChar char="•"/>
              <a:defRPr sz="1400" b="0" i="0">
                <a:solidFill>
                  <a:schemeClr val="tx2"/>
                </a:solidFill>
                <a:latin typeface="+mn-lt"/>
                <a:cs typeface="CiscoSans ExtraLight"/>
              </a:defRPr>
            </a:lvl4pPr>
            <a:lvl5pPr marL="1082423" indent="-168236">
              <a:buClr>
                <a:schemeClr val="tx2"/>
              </a:buClr>
              <a:buSzPct val="80000"/>
              <a:buFont typeface="Arial"/>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7" y="1347788"/>
            <a:ext cx="3901123" cy="3083094"/>
          </a:xfrm>
          <a:prstGeom prst="rect">
            <a:avLst/>
          </a:prstGeom>
        </p:spPr>
        <p:txBody>
          <a:bodyPr lIns="91420" tIns="45710" rIns="91420" bIns="45710">
            <a:noAutofit/>
          </a:bodyPr>
          <a:lstStyle>
            <a:lvl1pPr marL="228549" indent="-171411">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094"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05" indent="-171411">
              <a:buClr>
                <a:schemeClr val="tx2"/>
              </a:buClr>
              <a:buSzPct val="80000"/>
              <a:buFont typeface="Arial"/>
              <a:buChar char="•"/>
              <a:defRPr sz="1600" b="0" i="0">
                <a:solidFill>
                  <a:schemeClr val="tx2"/>
                </a:solidFill>
                <a:latin typeface="+mn-lt"/>
                <a:cs typeface="CiscoSans ExtraLight"/>
              </a:defRPr>
            </a:lvl3pPr>
            <a:lvl4pPr marL="799914" indent="-171411">
              <a:buClr>
                <a:schemeClr val="tx2"/>
              </a:buClr>
              <a:buSzPct val="80000"/>
              <a:buFont typeface="Arial"/>
              <a:buChar char="•"/>
              <a:defRPr sz="1400" b="0" i="0">
                <a:solidFill>
                  <a:schemeClr val="tx2"/>
                </a:solidFill>
                <a:latin typeface="+mn-lt"/>
                <a:cs typeface="CiscoSans ExtraLight"/>
              </a:defRPr>
            </a:lvl4pPr>
            <a:lvl5pPr marL="971323" indent="-171411">
              <a:buClr>
                <a:schemeClr val="tx2"/>
              </a:buClr>
              <a:buSzPct val="80000"/>
              <a:buFont typeface="Arial"/>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49" indent="-171411">
              <a:lnSpc>
                <a:spcPct val="95000"/>
              </a:lnSpc>
              <a:spcBef>
                <a:spcPts val="1110"/>
              </a:spcBef>
              <a:buClr>
                <a:schemeClr val="tx2"/>
              </a:buClr>
              <a:buSzPct val="80000"/>
              <a:buFont typeface="Arial"/>
              <a:buChar char="•"/>
              <a:defRPr sz="2000" b="0" i="0" baseline="0">
                <a:solidFill>
                  <a:schemeClr val="tx2"/>
                </a:solidFill>
                <a:latin typeface="+mn-lt"/>
                <a:cs typeface="CiscoSans ExtraLight"/>
              </a:defRPr>
            </a:lvl1pPr>
            <a:lvl2pPr marL="457094"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05" indent="-171411">
              <a:buClr>
                <a:schemeClr val="tx2"/>
              </a:buClr>
              <a:buSzPct val="80000"/>
              <a:buFont typeface="Arial"/>
              <a:buChar char="•"/>
              <a:defRPr sz="1600" b="0" i="0">
                <a:solidFill>
                  <a:schemeClr val="tx2"/>
                </a:solidFill>
                <a:latin typeface="+mn-lt"/>
                <a:cs typeface="CiscoSans ExtraLight"/>
              </a:defRPr>
            </a:lvl3pPr>
            <a:lvl4pPr marL="799914" indent="-171411">
              <a:buClr>
                <a:schemeClr val="tx2"/>
              </a:buClr>
              <a:buSzPct val="80000"/>
              <a:buFont typeface="Arial"/>
              <a:buChar char="•"/>
              <a:defRPr sz="1400" b="0" i="0">
                <a:solidFill>
                  <a:schemeClr val="tx2"/>
                </a:solidFill>
                <a:latin typeface="+mn-lt"/>
                <a:cs typeface="CiscoSans ExtraLight"/>
              </a:defRPr>
            </a:lvl4pPr>
            <a:lvl5pPr marL="971323" indent="-171411">
              <a:buClr>
                <a:schemeClr val="tx2"/>
              </a:buClr>
              <a:buSzPct val="80000"/>
              <a:buFont typeface="Arial"/>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1"/>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9" y="302506"/>
            <a:ext cx="3715995" cy="826447"/>
          </a:xfrm>
          <a:prstGeom prst="rect">
            <a:avLst/>
          </a:prstGeom>
        </p:spPr>
        <p:txBody>
          <a:bodyPr lIns="61712" tIns="34286" rIns="61712" bIns="34286" rtlCol="0">
            <a:noAutofit/>
          </a:bodyPr>
          <a:lstStyle>
            <a:lvl1pPr algn="l" defTabSz="685703" rtl="0" eaLnBrk="1" latinLnBrk="0" hangingPunct="1">
              <a:lnSpc>
                <a:spcPct val="80000"/>
              </a:lnSpc>
              <a:spcBef>
                <a:spcPct val="0"/>
              </a:spcBef>
              <a:buNone/>
              <a:defRPr lang="en-US" sz="3200" b="0" i="0" kern="1200" spc="-75"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4905965" y="302506"/>
            <a:ext cx="3715995" cy="826446"/>
          </a:xfrm>
          <a:prstGeom prst="rect">
            <a:avLst/>
          </a:prstGeom>
        </p:spPr>
        <p:txBody>
          <a:bodyPr lIns="91420" tIns="45710" rIns="91420" bIns="45710" anchor="ctr" anchorCtr="0">
            <a:noAutofit/>
          </a:bodyPr>
          <a:lstStyle>
            <a:lvl1pPr marL="0" marR="0" indent="0" algn="l" defTabSz="685703"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mj-lt"/>
                <a:ea typeface="+mj-ea"/>
                <a:cs typeface="CiscoSans Thin"/>
              </a:defRPr>
            </a:lvl1pPr>
          </a:lstStyle>
          <a:p>
            <a:pPr lvl="0"/>
            <a:r>
              <a:rPr lang="en-US"/>
              <a:t>Edit Master text styles</a:t>
            </a:r>
          </a:p>
        </p:txBody>
      </p:sp>
      <p:sp>
        <p:nvSpPr>
          <p:cNvPr id="8" name="Text Placeholder 3"/>
          <p:cNvSpPr>
            <a:spLocks noGrp="1"/>
          </p:cNvSpPr>
          <p:nvPr>
            <p:ph type="body" sz="quarter" idx="10"/>
          </p:nvPr>
        </p:nvSpPr>
        <p:spPr>
          <a:xfrm>
            <a:off x="467929" y="1347788"/>
            <a:ext cx="3715995" cy="3083094"/>
          </a:xfrm>
          <a:prstGeom prst="rect">
            <a:avLst/>
          </a:prstGeom>
        </p:spPr>
        <p:txBody>
          <a:bodyPr lIns="91420" tIns="45710" rIns="91420" bIns="45710">
            <a:noAutofit/>
          </a:bodyPr>
          <a:lstStyle>
            <a:lvl1pPr marL="228549" indent="-171411">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094"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05" indent="-171411">
              <a:buClr>
                <a:schemeClr val="tx2"/>
              </a:buClr>
              <a:buSzPct val="80000"/>
              <a:buFont typeface="Arial"/>
              <a:buChar char="•"/>
              <a:defRPr sz="1600" b="0" i="0">
                <a:solidFill>
                  <a:schemeClr val="tx2"/>
                </a:solidFill>
                <a:latin typeface="+mn-lt"/>
                <a:cs typeface="CiscoSans ExtraLight"/>
              </a:defRPr>
            </a:lvl3pPr>
            <a:lvl4pPr marL="799914" indent="-171411">
              <a:buClr>
                <a:schemeClr val="tx2"/>
              </a:buClr>
              <a:buSzPct val="80000"/>
              <a:buFont typeface="Arial"/>
              <a:buChar char="•"/>
              <a:defRPr sz="1400" b="0" i="0">
                <a:solidFill>
                  <a:schemeClr val="tx2"/>
                </a:solidFill>
                <a:latin typeface="+mn-lt"/>
                <a:cs typeface="CiscoSans ExtraLight"/>
              </a:defRPr>
            </a:lvl4pPr>
            <a:lvl5pPr marL="971323" indent="-171411">
              <a:buClr>
                <a:schemeClr val="tx2"/>
              </a:buClr>
              <a:buSzPct val="80000"/>
              <a:buFont typeface="Arial"/>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4905965" y="1347788"/>
            <a:ext cx="3715995" cy="3083094"/>
          </a:xfrm>
          <a:prstGeom prst="rect">
            <a:avLst/>
          </a:prstGeom>
        </p:spPr>
        <p:txBody>
          <a:bodyPr lIns="91420" tIns="45710" rIns="91420" bIns="45710">
            <a:noAutofit/>
          </a:bodyPr>
          <a:lstStyle>
            <a:lvl1pPr marL="228549" indent="-171411">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094"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05" indent="-171411">
              <a:buClr>
                <a:schemeClr val="tx2"/>
              </a:buClr>
              <a:buSzPct val="80000"/>
              <a:buFont typeface="Arial"/>
              <a:buChar char="•"/>
              <a:defRPr sz="1600" b="0" i="0">
                <a:solidFill>
                  <a:schemeClr val="tx2"/>
                </a:solidFill>
                <a:latin typeface="+mn-lt"/>
                <a:cs typeface="CiscoSans ExtraLight"/>
              </a:defRPr>
            </a:lvl3pPr>
            <a:lvl4pPr marL="799914" indent="-171411">
              <a:buClr>
                <a:schemeClr val="tx2"/>
              </a:buClr>
              <a:buSzPct val="80000"/>
              <a:buFont typeface="Arial"/>
              <a:buChar char="•"/>
              <a:defRPr sz="1400" b="0" i="0">
                <a:solidFill>
                  <a:schemeClr val="tx2"/>
                </a:solidFill>
                <a:latin typeface="+mn-lt"/>
                <a:cs typeface="CiscoSans ExtraLight"/>
              </a:defRPr>
            </a:lvl4pPr>
            <a:lvl5pPr marL="971323" indent="-171411">
              <a:buClr>
                <a:schemeClr val="tx2"/>
              </a:buClr>
              <a:buSzPct val="80000"/>
              <a:buFont typeface="Arial"/>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spd="med">
    <p:fade/>
  </p:transition>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Group Activity">
    <p:spTree>
      <p:nvGrpSpPr>
        <p:cNvPr id="1" name=""/>
        <p:cNvGrpSpPr/>
        <p:nvPr/>
      </p:nvGrpSpPr>
      <p:grpSpPr>
        <a:xfrm>
          <a:off x="0" y="0"/>
          <a:ext cx="0" cy="0"/>
          <a:chOff x="0" y="0"/>
          <a:chExt cx="0" cy="0"/>
        </a:xfrm>
      </p:grpSpPr>
      <p:sp>
        <p:nvSpPr>
          <p:cNvPr id="16" name="Text Placeholder 3"/>
          <p:cNvSpPr>
            <a:spLocks noGrp="1"/>
          </p:cNvSpPr>
          <p:nvPr>
            <p:ph type="body" sz="quarter" idx="26" hasCustomPrompt="1"/>
          </p:nvPr>
        </p:nvSpPr>
        <p:spPr>
          <a:xfrm>
            <a:off x="3377728" y="996695"/>
            <a:ext cx="5291328" cy="3518529"/>
          </a:xfrm>
          <a:prstGeom prst="rect">
            <a:avLst/>
          </a:prstGeom>
        </p:spPr>
        <p:txBody>
          <a:bodyPr lIns="91420" tIns="45710" rIns="91420" bIns="45710" anchor="ctr" anchorCtr="0">
            <a:noAutofit/>
          </a:bodyPr>
          <a:lstStyle>
            <a:lvl1pPr marL="61901" indent="0">
              <a:lnSpc>
                <a:spcPct val="95000"/>
              </a:lnSpc>
              <a:spcBef>
                <a:spcPts val="1110"/>
              </a:spcBef>
              <a:buClr>
                <a:schemeClr val="tx2"/>
              </a:buClr>
              <a:buSzPct val="80000"/>
              <a:buFont typeface="+mj-lt"/>
              <a:buNone/>
              <a:defRPr sz="1800" b="0" i="0" baseline="0">
                <a:solidFill>
                  <a:schemeClr val="tx2"/>
                </a:solidFill>
                <a:latin typeface="Arial" panose="020B0604020202020204" pitchFamily="34" charset="0"/>
                <a:cs typeface="Arial" panose="020B0604020202020204" pitchFamily="34" charset="0"/>
              </a:defRPr>
            </a:lvl1pPr>
            <a:lvl2pPr marL="142875" indent="0">
              <a:lnSpc>
                <a:spcPct val="95000"/>
              </a:lnSpc>
              <a:spcBef>
                <a:spcPts val="450"/>
              </a:spcBef>
              <a:buClr>
                <a:schemeClr val="tx2"/>
              </a:buClr>
              <a:buSzPct val="80000"/>
              <a:buNone/>
              <a:defRPr sz="1600" b="0" i="0">
                <a:solidFill>
                  <a:schemeClr val="tx2"/>
                </a:solidFill>
                <a:latin typeface="Arial" panose="020B0604020202020204" pitchFamily="34" charset="0"/>
                <a:cs typeface="Arial" panose="020B0604020202020204" pitchFamily="34" charset="0"/>
              </a:defRPr>
            </a:lvl2pPr>
            <a:lvl3pPr marL="260495" indent="0">
              <a:buClr>
                <a:schemeClr val="tx2"/>
              </a:buClr>
              <a:buSzPct val="80000"/>
              <a:buFont typeface="Arial"/>
              <a:buNone/>
              <a:defRPr sz="1400" b="0" i="0">
                <a:solidFill>
                  <a:schemeClr val="tx2"/>
                </a:solidFill>
                <a:latin typeface="Arial" panose="020B0604020202020204" pitchFamily="34" charset="0"/>
                <a:cs typeface="Arial" panose="020B0604020202020204" pitchFamily="34" charset="0"/>
              </a:defRPr>
            </a:lvl3pPr>
            <a:lvl4pPr marL="333375" indent="0">
              <a:buClr>
                <a:schemeClr val="tx2"/>
              </a:buClr>
              <a:buSzPct val="80000"/>
              <a:buNone/>
              <a:defRPr b="0" i="0">
                <a:solidFill>
                  <a:schemeClr val="tx2"/>
                </a:solidFill>
                <a:latin typeface="Arial" panose="020B0604020202020204" pitchFamily="34" charset="0"/>
                <a:cs typeface="Arial" panose="020B0604020202020204" pitchFamily="34" charset="0"/>
              </a:defRPr>
            </a:lvl4pPr>
            <a:lvl5pPr marL="404812" indent="0">
              <a:buClr>
                <a:schemeClr val="tx2"/>
              </a:buClr>
              <a:buSzPct val="80000"/>
              <a:buNone/>
              <a:defRPr b="0" i="0">
                <a:solidFill>
                  <a:schemeClr val="tx2"/>
                </a:solidFill>
                <a:latin typeface="Arial" panose="020B0604020202020204" pitchFamily="34" charset="0"/>
                <a:cs typeface="Arial" panose="020B0604020202020204" pitchFamily="34" charset="0"/>
              </a:defRPr>
            </a:lvl5pPr>
          </a:lstStyle>
          <a:p>
            <a:pPr lvl="0"/>
            <a:r>
              <a:rPr lang="en-US" dirty="0"/>
              <a:t>Click to edit Master text styles</a:t>
            </a:r>
          </a:p>
        </p:txBody>
      </p:sp>
      <p:sp>
        <p:nvSpPr>
          <p:cNvPr id="5" name="Picture Placeholder 4"/>
          <p:cNvSpPr>
            <a:spLocks noGrp="1"/>
          </p:cNvSpPr>
          <p:nvPr>
            <p:ph type="pic" sz="quarter" idx="29"/>
          </p:nvPr>
        </p:nvSpPr>
        <p:spPr>
          <a:xfrm>
            <a:off x="487462" y="2350008"/>
            <a:ext cx="1847850" cy="1027113"/>
          </a:xfrm>
          <a:prstGeom prst="rect">
            <a:avLst/>
          </a:prstGeom>
        </p:spPr>
        <p:txBody>
          <a:bodyPr/>
          <a:lstStyle>
            <a:lvl1pPr marL="0" indent="0">
              <a:buNone/>
              <a:defRPr/>
            </a:lvl1pPr>
          </a:lstStyle>
          <a:p>
            <a:endParaRPr lang="en-US" dirty="0"/>
          </a:p>
        </p:txBody>
      </p:sp>
    </p:spTree>
    <p:extLst>
      <p:ext uri="{BB962C8B-B14F-4D97-AF65-F5344CB8AC3E}">
        <p14:creationId xmlns:p14="http://schemas.microsoft.com/office/powerpoint/2010/main" val="832666608"/>
      </p:ext>
    </p:extLst>
  </p:cSld>
  <p:clrMapOvr>
    <a:masterClrMapping/>
  </p:clrMapOvr>
  <p:transition spd="med">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1"/>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1"/>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4" y="228319"/>
            <a:ext cx="2337109" cy="770461"/>
          </a:xfrm>
          <a:prstGeom prst="rect">
            <a:avLst/>
          </a:prstGeom>
        </p:spPr>
        <p:txBody>
          <a:bodyPr lIns="91420" tIns="45710" rIns="91420" bIns="45710" anchor="b" anchorCtr="0">
            <a:noAutofit/>
          </a:bodyPr>
          <a:lstStyle>
            <a:lvl1pPr marL="0" marR="0" indent="0" algn="l" defTabSz="685703"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Edit Master text styles</a:t>
            </a:r>
          </a:p>
        </p:txBody>
      </p:sp>
      <p:sp>
        <p:nvSpPr>
          <p:cNvPr id="10" name="Text Placeholder 17"/>
          <p:cNvSpPr>
            <a:spLocks noGrp="1"/>
          </p:cNvSpPr>
          <p:nvPr>
            <p:ph type="body" sz="quarter" idx="22"/>
          </p:nvPr>
        </p:nvSpPr>
        <p:spPr>
          <a:xfrm>
            <a:off x="3377729" y="227839"/>
            <a:ext cx="2337109" cy="770461"/>
          </a:xfrm>
          <a:prstGeom prst="rect">
            <a:avLst/>
          </a:prstGeom>
        </p:spPr>
        <p:txBody>
          <a:bodyPr lIns="91420" tIns="45710" rIns="91420" bIns="45710" anchor="b" anchorCtr="0">
            <a:noAutofit/>
          </a:bodyPr>
          <a:lstStyle>
            <a:lvl1pPr marL="0" marR="0" indent="0" algn="l" defTabSz="685703"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Edit Master text styles</a:t>
            </a:r>
          </a:p>
        </p:txBody>
      </p:sp>
      <p:sp>
        <p:nvSpPr>
          <p:cNvPr id="14" name="Text Placeholder 17"/>
          <p:cNvSpPr>
            <a:spLocks noGrp="1"/>
          </p:cNvSpPr>
          <p:nvPr>
            <p:ph type="body" sz="quarter" idx="24"/>
          </p:nvPr>
        </p:nvSpPr>
        <p:spPr>
          <a:xfrm>
            <a:off x="6354814" y="220479"/>
            <a:ext cx="2337109" cy="770461"/>
          </a:xfrm>
          <a:prstGeom prst="rect">
            <a:avLst/>
          </a:prstGeom>
        </p:spPr>
        <p:txBody>
          <a:bodyPr lIns="91420" tIns="45710" rIns="91420" bIns="45710" anchor="b" anchorCtr="0">
            <a:noAutofit/>
          </a:bodyPr>
          <a:lstStyle>
            <a:lvl1pPr marL="0" marR="0" indent="0" algn="l" defTabSz="685703"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Edit Master text styles</a:t>
            </a:r>
          </a:p>
        </p:txBody>
      </p:sp>
      <p:sp>
        <p:nvSpPr>
          <p:cNvPr id="13" name="Text Placeholder 3"/>
          <p:cNvSpPr>
            <a:spLocks noGrp="1"/>
          </p:cNvSpPr>
          <p:nvPr>
            <p:ph type="body" sz="quarter" idx="11"/>
          </p:nvPr>
        </p:nvSpPr>
        <p:spPr>
          <a:xfrm>
            <a:off x="461964" y="1201094"/>
            <a:ext cx="2337110" cy="3314904"/>
          </a:xfrm>
          <a:prstGeom prst="rect">
            <a:avLst/>
          </a:prstGeom>
        </p:spPr>
        <p:txBody>
          <a:bodyPr lIns="91420" tIns="45710" rIns="91420" bIns="45710">
            <a:noAutofit/>
          </a:bodyPr>
          <a:lstStyle>
            <a:lvl1pPr marL="233310" indent="-171411">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00" indent="-171411">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0" indent="-171411">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00" indent="-171411">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6354813" y="1200321"/>
            <a:ext cx="2337110" cy="3314904"/>
          </a:xfrm>
          <a:prstGeom prst="rect">
            <a:avLst/>
          </a:prstGeom>
        </p:spPr>
        <p:txBody>
          <a:bodyPr lIns="91420" tIns="45710" rIns="91420" bIns="45710">
            <a:noAutofit/>
          </a:bodyPr>
          <a:lstStyle>
            <a:lvl1pPr marL="233310" indent="-171411">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00" indent="-171411">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spd="med">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6" y="1330326"/>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defTabSz="685800" fontAlgn="auto">
              <a:spcBef>
                <a:spcPts val="0"/>
              </a:spcBef>
              <a:spcAft>
                <a:spcPts val="0"/>
              </a:spcAft>
              <a:defRPr/>
            </a:pPr>
            <a:endParaRPr lang="en-US" sz="1800">
              <a:solidFill>
                <a:srgbClr val="555558"/>
              </a:solidFill>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6" indent="-85716" algn="l" defTabSz="685703" rtl="0" eaLnBrk="1" latinLnBrk="0" hangingPunct="1">
              <a:lnSpc>
                <a:spcPct val="90000"/>
              </a:lnSpc>
              <a:spcBef>
                <a:spcPts val="0"/>
              </a:spcBef>
              <a:buNone/>
              <a:defRPr lang="en-US" sz="1500" kern="1200" baseline="0" dirty="0" smtClean="0">
                <a:solidFill>
                  <a:schemeClr val="tx2"/>
                </a:solidFill>
                <a:latin typeface="+mn-lt"/>
                <a:ea typeface="+mn-ea"/>
                <a:cs typeface="CiscoSans ExtraLight"/>
              </a:defRPr>
            </a:lvl1pPr>
            <a:lvl2pPr marL="85716" indent="-85716" algn="l" defTabSz="685703" rtl="0" eaLnBrk="1" latinLnBrk="0" hangingPunct="1">
              <a:defRPr lang="en-US" sz="1500" kern="1200" dirty="0" smtClean="0">
                <a:solidFill>
                  <a:schemeClr val="accent2"/>
                </a:solidFill>
                <a:latin typeface="Ciscolight" pitchFamily="2" charset="0"/>
                <a:ea typeface="+mn-ea"/>
                <a:cs typeface="+mn-cs"/>
              </a:defRPr>
            </a:lvl2pPr>
            <a:lvl3pPr marL="85716" indent="-85716" algn="l" defTabSz="685703" rtl="0" eaLnBrk="1" latinLnBrk="0" hangingPunct="1">
              <a:defRPr lang="en-US" sz="1500" kern="1200" dirty="0" smtClean="0">
                <a:solidFill>
                  <a:schemeClr val="accent2"/>
                </a:solidFill>
                <a:latin typeface="Ciscolight" pitchFamily="2" charset="0"/>
                <a:ea typeface="+mn-ea"/>
                <a:cs typeface="+mn-cs"/>
              </a:defRPr>
            </a:lvl3pPr>
            <a:lvl4pPr marL="85716" indent="-85716" algn="l" defTabSz="685703" rtl="0" eaLnBrk="1" latinLnBrk="0" hangingPunct="1">
              <a:defRPr lang="en-US" sz="1500" kern="1200" dirty="0" smtClean="0">
                <a:solidFill>
                  <a:schemeClr val="accent2"/>
                </a:solidFill>
                <a:latin typeface="Ciscolight" pitchFamily="2" charset="0"/>
                <a:ea typeface="+mn-ea"/>
                <a:cs typeface="+mn-cs"/>
              </a:defRPr>
            </a:lvl4pPr>
            <a:lvl5pPr marL="85716" indent="-85716" algn="l" defTabSz="685703" rtl="0" eaLnBrk="1" latinLnBrk="0" hangingPunct="1">
              <a:defRPr lang="en-US" sz="1500" kern="1200" dirty="0" smtClean="0">
                <a:solidFill>
                  <a:schemeClr val="accent2"/>
                </a:solidFill>
                <a:latin typeface="Ciscolight" pitchFamily="2" charset="0"/>
                <a:ea typeface="+mn-ea"/>
                <a:cs typeface="+mn-cs"/>
              </a:defRPr>
            </a:lvl5pPr>
          </a:lstStyle>
          <a:p>
            <a:pPr lvl="0"/>
            <a:r>
              <a:rPr lang="en-US"/>
              <a:t>Edit Master text styles</a:t>
            </a:r>
          </a:p>
        </p:txBody>
      </p:sp>
      <p:sp>
        <p:nvSpPr>
          <p:cNvPr id="19" name="Text Placeholder 18"/>
          <p:cNvSpPr>
            <a:spLocks noGrp="1"/>
          </p:cNvSpPr>
          <p:nvPr>
            <p:ph type="body" sz="quarter" idx="14"/>
          </p:nvPr>
        </p:nvSpPr>
        <p:spPr>
          <a:xfrm>
            <a:off x="5148707" y="3552444"/>
            <a:ext cx="3506245" cy="253746"/>
          </a:xfrm>
          <a:prstGeom prst="rect">
            <a:avLst/>
          </a:prstGeom>
        </p:spPr>
        <p:txBody>
          <a:bodyPr lIns="91420" tIns="45710" rIns="91420" bIns="45710">
            <a:noAutofit/>
          </a:bodyPr>
          <a:lstStyle>
            <a:lvl1pPr marL="0" indent="0">
              <a:buClr>
                <a:schemeClr val="tx2"/>
              </a:buClr>
              <a:buFontTx/>
              <a:buNone/>
              <a:defRPr sz="1200">
                <a:solidFill>
                  <a:schemeClr val="tx2"/>
                </a:solidFill>
                <a:latin typeface="+mn-lt"/>
                <a:cs typeface="CiscoSans ExtraLight"/>
              </a:defRPr>
            </a:lvl1pPr>
          </a:lstStyle>
          <a:p>
            <a:pPr lvl="0"/>
            <a:r>
              <a:rPr lang="en-US"/>
              <a:t>Edit Master text styles</a:t>
            </a:r>
          </a:p>
        </p:txBody>
      </p:sp>
      <p:sp>
        <p:nvSpPr>
          <p:cNvPr id="9" name="Text Placeholder 3"/>
          <p:cNvSpPr>
            <a:spLocks noGrp="1"/>
          </p:cNvSpPr>
          <p:nvPr>
            <p:ph type="body" sz="quarter" idx="10"/>
          </p:nvPr>
        </p:nvSpPr>
        <p:spPr>
          <a:xfrm>
            <a:off x="437767" y="1347788"/>
            <a:ext cx="3901123" cy="3083094"/>
          </a:xfrm>
          <a:prstGeom prst="rect">
            <a:avLst/>
          </a:prstGeom>
        </p:spPr>
        <p:txBody>
          <a:bodyPr lIns="91420" tIns="45710" rIns="91420" bIns="45710">
            <a:noAutofit/>
          </a:bodyPr>
          <a:lstStyle>
            <a:lvl1pPr marL="228549" indent="-171411">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094" indent="-215849">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05" indent="-171411">
              <a:buClr>
                <a:schemeClr val="tx2"/>
              </a:buClr>
              <a:buSzPct val="80000"/>
              <a:buFont typeface="Arial"/>
              <a:buChar char="•"/>
              <a:defRPr sz="1600" b="0" i="0">
                <a:solidFill>
                  <a:schemeClr val="tx2"/>
                </a:solidFill>
                <a:latin typeface="+mn-lt"/>
                <a:cs typeface="CiscoSans ExtraLight"/>
              </a:defRPr>
            </a:lvl3pPr>
            <a:lvl4pPr marL="799914" indent="-171411">
              <a:buClr>
                <a:schemeClr val="tx2"/>
              </a:buClr>
              <a:buSzPct val="80000"/>
              <a:buFont typeface="Arial"/>
              <a:buChar char="•"/>
              <a:defRPr sz="1400" b="0" i="0">
                <a:solidFill>
                  <a:schemeClr val="tx2"/>
                </a:solidFill>
                <a:latin typeface="+mn-lt"/>
                <a:cs typeface="CiscoSans ExtraLight"/>
              </a:defRPr>
            </a:lvl4pPr>
            <a:lvl5pPr marL="971323" indent="-171411">
              <a:buClr>
                <a:schemeClr val="tx2"/>
              </a:buClr>
              <a:buSzPct val="80000"/>
              <a:buFont typeface="Arial"/>
              <a:buChar char="•"/>
              <a:defRPr sz="1200" b="0" i="0">
                <a:solidFill>
                  <a:schemeClr val="tx2"/>
                </a:solidFill>
                <a:latin typeface="+mn-lt"/>
                <a:cs typeface="CiscoSans ExtraLigh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60">
              <a:lnSpc>
                <a:spcPct val="100000"/>
              </a:lnSpc>
              <a:spcBef>
                <a:spcPct val="50000"/>
              </a:spcBef>
              <a:buNone/>
              <a:defRPr sz="22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4" name="Title 1"/>
          <p:cNvSpPr>
            <a:spLocks noGrp="1"/>
          </p:cNvSpPr>
          <p:nvPr>
            <p:ph type="ctrTitle"/>
          </p:nvPr>
        </p:nvSpPr>
        <p:spPr>
          <a:xfrm>
            <a:off x="287923" y="1540552"/>
            <a:ext cx="7972248" cy="2278837"/>
          </a:xfrm>
          <a:prstGeom prst="rect">
            <a:avLst/>
          </a:prstGeom>
        </p:spPr>
        <p:txBody>
          <a:bodyPr>
            <a:noAutofit/>
          </a:bodyPr>
          <a:lstStyle>
            <a:lvl1pPr marL="183596" indent="-399958" algn="l">
              <a:lnSpc>
                <a:spcPct val="90000"/>
              </a:lnSpc>
              <a:defRPr sz="4600" b="0" i="1" spc="0" baseline="0">
                <a:solidFill>
                  <a:schemeClr val="tx2"/>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1"/>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4" y="1439061"/>
            <a:ext cx="3820348" cy="2265389"/>
          </a:xfrm>
        </p:spPr>
        <p:txBody>
          <a:bodyPr lIns="61715" tIns="34288" rIns="61715" bIns="34288" rtlCol="0">
            <a:noAutofit/>
          </a:bodyPr>
          <a:lstStyle>
            <a:lvl1pPr marL="0" indent="0" algn="l" defTabSz="685731" rtl="0" eaLnBrk="1" latinLnBrk="0" hangingPunct="1">
              <a:lnSpc>
                <a:spcPct val="80000"/>
              </a:lnSpc>
              <a:spcBef>
                <a:spcPct val="0"/>
              </a:spcBef>
              <a:buClr>
                <a:schemeClr val="tx1"/>
              </a:buClr>
              <a:buFont typeface="Ciscolight" pitchFamily="2" charset="0"/>
              <a:buNone/>
              <a:defRPr lang="en-US" sz="4500" b="0" kern="1200" spc="0" baseline="0" dirty="0">
                <a:solidFill>
                  <a:srgbClr val="555558"/>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1"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2"/>
                </a:solidFill>
                <a:latin typeface="+mn-lt"/>
              </a:defRPr>
            </a:lvl1pPr>
            <a:lvl2pPr>
              <a:defRPr sz="1500"/>
            </a:lvl2pPr>
            <a:lvl3pPr>
              <a:defRPr sz="1500"/>
            </a:lvl3pPr>
            <a:lvl4pPr>
              <a:defRPr sz="1500"/>
            </a:lvl4pPr>
            <a:lvl5pPr>
              <a:defRPr sz="1500"/>
            </a:lvl5pPr>
          </a:lstStyle>
          <a:p>
            <a:pPr lvl="0"/>
            <a:r>
              <a:rPr lang="en-US"/>
              <a:t>Edit Master text styles</a:t>
            </a:r>
          </a:p>
        </p:txBody>
      </p:sp>
    </p:spTree>
    <p:extLst/>
  </p:cSld>
  <p:clrMapOvr>
    <a:masterClrMapping/>
  </p:clrMapOvr>
  <p:transition spd="slow">
    <p:wip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9"/>
            <a:ext cx="8345488" cy="2658728"/>
          </a:xfrm>
          <a:prstGeom prst="rect">
            <a:avLst/>
          </a:prstGeom>
        </p:spPr>
        <p:txBody>
          <a:bodyPr lIns="91420" tIns="45710" rIns="91420" bIns="45710">
            <a:noAutofit/>
          </a:bodyPr>
          <a:lstStyle>
            <a:lvl1pPr marL="0" indent="0" algn="ctr">
              <a:buNone/>
              <a:defRPr sz="2000" baseline="0">
                <a:solidFill>
                  <a:schemeClr val="tx2"/>
                </a:solidFill>
                <a:latin typeface="+mn-lt"/>
              </a:defRPr>
            </a:lvl1pPr>
          </a:lstStyle>
          <a:p>
            <a:pPr lvl="0"/>
            <a:r>
              <a:rPr lang="en-US" noProof="0"/>
              <a:t>Click icon to add table</a:t>
            </a:r>
            <a:endParaRPr lang="en-GB" noProof="0" dirty="0"/>
          </a:p>
        </p:txBody>
      </p:sp>
      <p:sp>
        <p:nvSpPr>
          <p:cNvPr id="6"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6"/>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chart</a:t>
            </a:r>
            <a:endParaRPr lang="en-US" noProof="0" dirty="0"/>
          </a:p>
        </p:txBody>
      </p:sp>
      <p:sp>
        <p:nvSpPr>
          <p:cNvPr id="7" name="Text Placeholder 9"/>
          <p:cNvSpPr>
            <a:spLocks noGrp="1"/>
          </p:cNvSpPr>
          <p:nvPr>
            <p:ph type="body" sz="quarter" idx="11"/>
          </p:nvPr>
        </p:nvSpPr>
        <p:spPr>
          <a:xfrm>
            <a:off x="437768" y="4148221"/>
            <a:ext cx="7180312" cy="326233"/>
          </a:xfrm>
          <a:prstGeom prst="rect">
            <a:avLst/>
          </a:prstGeom>
        </p:spPr>
        <p:txBody>
          <a:bodyPr wrap="square" lIns="91420" tIns="45710" rIns="91420" bIns="45710" anchor="b" anchorCtr="0">
            <a:noAutofit/>
          </a:bodyPr>
          <a:lstStyle>
            <a:lvl1pPr algn="l" defTabSz="603560">
              <a:lnSpc>
                <a:spcPct val="100000"/>
              </a:lnSpc>
              <a:spcBef>
                <a:spcPct val="50000"/>
              </a:spcBef>
              <a:buNone/>
              <a:defRPr sz="1600" b="0" i="0">
                <a:solidFill>
                  <a:schemeClr val="tx2"/>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Edit Master text styles</a:t>
            </a:r>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7"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3" name="Chart Placeholder 2"/>
          <p:cNvSpPr>
            <a:spLocks noGrp="1"/>
          </p:cNvSpPr>
          <p:nvPr>
            <p:ph type="chart" sz="quarter" idx="12"/>
          </p:nvPr>
        </p:nvSpPr>
        <p:spPr>
          <a:xfrm>
            <a:off x="4709908" y="1349375"/>
            <a:ext cx="4073346" cy="3039397"/>
          </a:xfrm>
          <a:prstGeom prst="rect">
            <a:avLst/>
          </a:prstGeom>
        </p:spPr>
        <p:txBody>
          <a:bodyPr vert="horz" lIns="91420" tIns="45710" rIns="91420" bIns="45710">
            <a:noAutofit/>
          </a:bodyPr>
          <a:lstStyle>
            <a:lvl1pPr marL="0" indent="0" algn="ctr">
              <a:buNone/>
              <a:defRPr sz="2000">
                <a:solidFill>
                  <a:schemeClr val="tx2"/>
                </a:solidFill>
                <a:latin typeface="+mn-lt"/>
                <a:cs typeface="CiscoSans ExtraLight"/>
              </a:defRPr>
            </a:lvl1pPr>
          </a:lstStyle>
          <a:p>
            <a:pPr lvl="0"/>
            <a:r>
              <a:rPr lang="en-US" noProof="0"/>
              <a:t>Click icon to add chart</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7"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mn-lt"/>
                <a:cs typeface="CiscoSans ExtraLight"/>
              </a:defRPr>
            </a:lvl1pPr>
          </a:lstStyle>
          <a:p>
            <a:pPr lvl="0"/>
            <a:r>
              <a:rPr lang="en-US" noProof="0"/>
              <a:t>Click icon to add picture</a:t>
            </a:r>
            <a:endParaRPr lang="en-US" noProof="0" dirty="0"/>
          </a:p>
        </p:txBody>
      </p:sp>
      <p:sp>
        <p:nvSpPr>
          <p:cNvPr id="5"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Oval 8"/>
          <p:cNvSpPr/>
          <p:nvPr/>
        </p:nvSpPr>
        <p:spPr>
          <a:xfrm>
            <a:off x="6084889" y="1622426"/>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auto">
              <a:spcBef>
                <a:spcPts val="0"/>
              </a:spcBef>
              <a:spcAft>
                <a:spcPts val="0"/>
              </a:spcAft>
              <a:defRPr/>
            </a:pPr>
            <a:endParaRPr lang="en-US" sz="1800" dirty="0">
              <a:solidFill>
                <a:srgbClr val="FFFFFF"/>
              </a:solidFill>
              <a:cs typeface="Arial"/>
            </a:endParaRPr>
          </a:p>
        </p:txBody>
      </p:sp>
      <p:sp>
        <p:nvSpPr>
          <p:cNvPr id="10" name="Oval 9"/>
          <p:cNvSpPr/>
          <p:nvPr/>
        </p:nvSpPr>
        <p:spPr>
          <a:xfrm>
            <a:off x="3422650" y="1622426"/>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auto">
              <a:spcBef>
                <a:spcPts val="0"/>
              </a:spcBef>
              <a:spcAft>
                <a:spcPts val="0"/>
              </a:spcAft>
              <a:defRPr/>
            </a:pPr>
            <a:endParaRPr lang="en-US" sz="1800" dirty="0">
              <a:solidFill>
                <a:srgbClr val="FFFFFF"/>
              </a:solidFill>
              <a:cs typeface="Arial"/>
            </a:endParaRPr>
          </a:p>
        </p:txBody>
      </p:sp>
      <p:sp>
        <p:nvSpPr>
          <p:cNvPr id="11" name="Oval 10"/>
          <p:cNvSpPr/>
          <p:nvPr/>
        </p:nvSpPr>
        <p:spPr>
          <a:xfrm>
            <a:off x="763589" y="1622426"/>
            <a:ext cx="2319337" cy="2317750"/>
          </a:xfrm>
          <a:prstGeom prst="ellipse">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85800" fontAlgn="auto">
              <a:spcBef>
                <a:spcPts val="0"/>
              </a:spcBef>
              <a:spcAft>
                <a:spcPts val="0"/>
              </a:spcAft>
              <a:defRPr/>
            </a:pPr>
            <a:endParaRPr lang="en-US" sz="1800" dirty="0">
              <a:solidFill>
                <a:srgbClr val="FFFFFF"/>
              </a:solidFill>
              <a:cs typeface="Arial"/>
            </a:endParaRPr>
          </a:p>
        </p:txBody>
      </p:sp>
      <p:sp>
        <p:nvSpPr>
          <p:cNvPr id="2" name="Title 1"/>
          <p:cNvSpPr>
            <a:spLocks noGrp="1"/>
          </p:cNvSpPr>
          <p:nvPr>
            <p:ph type="title"/>
          </p:nvPr>
        </p:nvSpPr>
        <p:spPr/>
        <p:txBody>
          <a:bodyPr/>
          <a:lstStyle/>
          <a:p>
            <a:r>
              <a:rPr lang="en-US"/>
              <a:t>Click to edit Master title style</a:t>
            </a:r>
          </a:p>
        </p:txBody>
      </p:sp>
      <p:sp>
        <p:nvSpPr>
          <p:cNvPr id="17" name="Text Placeholder 17"/>
          <p:cNvSpPr>
            <a:spLocks noGrp="1"/>
          </p:cNvSpPr>
          <p:nvPr>
            <p:ph type="body" sz="quarter" idx="11"/>
          </p:nvPr>
        </p:nvSpPr>
        <p:spPr>
          <a:xfrm>
            <a:off x="777486" y="2800143"/>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8" name="Text Placeholder 17"/>
          <p:cNvSpPr>
            <a:spLocks noGrp="1"/>
          </p:cNvSpPr>
          <p:nvPr>
            <p:ph type="body" sz="quarter" idx="12"/>
          </p:nvPr>
        </p:nvSpPr>
        <p:spPr>
          <a:xfrm>
            <a:off x="3436445" y="2798196"/>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9" name="Text Placeholder 17"/>
          <p:cNvSpPr>
            <a:spLocks noGrp="1"/>
          </p:cNvSpPr>
          <p:nvPr>
            <p:ph type="body" sz="quarter" idx="13"/>
          </p:nvPr>
        </p:nvSpPr>
        <p:spPr>
          <a:xfrm>
            <a:off x="6098331" y="2798196"/>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Tree>
    <p:extLst/>
  </p:cSld>
  <p:clrMapOvr>
    <a:masterClrMapping/>
  </p:clrMapOvr>
  <p:transition spd="slow">
    <p:wip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2000" b="0" i="0">
                <a:solidFill>
                  <a:schemeClr val="tx2"/>
                </a:solidFill>
                <a:latin typeface="Arial" panose="020B0604020202020204" pitchFamily="34" charset="0"/>
                <a:cs typeface="Arial" panose="020B0604020202020204" pitchFamily="34" charset="0"/>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dirty="0"/>
              <a:t>Click to edit Master text styles</a:t>
            </a:r>
          </a:p>
        </p:txBody>
      </p:sp>
      <p:sp>
        <p:nvSpPr>
          <p:cNvPr id="5"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Arial" panose="020B0604020202020204" pitchFamily="34" charset="0"/>
                <a:cs typeface="Arial" panose="020B0604020202020204" pitchFamily="34" charset="0"/>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2800" b="0" i="0" spc="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239501283"/>
      </p:ext>
    </p:extLst>
  </p:cSld>
  <p:clrMapOvr>
    <a:masterClrMapping/>
  </p:clrMapOvr>
  <p:transition spd="med">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1" y="1622426"/>
            <a:ext cx="2306638" cy="2306638"/>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378" eaLnBrk="1" fontAlgn="auto" hangingPunct="1">
              <a:spcBef>
                <a:spcPts val="0"/>
              </a:spcBef>
              <a:spcAft>
                <a:spcPts val="0"/>
              </a:spcAft>
            </a:pPr>
            <a:endParaRPr lang="en-US" altLang="en-US" sz="1800">
              <a:solidFill>
                <a:srgbClr val="FFFFFF"/>
              </a:solidFill>
              <a:cs typeface=""/>
            </a:endParaRPr>
          </a:p>
        </p:txBody>
      </p:sp>
      <p:sp>
        <p:nvSpPr>
          <p:cNvPr id="13" name="Oval 7"/>
          <p:cNvSpPr>
            <a:spLocks noChangeArrowheads="1"/>
          </p:cNvSpPr>
          <p:nvPr/>
        </p:nvSpPr>
        <p:spPr bwMode="auto">
          <a:xfrm>
            <a:off x="3422651" y="1622426"/>
            <a:ext cx="2306638" cy="2306638"/>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378" eaLnBrk="1" fontAlgn="auto" hangingPunct="1">
              <a:spcBef>
                <a:spcPts val="0"/>
              </a:spcBef>
              <a:spcAft>
                <a:spcPts val="0"/>
              </a:spcAft>
            </a:pPr>
            <a:endParaRPr lang="en-US" altLang="en-US" sz="1800">
              <a:solidFill>
                <a:srgbClr val="FFFFFF"/>
              </a:solidFill>
              <a:cs typeface=""/>
            </a:endParaRPr>
          </a:p>
        </p:txBody>
      </p:sp>
      <p:sp>
        <p:nvSpPr>
          <p:cNvPr id="14" name="Oval 8"/>
          <p:cNvSpPr>
            <a:spLocks noChangeArrowheads="1"/>
          </p:cNvSpPr>
          <p:nvPr/>
        </p:nvSpPr>
        <p:spPr bwMode="auto">
          <a:xfrm>
            <a:off x="6088063" y="1622426"/>
            <a:ext cx="2305050" cy="2306638"/>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378" eaLnBrk="1" fontAlgn="auto" hangingPunct="1">
              <a:spcBef>
                <a:spcPts val="0"/>
              </a:spcBef>
              <a:spcAft>
                <a:spcPts val="0"/>
              </a:spcAft>
            </a:pPr>
            <a:endParaRPr lang="en-US" altLang="en-US" sz="1800">
              <a:solidFill>
                <a:srgbClr val="FFFFFF"/>
              </a:solidFill>
              <a:cs typeface=""/>
            </a:endParaRPr>
          </a:p>
        </p:txBody>
      </p:sp>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lvl="0"/>
            <a:r>
              <a:rPr lang="en-US"/>
              <a:t>Click to edit Master title style</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a:t>Click icon to add picture</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9" name="Text Placeholder 17"/>
          <p:cNvSpPr>
            <a:spLocks noGrp="1"/>
          </p:cNvSpPr>
          <p:nvPr>
            <p:ph type="body" sz="quarter" idx="13"/>
          </p:nvPr>
        </p:nvSpPr>
        <p:spPr>
          <a:xfrm>
            <a:off x="788798" y="3873139"/>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0" name="Text Placeholder 17"/>
          <p:cNvSpPr>
            <a:spLocks noGrp="1"/>
          </p:cNvSpPr>
          <p:nvPr>
            <p:ph type="body" sz="quarter" idx="14"/>
          </p:nvPr>
        </p:nvSpPr>
        <p:spPr>
          <a:xfrm>
            <a:off x="3436818" y="3871192"/>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1" name="Text Placeholder 17"/>
          <p:cNvSpPr>
            <a:spLocks noGrp="1"/>
          </p:cNvSpPr>
          <p:nvPr>
            <p:ph type="body" sz="quarter" idx="15"/>
          </p:nvPr>
        </p:nvSpPr>
        <p:spPr>
          <a:xfrm>
            <a:off x="6101336" y="3871192"/>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Tree>
    <p:extLst/>
  </p:cSld>
  <p:clrMapOvr>
    <a:masterClrMapping/>
  </p:clrMapOvr>
  <p:transition spd="slow">
    <p:wip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userDrawn="1"/>
        </p:nvSpPr>
        <p:spPr>
          <a:xfrm>
            <a:off x="575611" y="2552551"/>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solidFill>
                <a:srgbClr val="049FD9"/>
              </a:solidFill>
              <a:cs typeface="Arial"/>
            </a:endParaRPr>
          </a:p>
        </p:txBody>
      </p:sp>
      <p:sp>
        <p:nvSpPr>
          <p:cNvPr id="15" name="Oval 14"/>
          <p:cNvSpPr/>
          <p:nvPr userDrawn="1"/>
        </p:nvSpPr>
        <p:spPr>
          <a:xfrm>
            <a:off x="575611" y="1426608"/>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FD9"/>
              </a:solidFill>
              <a:cs typeface="Arial"/>
            </a:endParaRPr>
          </a:p>
        </p:txBody>
      </p:sp>
      <p:sp>
        <p:nvSpPr>
          <p:cNvPr id="22" name="Oval 21"/>
          <p:cNvSpPr/>
          <p:nvPr userDrawn="1"/>
        </p:nvSpPr>
        <p:spPr>
          <a:xfrm>
            <a:off x="575611" y="3653094"/>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7" name="Text Placeholder 17"/>
          <p:cNvSpPr>
            <a:spLocks noGrp="1"/>
          </p:cNvSpPr>
          <p:nvPr>
            <p:ph type="body" sz="quarter" idx="16" hasCustomPrompt="1"/>
          </p:nvPr>
        </p:nvSpPr>
        <p:spPr>
          <a:xfrm>
            <a:off x="575611" y="1425202"/>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575611" y="2541688"/>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575611" y="365833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cSld>
  <p:clrMapOvr>
    <a:masterClrMapping/>
  </p:clrMapOvr>
  <p:transition spd="slow">
    <p:wip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userDrawn="1"/>
        </p:nvSpPr>
        <p:spPr>
          <a:xfrm>
            <a:off x="575611" y="2552551"/>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solidFill>
                <a:srgbClr val="FFFFFF"/>
              </a:solidFill>
              <a:cs typeface="Arial"/>
            </a:endParaRPr>
          </a:p>
        </p:txBody>
      </p:sp>
      <p:sp>
        <p:nvSpPr>
          <p:cNvPr id="15" name="Oval 14"/>
          <p:cNvSpPr/>
          <p:nvPr userDrawn="1"/>
        </p:nvSpPr>
        <p:spPr>
          <a:xfrm>
            <a:off x="575611" y="1426608"/>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FFFFFF"/>
              </a:solidFill>
              <a:cs typeface="Arial"/>
            </a:endParaRPr>
          </a:p>
        </p:txBody>
      </p:sp>
      <p:sp>
        <p:nvSpPr>
          <p:cNvPr id="22" name="Oval 21"/>
          <p:cNvSpPr/>
          <p:nvPr userDrawn="1"/>
        </p:nvSpPr>
        <p:spPr>
          <a:xfrm>
            <a:off x="575611" y="3653094"/>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8" name="Text Placeholder 17"/>
          <p:cNvSpPr>
            <a:spLocks noGrp="1"/>
          </p:cNvSpPr>
          <p:nvPr>
            <p:ph type="body" sz="quarter" idx="17" hasCustomPrompt="1"/>
          </p:nvPr>
        </p:nvSpPr>
        <p:spPr>
          <a:xfrm>
            <a:off x="575611" y="2552551"/>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575611" y="1427249"/>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cSld>
  <p:clrMapOvr>
    <a:masterClrMapping/>
  </p:clrMapOvr>
  <p:transition spd="slow">
    <p:wip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endParaRPr lang="en-US" dirty="0"/>
          </a:p>
        </p:txBody>
      </p:sp>
      <p:sp>
        <p:nvSpPr>
          <p:cNvPr id="12" name="Oval 11"/>
          <p:cNvSpPr/>
          <p:nvPr userDrawn="1"/>
        </p:nvSpPr>
        <p:spPr>
          <a:xfrm>
            <a:off x="575612" y="1979319"/>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15" name="Oval 14"/>
          <p:cNvSpPr/>
          <p:nvPr userDrawn="1"/>
        </p:nvSpPr>
        <p:spPr>
          <a:xfrm>
            <a:off x="575611" y="132892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22" name="Oval 21"/>
          <p:cNvSpPr/>
          <p:nvPr userDrawn="1"/>
        </p:nvSpPr>
        <p:spPr>
          <a:xfrm>
            <a:off x="575612" y="26274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24" name="Text Placeholder 17"/>
          <p:cNvSpPr>
            <a:spLocks noGrp="1"/>
          </p:cNvSpPr>
          <p:nvPr>
            <p:ph type="body" sz="quarter" idx="13"/>
          </p:nvPr>
        </p:nvSpPr>
        <p:spPr>
          <a:xfrm>
            <a:off x="1172384" y="1334843"/>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5" name="Text Placeholder 17"/>
          <p:cNvSpPr>
            <a:spLocks noGrp="1"/>
          </p:cNvSpPr>
          <p:nvPr>
            <p:ph type="body" sz="quarter" idx="14"/>
          </p:nvPr>
        </p:nvSpPr>
        <p:spPr>
          <a:xfrm>
            <a:off x="1172385" y="198456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6" name="Text Placeholder 17"/>
          <p:cNvSpPr>
            <a:spLocks noGrp="1"/>
          </p:cNvSpPr>
          <p:nvPr>
            <p:ph type="body" sz="quarter" idx="15"/>
          </p:nvPr>
        </p:nvSpPr>
        <p:spPr>
          <a:xfrm>
            <a:off x="1172385" y="2627447"/>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7" name="Text Placeholder 17"/>
          <p:cNvSpPr>
            <a:spLocks noGrp="1"/>
          </p:cNvSpPr>
          <p:nvPr>
            <p:ph type="body" sz="quarter" idx="16" hasCustomPrompt="1"/>
          </p:nvPr>
        </p:nvSpPr>
        <p:spPr>
          <a:xfrm>
            <a:off x="575612" y="1327522"/>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2" y="1979319"/>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3" y="2625494"/>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575613" y="32745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14" name="Text Placeholder 17"/>
          <p:cNvSpPr>
            <a:spLocks noGrp="1"/>
          </p:cNvSpPr>
          <p:nvPr>
            <p:ph type="body" sz="quarter" idx="19"/>
          </p:nvPr>
        </p:nvSpPr>
        <p:spPr>
          <a:xfrm>
            <a:off x="1172386" y="327458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6" name="Text Placeholder 17"/>
          <p:cNvSpPr>
            <a:spLocks noGrp="1"/>
          </p:cNvSpPr>
          <p:nvPr>
            <p:ph type="body" sz="quarter" idx="20" hasCustomPrompt="1"/>
          </p:nvPr>
        </p:nvSpPr>
        <p:spPr>
          <a:xfrm>
            <a:off x="575614" y="3272629"/>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575614" y="392171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18" name="Text Placeholder 17"/>
          <p:cNvSpPr>
            <a:spLocks noGrp="1"/>
          </p:cNvSpPr>
          <p:nvPr>
            <p:ph type="body" sz="quarter" idx="21"/>
          </p:nvPr>
        </p:nvSpPr>
        <p:spPr>
          <a:xfrm>
            <a:off x="1172387" y="3921717"/>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9" name="Text Placeholder 17"/>
          <p:cNvSpPr>
            <a:spLocks noGrp="1"/>
          </p:cNvSpPr>
          <p:nvPr>
            <p:ph type="body" sz="quarter" idx="22" hasCustomPrompt="1"/>
          </p:nvPr>
        </p:nvSpPr>
        <p:spPr>
          <a:xfrm>
            <a:off x="575615" y="3919764"/>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cSld>
  <p:clrMapOvr>
    <a:masterClrMapping/>
  </p:clrMapOvr>
  <p:transition spd="slow">
    <p:wip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userDrawn="1"/>
        </p:nvSpPr>
        <p:spPr>
          <a:xfrm>
            <a:off x="575612" y="1979319"/>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15" name="Oval 14"/>
          <p:cNvSpPr/>
          <p:nvPr userDrawn="1"/>
        </p:nvSpPr>
        <p:spPr>
          <a:xfrm>
            <a:off x="575611" y="132892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22" name="Oval 21"/>
          <p:cNvSpPr/>
          <p:nvPr userDrawn="1"/>
        </p:nvSpPr>
        <p:spPr>
          <a:xfrm>
            <a:off x="575612" y="26274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24" name="Text Placeholder 17"/>
          <p:cNvSpPr>
            <a:spLocks noGrp="1"/>
          </p:cNvSpPr>
          <p:nvPr>
            <p:ph type="body" sz="quarter" idx="13"/>
          </p:nvPr>
        </p:nvSpPr>
        <p:spPr>
          <a:xfrm>
            <a:off x="1172384" y="1334843"/>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5" name="Text Placeholder 17"/>
          <p:cNvSpPr>
            <a:spLocks noGrp="1"/>
          </p:cNvSpPr>
          <p:nvPr>
            <p:ph type="body" sz="quarter" idx="14"/>
          </p:nvPr>
        </p:nvSpPr>
        <p:spPr>
          <a:xfrm>
            <a:off x="1172385" y="198456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6" name="Text Placeholder 17"/>
          <p:cNvSpPr>
            <a:spLocks noGrp="1"/>
          </p:cNvSpPr>
          <p:nvPr>
            <p:ph type="body" sz="quarter" idx="15"/>
          </p:nvPr>
        </p:nvSpPr>
        <p:spPr>
          <a:xfrm>
            <a:off x="1172385" y="2627447"/>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7" name="Text Placeholder 17"/>
          <p:cNvSpPr>
            <a:spLocks noGrp="1"/>
          </p:cNvSpPr>
          <p:nvPr>
            <p:ph type="body" sz="quarter" idx="16" hasCustomPrompt="1"/>
          </p:nvPr>
        </p:nvSpPr>
        <p:spPr>
          <a:xfrm>
            <a:off x="575612" y="1327522"/>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2" y="1979319"/>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3" y="2625494"/>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575613" y="32745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14" name="Text Placeholder 17"/>
          <p:cNvSpPr>
            <a:spLocks noGrp="1"/>
          </p:cNvSpPr>
          <p:nvPr>
            <p:ph type="body" sz="quarter" idx="19"/>
          </p:nvPr>
        </p:nvSpPr>
        <p:spPr>
          <a:xfrm>
            <a:off x="1172386" y="327458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6" name="Text Placeholder 17"/>
          <p:cNvSpPr>
            <a:spLocks noGrp="1"/>
          </p:cNvSpPr>
          <p:nvPr>
            <p:ph type="body" sz="quarter" idx="20" hasCustomPrompt="1"/>
          </p:nvPr>
        </p:nvSpPr>
        <p:spPr>
          <a:xfrm>
            <a:off x="575614" y="3272629"/>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575614" y="392171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4000" dirty="0">
              <a:ln>
                <a:solidFill>
                  <a:srgbClr val="049CD4"/>
                </a:solidFill>
              </a:ln>
              <a:solidFill>
                <a:srgbClr val="049CD4"/>
              </a:solidFill>
              <a:cs typeface="Arial"/>
            </a:endParaRPr>
          </a:p>
        </p:txBody>
      </p:sp>
      <p:sp>
        <p:nvSpPr>
          <p:cNvPr id="18" name="Text Placeholder 17"/>
          <p:cNvSpPr>
            <a:spLocks noGrp="1"/>
          </p:cNvSpPr>
          <p:nvPr>
            <p:ph type="body" sz="quarter" idx="21"/>
          </p:nvPr>
        </p:nvSpPr>
        <p:spPr>
          <a:xfrm>
            <a:off x="1172387" y="3921717"/>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9" name="Text Placeholder 17"/>
          <p:cNvSpPr>
            <a:spLocks noGrp="1"/>
          </p:cNvSpPr>
          <p:nvPr>
            <p:ph type="body" sz="quarter" idx="22" hasCustomPrompt="1"/>
          </p:nvPr>
        </p:nvSpPr>
        <p:spPr>
          <a:xfrm>
            <a:off x="575615" y="3919764"/>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cSld>
  <p:clrMapOvr>
    <a:masterClrMapping/>
  </p:clrMapOvr>
  <p:transition spd="slow">
    <p:wip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12" name="Oval 11"/>
          <p:cNvSpPr/>
          <p:nvPr userDrawn="1"/>
        </p:nvSpPr>
        <p:spPr>
          <a:xfrm>
            <a:off x="575612" y="1979319"/>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15" name="Oval 14"/>
          <p:cNvSpPr/>
          <p:nvPr userDrawn="1"/>
        </p:nvSpPr>
        <p:spPr>
          <a:xfrm>
            <a:off x="575611" y="132892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22" name="Oval 21"/>
          <p:cNvSpPr/>
          <p:nvPr userDrawn="1"/>
        </p:nvSpPr>
        <p:spPr>
          <a:xfrm>
            <a:off x="575612" y="26274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24" name="Text Placeholder 17"/>
          <p:cNvSpPr>
            <a:spLocks noGrp="1"/>
          </p:cNvSpPr>
          <p:nvPr>
            <p:ph type="body" sz="quarter" idx="13"/>
          </p:nvPr>
        </p:nvSpPr>
        <p:spPr>
          <a:xfrm>
            <a:off x="1172385" y="1334843"/>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5" name="Text Placeholder 17"/>
          <p:cNvSpPr>
            <a:spLocks noGrp="1"/>
          </p:cNvSpPr>
          <p:nvPr>
            <p:ph type="body" sz="quarter" idx="14"/>
          </p:nvPr>
        </p:nvSpPr>
        <p:spPr>
          <a:xfrm>
            <a:off x="1172385" y="198456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6" name="Text Placeholder 17"/>
          <p:cNvSpPr>
            <a:spLocks noGrp="1"/>
          </p:cNvSpPr>
          <p:nvPr>
            <p:ph type="body" sz="quarter" idx="15"/>
          </p:nvPr>
        </p:nvSpPr>
        <p:spPr>
          <a:xfrm>
            <a:off x="1172385" y="26274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27" name="Text Placeholder 17"/>
          <p:cNvSpPr>
            <a:spLocks noGrp="1"/>
          </p:cNvSpPr>
          <p:nvPr>
            <p:ph type="body" sz="quarter" idx="16" hasCustomPrompt="1"/>
          </p:nvPr>
        </p:nvSpPr>
        <p:spPr>
          <a:xfrm>
            <a:off x="575612" y="1327522"/>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2" y="197931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3" y="26254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575613" y="32745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14" name="Text Placeholder 17"/>
          <p:cNvSpPr>
            <a:spLocks noGrp="1"/>
          </p:cNvSpPr>
          <p:nvPr>
            <p:ph type="body" sz="quarter" idx="19"/>
          </p:nvPr>
        </p:nvSpPr>
        <p:spPr>
          <a:xfrm>
            <a:off x="1172387" y="32745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6" name="Text Placeholder 17"/>
          <p:cNvSpPr>
            <a:spLocks noGrp="1"/>
          </p:cNvSpPr>
          <p:nvPr>
            <p:ph type="body" sz="quarter" idx="20" hasCustomPrompt="1"/>
          </p:nvPr>
        </p:nvSpPr>
        <p:spPr>
          <a:xfrm>
            <a:off x="575614" y="32726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575614" y="392171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18" name="Text Placeholder 17"/>
          <p:cNvSpPr>
            <a:spLocks noGrp="1"/>
          </p:cNvSpPr>
          <p:nvPr>
            <p:ph type="body" sz="quarter" idx="21"/>
          </p:nvPr>
        </p:nvSpPr>
        <p:spPr>
          <a:xfrm>
            <a:off x="1172388" y="392171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19" name="Text Placeholder 17"/>
          <p:cNvSpPr>
            <a:spLocks noGrp="1"/>
          </p:cNvSpPr>
          <p:nvPr>
            <p:ph type="body" sz="quarter" idx="22" hasCustomPrompt="1"/>
          </p:nvPr>
        </p:nvSpPr>
        <p:spPr>
          <a:xfrm>
            <a:off x="575615" y="391976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userDrawn="1"/>
        </p:nvSpPr>
        <p:spPr>
          <a:xfrm>
            <a:off x="4414577" y="1983085"/>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21" name="Oval 20"/>
          <p:cNvSpPr/>
          <p:nvPr userDrawn="1"/>
        </p:nvSpPr>
        <p:spPr>
          <a:xfrm>
            <a:off x="4414576" y="133269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23" name="Oval 22"/>
          <p:cNvSpPr/>
          <p:nvPr userDrawn="1"/>
        </p:nvSpPr>
        <p:spPr>
          <a:xfrm>
            <a:off x="4414577" y="263121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30" name="Text Placeholder 17"/>
          <p:cNvSpPr>
            <a:spLocks noGrp="1"/>
          </p:cNvSpPr>
          <p:nvPr>
            <p:ph type="body" sz="quarter" idx="23"/>
          </p:nvPr>
        </p:nvSpPr>
        <p:spPr>
          <a:xfrm>
            <a:off x="5011350" y="1338609"/>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31" name="Text Placeholder 17"/>
          <p:cNvSpPr>
            <a:spLocks noGrp="1"/>
          </p:cNvSpPr>
          <p:nvPr>
            <p:ph type="body" sz="quarter" idx="24"/>
          </p:nvPr>
        </p:nvSpPr>
        <p:spPr>
          <a:xfrm>
            <a:off x="5011350" y="198832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32" name="Text Placeholder 17"/>
          <p:cNvSpPr>
            <a:spLocks noGrp="1"/>
          </p:cNvSpPr>
          <p:nvPr>
            <p:ph type="body" sz="quarter" idx="25"/>
          </p:nvPr>
        </p:nvSpPr>
        <p:spPr>
          <a:xfrm>
            <a:off x="5011350" y="2631213"/>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33" name="Text Placeholder 17"/>
          <p:cNvSpPr>
            <a:spLocks noGrp="1"/>
          </p:cNvSpPr>
          <p:nvPr>
            <p:ph type="body" sz="quarter" idx="26" hasCustomPrompt="1"/>
          </p:nvPr>
        </p:nvSpPr>
        <p:spPr>
          <a:xfrm>
            <a:off x="4414577" y="133128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4414577" y="1983085"/>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4414578" y="2629260"/>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userDrawn="1"/>
        </p:nvSpPr>
        <p:spPr>
          <a:xfrm>
            <a:off x="4414578" y="327834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37" name="Text Placeholder 17"/>
          <p:cNvSpPr>
            <a:spLocks noGrp="1"/>
          </p:cNvSpPr>
          <p:nvPr>
            <p:ph type="body" sz="quarter" idx="29"/>
          </p:nvPr>
        </p:nvSpPr>
        <p:spPr>
          <a:xfrm>
            <a:off x="5011351" y="327834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38" name="Text Placeholder 17"/>
          <p:cNvSpPr>
            <a:spLocks noGrp="1"/>
          </p:cNvSpPr>
          <p:nvPr>
            <p:ph type="body" sz="quarter" idx="30" hasCustomPrompt="1"/>
          </p:nvPr>
        </p:nvSpPr>
        <p:spPr>
          <a:xfrm>
            <a:off x="4414579" y="3276395"/>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userDrawn="1"/>
        </p:nvSpPr>
        <p:spPr>
          <a:xfrm>
            <a:off x="4414579" y="392548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40" name="Text Placeholder 17"/>
          <p:cNvSpPr>
            <a:spLocks noGrp="1"/>
          </p:cNvSpPr>
          <p:nvPr>
            <p:ph type="body" sz="quarter" idx="31"/>
          </p:nvPr>
        </p:nvSpPr>
        <p:spPr>
          <a:xfrm>
            <a:off x="5011353" y="3925483"/>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41" name="Text Placeholder 17"/>
          <p:cNvSpPr>
            <a:spLocks noGrp="1"/>
          </p:cNvSpPr>
          <p:nvPr>
            <p:ph type="body" sz="quarter" idx="32" hasCustomPrompt="1"/>
          </p:nvPr>
        </p:nvSpPr>
        <p:spPr>
          <a:xfrm>
            <a:off x="4414580" y="3923530"/>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cSld>
  <p:clrMapOvr>
    <a:masterClrMapping/>
  </p:clrMapOvr>
  <p:transition spd="slow">
    <p:wip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t>Click to edit Master title style</a:t>
            </a:r>
          </a:p>
        </p:txBody>
      </p:sp>
      <p:sp>
        <p:nvSpPr>
          <p:cNvPr id="42" name="Oval 41"/>
          <p:cNvSpPr/>
          <p:nvPr userDrawn="1"/>
        </p:nvSpPr>
        <p:spPr>
          <a:xfrm>
            <a:off x="575612" y="1979319"/>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43" name="Oval 42"/>
          <p:cNvSpPr/>
          <p:nvPr userDrawn="1"/>
        </p:nvSpPr>
        <p:spPr>
          <a:xfrm>
            <a:off x="575611" y="1328928"/>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FFFFFF"/>
              </a:solidFill>
              <a:cs typeface="Arial"/>
            </a:endParaRPr>
          </a:p>
        </p:txBody>
      </p:sp>
      <p:sp>
        <p:nvSpPr>
          <p:cNvPr id="44" name="Oval 43"/>
          <p:cNvSpPr/>
          <p:nvPr userDrawn="1"/>
        </p:nvSpPr>
        <p:spPr>
          <a:xfrm>
            <a:off x="575612" y="26274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45" name="Text Placeholder 17"/>
          <p:cNvSpPr>
            <a:spLocks noGrp="1"/>
          </p:cNvSpPr>
          <p:nvPr>
            <p:ph type="body" sz="quarter" idx="13"/>
          </p:nvPr>
        </p:nvSpPr>
        <p:spPr>
          <a:xfrm>
            <a:off x="1172385" y="1334843"/>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46" name="Text Placeholder 17"/>
          <p:cNvSpPr>
            <a:spLocks noGrp="1"/>
          </p:cNvSpPr>
          <p:nvPr>
            <p:ph type="body" sz="quarter" idx="14"/>
          </p:nvPr>
        </p:nvSpPr>
        <p:spPr>
          <a:xfrm>
            <a:off x="1172385" y="198456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47" name="Text Placeholder 17"/>
          <p:cNvSpPr>
            <a:spLocks noGrp="1"/>
          </p:cNvSpPr>
          <p:nvPr>
            <p:ph type="body" sz="quarter" idx="15"/>
          </p:nvPr>
        </p:nvSpPr>
        <p:spPr>
          <a:xfrm>
            <a:off x="1172385" y="26274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48" name="Text Placeholder 17"/>
          <p:cNvSpPr>
            <a:spLocks noGrp="1"/>
          </p:cNvSpPr>
          <p:nvPr>
            <p:ph type="body" sz="quarter" idx="16" hasCustomPrompt="1"/>
          </p:nvPr>
        </p:nvSpPr>
        <p:spPr>
          <a:xfrm>
            <a:off x="575612" y="1327522"/>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575612" y="197931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575613" y="26254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userDrawn="1"/>
        </p:nvSpPr>
        <p:spPr>
          <a:xfrm>
            <a:off x="575613" y="32745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52" name="Text Placeholder 17"/>
          <p:cNvSpPr>
            <a:spLocks noGrp="1"/>
          </p:cNvSpPr>
          <p:nvPr>
            <p:ph type="body" sz="quarter" idx="19"/>
          </p:nvPr>
        </p:nvSpPr>
        <p:spPr>
          <a:xfrm>
            <a:off x="1172387" y="32745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53" name="Text Placeholder 17"/>
          <p:cNvSpPr>
            <a:spLocks noGrp="1"/>
          </p:cNvSpPr>
          <p:nvPr>
            <p:ph type="body" sz="quarter" idx="20" hasCustomPrompt="1"/>
          </p:nvPr>
        </p:nvSpPr>
        <p:spPr>
          <a:xfrm>
            <a:off x="575614" y="32726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userDrawn="1"/>
        </p:nvSpPr>
        <p:spPr>
          <a:xfrm>
            <a:off x="575614" y="392171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55" name="Text Placeholder 17"/>
          <p:cNvSpPr>
            <a:spLocks noGrp="1"/>
          </p:cNvSpPr>
          <p:nvPr>
            <p:ph type="body" sz="quarter" idx="21"/>
          </p:nvPr>
        </p:nvSpPr>
        <p:spPr>
          <a:xfrm>
            <a:off x="1172388" y="392171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56" name="Text Placeholder 17"/>
          <p:cNvSpPr>
            <a:spLocks noGrp="1"/>
          </p:cNvSpPr>
          <p:nvPr>
            <p:ph type="body" sz="quarter" idx="22" hasCustomPrompt="1"/>
          </p:nvPr>
        </p:nvSpPr>
        <p:spPr>
          <a:xfrm>
            <a:off x="575615" y="391976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userDrawn="1"/>
        </p:nvSpPr>
        <p:spPr>
          <a:xfrm>
            <a:off x="4414577" y="1983085"/>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58" name="Oval 57"/>
          <p:cNvSpPr/>
          <p:nvPr userDrawn="1"/>
        </p:nvSpPr>
        <p:spPr>
          <a:xfrm>
            <a:off x="4414576" y="133269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59" name="Oval 58"/>
          <p:cNvSpPr/>
          <p:nvPr userDrawn="1"/>
        </p:nvSpPr>
        <p:spPr>
          <a:xfrm>
            <a:off x="4414577" y="263121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60" name="Text Placeholder 17"/>
          <p:cNvSpPr>
            <a:spLocks noGrp="1"/>
          </p:cNvSpPr>
          <p:nvPr>
            <p:ph type="body" sz="quarter" idx="23"/>
          </p:nvPr>
        </p:nvSpPr>
        <p:spPr>
          <a:xfrm>
            <a:off x="5011350" y="1338609"/>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61" name="Text Placeholder 17"/>
          <p:cNvSpPr>
            <a:spLocks noGrp="1"/>
          </p:cNvSpPr>
          <p:nvPr>
            <p:ph type="body" sz="quarter" idx="24"/>
          </p:nvPr>
        </p:nvSpPr>
        <p:spPr>
          <a:xfrm>
            <a:off x="5011350" y="198832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62" name="Text Placeholder 17"/>
          <p:cNvSpPr>
            <a:spLocks noGrp="1"/>
          </p:cNvSpPr>
          <p:nvPr>
            <p:ph type="body" sz="quarter" idx="25"/>
          </p:nvPr>
        </p:nvSpPr>
        <p:spPr>
          <a:xfrm>
            <a:off x="5011350" y="2631213"/>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63" name="Text Placeholder 17"/>
          <p:cNvSpPr>
            <a:spLocks noGrp="1"/>
          </p:cNvSpPr>
          <p:nvPr>
            <p:ph type="body" sz="quarter" idx="26" hasCustomPrompt="1"/>
          </p:nvPr>
        </p:nvSpPr>
        <p:spPr>
          <a:xfrm>
            <a:off x="4414577" y="133128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4414577" y="1983085"/>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4414578" y="2629260"/>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userDrawn="1"/>
        </p:nvSpPr>
        <p:spPr>
          <a:xfrm>
            <a:off x="4414578" y="327834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67" name="Text Placeholder 17"/>
          <p:cNvSpPr>
            <a:spLocks noGrp="1"/>
          </p:cNvSpPr>
          <p:nvPr>
            <p:ph type="body" sz="quarter" idx="29"/>
          </p:nvPr>
        </p:nvSpPr>
        <p:spPr>
          <a:xfrm>
            <a:off x="5011351" y="327834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68" name="Text Placeholder 17"/>
          <p:cNvSpPr>
            <a:spLocks noGrp="1"/>
          </p:cNvSpPr>
          <p:nvPr>
            <p:ph type="body" sz="quarter" idx="30" hasCustomPrompt="1"/>
          </p:nvPr>
        </p:nvSpPr>
        <p:spPr>
          <a:xfrm>
            <a:off x="4414579" y="3276395"/>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userDrawn="1"/>
        </p:nvSpPr>
        <p:spPr>
          <a:xfrm>
            <a:off x="4414579" y="392548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defTabSz="685800" fontAlgn="auto">
              <a:spcBef>
                <a:spcPts val="0"/>
              </a:spcBef>
              <a:spcAft>
                <a:spcPts val="0"/>
              </a:spcAft>
            </a:pPr>
            <a:endParaRPr lang="en-US" sz="2000" dirty="0">
              <a:ln>
                <a:solidFill>
                  <a:srgbClr val="049CD4"/>
                </a:solidFill>
              </a:ln>
              <a:solidFill>
                <a:srgbClr val="049CD4"/>
              </a:solidFill>
              <a:cs typeface="Arial"/>
            </a:endParaRPr>
          </a:p>
        </p:txBody>
      </p:sp>
      <p:sp>
        <p:nvSpPr>
          <p:cNvPr id="70" name="Text Placeholder 17"/>
          <p:cNvSpPr>
            <a:spLocks noGrp="1"/>
          </p:cNvSpPr>
          <p:nvPr>
            <p:ph type="body" sz="quarter" idx="31"/>
          </p:nvPr>
        </p:nvSpPr>
        <p:spPr>
          <a:xfrm>
            <a:off x="5011353" y="3925483"/>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Edit Master text styles</a:t>
            </a:r>
          </a:p>
        </p:txBody>
      </p:sp>
      <p:sp>
        <p:nvSpPr>
          <p:cNvPr id="71" name="Text Placeholder 17"/>
          <p:cNvSpPr>
            <a:spLocks noGrp="1"/>
          </p:cNvSpPr>
          <p:nvPr>
            <p:ph type="body" sz="quarter" idx="32" hasCustomPrompt="1"/>
          </p:nvPr>
        </p:nvSpPr>
        <p:spPr>
          <a:xfrm>
            <a:off x="4414580" y="3923530"/>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cSld>
  <p:clrMapOvr>
    <a:masterClrMapping/>
  </p:clrMapOvr>
  <p:transition spd="slow">
    <p:wip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6" name="Text Placeholder 2"/>
          <p:cNvSpPr>
            <a:spLocks noGrp="1"/>
          </p:cNvSpPr>
          <p:nvPr>
            <p:ph type="body" sz="quarter" idx="11"/>
          </p:nvPr>
        </p:nvSpPr>
        <p:spPr bwMode="auto">
          <a:xfrm>
            <a:off x="500064" y="3476648"/>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796" indent="0">
              <a:lnSpc>
                <a:spcPts val="3680"/>
              </a:lnSpc>
              <a:spcBef>
                <a:spcPts val="0"/>
              </a:spcBef>
              <a:buNone/>
              <a:defRPr sz="2400" i="1">
                <a:solidFill>
                  <a:schemeClr val="tx2"/>
                </a:solidFill>
              </a:defRPr>
            </a:lvl1pPr>
          </a:lstStyle>
          <a:p>
            <a:pPr lvl="0"/>
            <a:r>
              <a:rPr lang="en-US"/>
              <a:t>Edit Master text styles</a:t>
            </a:r>
          </a:p>
        </p:txBody>
      </p:sp>
    </p:spTree>
    <p:extLst/>
  </p:cSld>
  <p:clrMapOvr>
    <a:masterClrMapping/>
  </p:clrMapOvr>
  <p:transition spd="med">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4" y="301038"/>
            <a:ext cx="8563172" cy="2542175"/>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
        <p:nvSpPr>
          <p:cNvPr id="4" name="Text Placeholder 3"/>
          <p:cNvSpPr>
            <a:spLocks noGrp="1"/>
          </p:cNvSpPr>
          <p:nvPr>
            <p:ph type="body" sz="quarter" idx="11"/>
          </p:nvPr>
        </p:nvSpPr>
        <p:spPr>
          <a:xfrm>
            <a:off x="448786" y="3054518"/>
            <a:ext cx="8364236" cy="560153"/>
          </a:xfrm>
          <a:prstGeom prst="rect">
            <a:avLst/>
          </a:prstGeom>
        </p:spPr>
        <p:txBody>
          <a:bodyPr vert="horz" wrap="square">
            <a:spAutoFit/>
          </a:bodyPr>
          <a:lstStyle>
            <a:lvl1pPr marL="0" indent="0">
              <a:buNone/>
              <a:defRPr sz="3200" baseline="0">
                <a:solidFill>
                  <a:srgbClr val="58585B"/>
                </a:solidFill>
              </a:defRPr>
            </a:lvl1pPr>
          </a:lstStyle>
          <a:p>
            <a:pPr lvl="0"/>
            <a:r>
              <a:rPr lang="en-US"/>
              <a:t>Edit Master text styles</a:t>
            </a:r>
          </a:p>
        </p:txBody>
      </p:sp>
    </p:spTree>
    <p:extLst/>
  </p:cSld>
  <p:clrMapOvr>
    <a:masterClrMapping/>
  </p:clrMapOvr>
  <p:transition spd="med">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4" y="4629151"/>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aseline="0">
                <a:solidFill>
                  <a:schemeClr val="tx2"/>
                </a:solidFill>
                <a:latin typeface="+mn-lt"/>
                <a:cs typeface="CiscoSans ExtraLight"/>
              </a:defRPr>
            </a:lvl1pPr>
          </a:lstStyle>
          <a:p>
            <a:pPr lvl="0"/>
            <a:r>
              <a:rPr lang="en-US" noProof="0"/>
              <a:t>Click icon to add picture</a:t>
            </a:r>
            <a:endParaRPr lang="en-US" noProof="0" dirty="0"/>
          </a:p>
        </p:txBody>
      </p:sp>
    </p:spTree>
    <p:extLst/>
  </p:cSld>
  <p:clrMapOvr>
    <a:masterClrMapping/>
  </p:clrMapOvr>
  <p:transition spd="med">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8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ext uri="{BB962C8B-B14F-4D97-AF65-F5344CB8AC3E}">
        <p14:creationId xmlns:p14="http://schemas.microsoft.com/office/powerpoint/2010/main" val="3820195981"/>
      </p:ext>
    </p:extLst>
  </p:cSld>
  <p:clrMapOvr>
    <a:masterClrMapping/>
  </p:clrMapOvr>
  <p:transition spd="med">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20_Full bleed photo">
    <p:spTree>
      <p:nvGrpSpPr>
        <p:cNvPr id="1" name=""/>
        <p:cNvGrpSpPr/>
        <p:nvPr/>
      </p:nvGrpSpPr>
      <p:grpSpPr>
        <a:xfrm>
          <a:off x="0" y="0"/>
          <a:ext cx="0" cy="0"/>
          <a:chOff x="0" y="0"/>
          <a:chExt cx="0" cy="0"/>
        </a:xfrm>
      </p:grpSpPr>
      <p:pic>
        <p:nvPicPr>
          <p:cNvPr id="3" name="Picture Placeholder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 y="0"/>
            <a:ext cx="9147175" cy="5143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7"/>
          <p:cNvSpPr>
            <a:spLocks noChangeArrowheads="1"/>
          </p:cNvSpPr>
          <p:nvPr/>
        </p:nvSpPr>
        <p:spPr bwMode="ltGray">
          <a:xfrm>
            <a:off x="8515169" y="4742908"/>
            <a:ext cx="218953" cy="154518"/>
          </a:xfrm>
          <a:prstGeom prst="rect">
            <a:avLst/>
          </a:prstGeom>
          <a:noFill/>
          <a:ln w="9525" algn="ctr">
            <a:noFill/>
            <a:miter lim="800000"/>
            <a:headEnd/>
            <a:tailEnd/>
          </a:ln>
          <a:effectLst/>
        </p:spPr>
        <p:txBody>
          <a:bodyPr wrap="none" lIns="61586" tIns="30792" rIns="61586" bIns="30792" anchor="b">
            <a:spAutoFit/>
          </a:bodyPr>
          <a:lstStyle/>
          <a:p>
            <a:pPr algn="r" defTabSz="610729" fontAlgn="auto">
              <a:spcBef>
                <a:spcPts val="0"/>
              </a:spcBef>
              <a:spcAft>
                <a:spcPts val="0"/>
              </a:spcAft>
              <a:defRPr/>
            </a:pPr>
            <a:fld id="{E6ADCC75-5E05-4D7E-970D-6B4505B4F777}" type="slidenum">
              <a:rPr lang="en-US" sz="600">
                <a:solidFill>
                  <a:srgbClr val="FFFFFF">
                    <a:alpha val="60000"/>
                  </a:srgbClr>
                </a:solidFill>
                <a:latin typeface="Arial"/>
                <a:ea typeface=""/>
                <a:cs typeface="CiscoSans Thin"/>
              </a:rPr>
              <a:pPr algn="r" defTabSz="610729"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6" name="Rectangle 4"/>
          <p:cNvSpPr>
            <a:spLocks noChangeArrowheads="1"/>
          </p:cNvSpPr>
          <p:nvPr/>
        </p:nvSpPr>
        <p:spPr bwMode="ltGray">
          <a:xfrm>
            <a:off x="5867508" y="4741655"/>
            <a:ext cx="2658018" cy="154518"/>
          </a:xfrm>
          <a:prstGeom prst="rect">
            <a:avLst/>
          </a:prstGeom>
          <a:noFill/>
          <a:ln w="9525">
            <a:noFill/>
            <a:miter lim="800000"/>
            <a:headEnd/>
            <a:tailEnd/>
          </a:ln>
          <a:effectLst/>
        </p:spPr>
        <p:txBody>
          <a:bodyPr lIns="61586" tIns="30792" rIns="61586" bIns="30792" anchor="b">
            <a:spAutoFit/>
          </a:bodyPr>
          <a:lstStyle/>
          <a:p>
            <a:pPr defTabSz="610729" fontAlgn="auto">
              <a:spcBef>
                <a:spcPts val="0"/>
              </a:spcBef>
              <a:spcAft>
                <a:spcPts val="0"/>
              </a:spcAft>
              <a:defRPr/>
            </a:pPr>
            <a:r>
              <a:rPr lang="en-US" sz="600" dirty="0">
                <a:solidFill>
                  <a:srgbClr val="FFFFFF">
                    <a:alpha val="60000"/>
                  </a:srgbClr>
                </a:solidFill>
                <a:latin typeface="Arial"/>
                <a:ea typeface=""/>
                <a:cs typeface="CiscoSans Thin"/>
              </a:rPr>
              <a:t>© 2016  Cisco and/or its affiliates. All rights reserved.   Cisco Confidential</a:t>
            </a:r>
          </a:p>
        </p:txBody>
      </p:sp>
      <p:sp>
        <p:nvSpPr>
          <p:cNvPr id="14" name="Text Placeholder 2"/>
          <p:cNvSpPr>
            <a:spLocks noGrp="1"/>
          </p:cNvSpPr>
          <p:nvPr>
            <p:ph type="body" sz="quarter" idx="12"/>
          </p:nvPr>
        </p:nvSpPr>
        <p:spPr bwMode="auto">
          <a:xfrm>
            <a:off x="500064" y="3466599"/>
            <a:ext cx="8139112" cy="521510"/>
          </a:xfrm>
          <a:prstGeom prst="rect">
            <a:avLst/>
          </a:prstGeom>
          <a:solidFill>
            <a:schemeClr val="bg1">
              <a:alpha val="70000"/>
            </a:schemeClr>
          </a:solidFill>
          <a:extLst/>
        </p:spPr>
        <p:txBody>
          <a:bodyPr wrap="square" lIns="108000" tIns="0" rIns="91440" bIns="45720" numCol="1" anchor="b" anchorCtr="0" compatLnSpc="1">
            <a:prstTxWarp prst="textNoShape">
              <a:avLst/>
            </a:prstTxWarp>
            <a:spAutoFit/>
          </a:bodyPr>
          <a:lstStyle>
            <a:lvl1pPr marL="172796" indent="-179996">
              <a:lnSpc>
                <a:spcPts val="3680"/>
              </a:lnSpc>
              <a:spcBef>
                <a:spcPts val="0"/>
              </a:spcBef>
              <a:buNone/>
              <a:defRPr sz="3200" i="1">
                <a:solidFill>
                  <a:schemeClr val="tx2"/>
                </a:solidFill>
              </a:defRPr>
            </a:lvl1pPr>
          </a:lstStyle>
          <a:p>
            <a:pPr lvl="0"/>
            <a:r>
              <a:rPr lang="en-US"/>
              <a:t>Edit Master text styles</a:t>
            </a:r>
          </a:p>
        </p:txBody>
      </p:sp>
      <p:pic>
        <p:nvPicPr>
          <p:cNvPr id="11" name="Picture 2"/>
          <p:cNvPicPr>
            <a:picLocks noChangeAspect="1" noChangeArrowheads="1"/>
          </p:cNvPicPr>
          <p:nvPr userDrawn="1"/>
        </p:nvPicPr>
        <p:blipFill>
          <a:blip r:embed="rId3">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cSld>
  <p:clrMapOvr>
    <a:masterClrMapping/>
  </p:clrMapOvr>
  <p:transition spd="med">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2"/>
            <a:ext cx="8480388" cy="4266646"/>
          </a:xfrm>
          <a:prstGeom prst="rect">
            <a:avLst/>
          </a:prstGeom>
        </p:spPr>
        <p:txBody>
          <a:bodyPr vert="horz" lIns="91424" tIns="45712" rIns="91424" bIns="45712"/>
          <a:lstStyle>
            <a:lvl1pPr marL="0" indent="0" algn="ctr">
              <a:buNone/>
              <a:defRPr sz="1500" baseline="0">
                <a:solidFill>
                  <a:schemeClr val="tx2"/>
                </a:solidFill>
                <a:latin typeface="+mn-lt"/>
                <a:cs typeface="CiscoSans ExtraLight"/>
              </a:defRPr>
            </a:lvl1pPr>
          </a:lstStyle>
          <a:p>
            <a:pPr lvl="0"/>
            <a:r>
              <a:rPr lang="en-US" noProof="0"/>
              <a:t>Click icon to add picture</a:t>
            </a:r>
            <a:endParaRPr lang="en-US" noProof="0" dirty="0"/>
          </a:p>
        </p:txBody>
      </p:sp>
    </p:spTree>
    <p:extLst/>
  </p:cSld>
  <p:clrMapOvr>
    <a:masterClrMapping/>
  </p:clrMapOvr>
  <p:transition spd="med">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1" y="596901"/>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685800" fontAlgn="auto">
              <a:spcBef>
                <a:spcPts val="0"/>
              </a:spcBef>
              <a:spcAft>
                <a:spcPts val="0"/>
              </a:spcAft>
              <a:defRPr/>
            </a:pPr>
            <a:endParaRPr lang="en-US" sz="1800">
              <a:solidFill>
                <a:srgbClr val="FFFFFF"/>
              </a:solidFill>
            </a:endParaRPr>
          </a:p>
        </p:txBody>
      </p:sp>
      <p:sp>
        <p:nvSpPr>
          <p:cNvPr id="5" name="Rectangle 4"/>
          <p:cNvSpPr/>
          <p:nvPr/>
        </p:nvSpPr>
        <p:spPr>
          <a:xfrm>
            <a:off x="1892301" y="3595689"/>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685800"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1900239"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11" name="Title 10"/>
          <p:cNvSpPr>
            <a:spLocks noGrp="1"/>
          </p:cNvSpPr>
          <p:nvPr>
            <p:ph type="title"/>
          </p:nvPr>
        </p:nvSpPr>
        <p:spPr>
          <a:xfrm>
            <a:off x="2065872" y="3655079"/>
            <a:ext cx="5074070" cy="628650"/>
          </a:xfrm>
        </p:spPr>
        <p:txBody>
          <a:bodyPr/>
          <a:lstStyle>
            <a:lvl1pPr>
              <a:defRPr sz="2000">
                <a:solidFill>
                  <a:schemeClr val="bg2"/>
                </a:solidFill>
                <a:latin typeface="+mj-lt"/>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6" y="233364"/>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685800"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60" rtl="0" eaLnBrk="1" latinLnBrk="0" hangingPunct="1">
              <a:lnSpc>
                <a:spcPct val="95000"/>
              </a:lnSpc>
              <a:spcBef>
                <a:spcPts val="1080"/>
              </a:spcBef>
              <a:buClr>
                <a:srgbClr val="92D050"/>
              </a:buClr>
              <a:buSzPct val="90000"/>
              <a:buFont typeface="Arial" pitchFamily="34" charset="0"/>
              <a:buNone/>
              <a:tabLst/>
              <a:defRPr lang="en-US" sz="1500" kern="1200" dirty="0">
                <a:solidFill>
                  <a:schemeClr val="tx1"/>
                </a:solidFill>
                <a:latin typeface="+mj-lt"/>
                <a:ea typeface="+mn-ea"/>
                <a:cs typeface="+mn-cs"/>
              </a:defRPr>
            </a:lvl1pPr>
          </a:lstStyle>
          <a:p>
            <a:pPr lvl="0"/>
            <a:r>
              <a:rPr lang="en-US" noProof="0"/>
              <a:t>Click icon to add picture</a:t>
            </a:r>
            <a:endParaRPr lang="en-US" noProof="0" dirty="0"/>
          </a:p>
        </p:txBody>
      </p:sp>
      <p:sp>
        <p:nvSpPr>
          <p:cNvPr id="9" name="Title 8"/>
          <p:cNvSpPr>
            <a:spLocks noGrp="1"/>
          </p:cNvSpPr>
          <p:nvPr>
            <p:ph type="title"/>
          </p:nvPr>
        </p:nvSpPr>
        <p:spPr>
          <a:xfrm>
            <a:off x="430936" y="2480694"/>
            <a:ext cx="6729865" cy="1614419"/>
          </a:xfrm>
        </p:spPr>
        <p:txBody>
          <a:bodyPr>
            <a:noAutofit/>
          </a:bodyPr>
          <a:lstStyle>
            <a:lvl1pPr marL="0" marR="0" indent="0" algn="l" defTabSz="685760" rtl="0" eaLnBrk="1" fontAlgn="auto" latinLnBrk="0" hangingPunct="1">
              <a:lnSpc>
                <a:spcPct val="80000"/>
              </a:lnSpc>
              <a:spcBef>
                <a:spcPct val="0"/>
              </a:spcBef>
              <a:spcAft>
                <a:spcPts val="0"/>
              </a:spcAft>
              <a:buClrTx/>
              <a:buSzTx/>
              <a:buFontTx/>
              <a:buNone/>
              <a:tabLst/>
              <a:defRPr sz="4500">
                <a:solidFill>
                  <a:schemeClr val="bg2"/>
                </a:solidFill>
                <a:latin typeface="+mj-lt"/>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1"/>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defTabSz="685800" fontAlgn="auto">
              <a:spcBef>
                <a:spcPts val="0"/>
              </a:spcBef>
              <a:spcAft>
                <a:spcPts val="0"/>
              </a:spcAft>
              <a:defRPr/>
            </a:pPr>
            <a:endParaRPr lang="en-US" sz="1800">
              <a:solidFill>
                <a:srgbClr val="FFFFFF"/>
              </a:solidFill>
            </a:endParaRPr>
          </a:p>
        </p:txBody>
      </p:sp>
      <p:sp>
        <p:nvSpPr>
          <p:cNvPr id="26" name="Picture Placeholder 25"/>
          <p:cNvSpPr>
            <a:spLocks noGrp="1"/>
          </p:cNvSpPr>
          <p:nvPr>
            <p:ph type="pic" sz="quarter" idx="10"/>
          </p:nvPr>
        </p:nvSpPr>
        <p:spPr>
          <a:xfrm>
            <a:off x="4992624" y="546735"/>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a:solidFill>
                  <a:schemeClr val="tx1"/>
                </a:solidFill>
                <a:latin typeface="+mj-lt"/>
              </a:defRPr>
            </a:lvl1pPr>
          </a:lstStyle>
          <a:p>
            <a:pPr lvl="0"/>
            <a:r>
              <a:rPr lang="en-US" noProof="0"/>
              <a:t>Click icon to add picture</a:t>
            </a:r>
            <a:endParaRPr lang="en-US" noProof="0" dirty="0"/>
          </a:p>
        </p:txBody>
      </p:sp>
      <p:sp>
        <p:nvSpPr>
          <p:cNvPr id="9" name="Title 8"/>
          <p:cNvSpPr>
            <a:spLocks noGrp="1"/>
          </p:cNvSpPr>
          <p:nvPr>
            <p:ph type="title"/>
          </p:nvPr>
        </p:nvSpPr>
        <p:spPr>
          <a:xfrm>
            <a:off x="437670" y="546735"/>
            <a:ext cx="4349918" cy="813985"/>
          </a:xfrm>
        </p:spPr>
        <p:txBody>
          <a:bodyPr wrap="none" anchor="t">
            <a:noAutofit/>
          </a:bodyPr>
          <a:lstStyle>
            <a:lvl1pPr>
              <a:lnSpc>
                <a:spcPct val="90000"/>
              </a:lnSpc>
              <a:defRPr sz="2500">
                <a:solidFill>
                  <a:srgbClr val="555558"/>
                </a:solidFill>
                <a:latin typeface="+mj-lt"/>
              </a:defRPr>
            </a:lvl1pPr>
          </a:lstStyle>
          <a:p>
            <a:r>
              <a:rPr lang="en-US"/>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4"/>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685800" fontAlgn="auto">
              <a:spcBef>
                <a:spcPts val="0"/>
              </a:spcBef>
              <a:spcAft>
                <a:spcPts val="0"/>
              </a:spcAft>
              <a:defRPr/>
            </a:pPr>
            <a:endParaRPr lang="en-US" sz="1800">
              <a:solidFill>
                <a:srgbClr val="FFFFFF"/>
              </a:solidFill>
              <a:latin typeface="CiscoSans"/>
              <a:cs typeface="CiscoSans"/>
            </a:endParaRPr>
          </a:p>
        </p:txBody>
      </p:sp>
      <p:sp>
        <p:nvSpPr>
          <p:cNvPr id="10" name="Rectangle 9"/>
          <p:cNvSpPr/>
          <p:nvPr/>
        </p:nvSpPr>
        <p:spPr>
          <a:xfrm>
            <a:off x="334963" y="233364"/>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685800" fontAlgn="auto">
              <a:spcBef>
                <a:spcPts val="0"/>
              </a:spcBef>
              <a:spcAft>
                <a:spcPts val="0"/>
              </a:spcAft>
              <a:defRPr/>
            </a:pPr>
            <a:endParaRPr lang="en-US" sz="1800">
              <a:solidFill>
                <a:srgbClr val="FFFFFF"/>
              </a:solidFill>
              <a:latin typeface="CiscoSans"/>
              <a:cs typeface="CiscoSans"/>
            </a:endParaRPr>
          </a:p>
        </p:txBody>
      </p:sp>
      <p:sp>
        <p:nvSpPr>
          <p:cNvPr id="11" name="Rectangle 10"/>
          <p:cNvSpPr/>
          <p:nvPr/>
        </p:nvSpPr>
        <p:spPr>
          <a:xfrm>
            <a:off x="6980239"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685800" fontAlgn="auto">
              <a:spcBef>
                <a:spcPts val="0"/>
              </a:spcBef>
              <a:spcAft>
                <a:spcPts val="0"/>
              </a:spcAft>
              <a:defRPr/>
            </a:pPr>
            <a:endParaRPr lang="en-US" sz="1800">
              <a:solidFill>
                <a:srgbClr val="FFFFFF"/>
              </a:solidFill>
              <a:latin typeface="CiscoSans"/>
              <a:cs typeface="CiscoSans"/>
            </a:endParaRPr>
          </a:p>
        </p:txBody>
      </p:sp>
      <p:sp>
        <p:nvSpPr>
          <p:cNvPr id="12" name="Rectangle 11"/>
          <p:cNvSpPr/>
          <p:nvPr/>
        </p:nvSpPr>
        <p:spPr>
          <a:xfrm>
            <a:off x="334964" y="2271714"/>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685800" fontAlgn="auto">
              <a:spcBef>
                <a:spcPts val="0"/>
              </a:spcBef>
              <a:spcAft>
                <a:spcPts val="0"/>
              </a:spcAft>
              <a:defRPr/>
            </a:pPr>
            <a:endParaRPr lang="en-US" sz="1800">
              <a:solidFill>
                <a:srgbClr val="FFFFFF"/>
              </a:solidFill>
              <a:latin typeface="CiscoSans"/>
              <a:cs typeface="CiscoSans"/>
            </a:endParaRPr>
          </a:p>
        </p:txBody>
      </p:sp>
      <p:sp>
        <p:nvSpPr>
          <p:cNvPr id="13" name="Rectangle 12"/>
          <p:cNvSpPr/>
          <p:nvPr/>
        </p:nvSpPr>
        <p:spPr>
          <a:xfrm>
            <a:off x="2911476" y="2271714"/>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685800" fontAlgn="auto">
              <a:spcBef>
                <a:spcPts val="0"/>
              </a:spcBef>
              <a:spcAft>
                <a:spcPts val="0"/>
              </a:spcAft>
              <a:defRPr/>
            </a:pPr>
            <a:endParaRPr lang="en-US" sz="1800">
              <a:solidFill>
                <a:srgbClr val="FFFFFF"/>
              </a:solidFill>
              <a:latin typeface="CiscoSans"/>
              <a:cs typeface="CiscoSans"/>
            </a:endParaRPr>
          </a:p>
        </p:txBody>
      </p:sp>
      <p:sp>
        <p:nvSpPr>
          <p:cNvPr id="14" name="Rectangle 13"/>
          <p:cNvSpPr/>
          <p:nvPr/>
        </p:nvSpPr>
        <p:spPr>
          <a:xfrm>
            <a:off x="6980239"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685800" fontAlgn="auto">
              <a:spcBef>
                <a:spcPts val="0"/>
              </a:spcBef>
              <a:spcAft>
                <a:spcPts val="0"/>
              </a:spcAft>
              <a:defRPr/>
            </a:pPr>
            <a:endParaRPr lang="en-US" sz="1800">
              <a:solidFill>
                <a:srgbClr val="FFFFFF"/>
              </a:solidFill>
              <a:latin typeface="CiscoSans"/>
              <a:cs typeface="CiscoSans"/>
            </a:endParaRPr>
          </a:p>
        </p:txBody>
      </p:sp>
      <p:sp>
        <p:nvSpPr>
          <p:cNvPr id="15" name="Rectangle 14"/>
          <p:cNvSpPr/>
          <p:nvPr/>
        </p:nvSpPr>
        <p:spPr>
          <a:xfrm>
            <a:off x="6980239"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defTabSz="685800" fontAlgn="auto">
              <a:spcBef>
                <a:spcPts val="0"/>
              </a:spcBef>
              <a:spcAft>
                <a:spcPts val="0"/>
              </a:spcAft>
              <a:defRPr/>
            </a:pPr>
            <a:endParaRPr lang="en-US" sz="1800">
              <a:solidFill>
                <a:srgbClr val="FFFFFF"/>
              </a:solidFill>
              <a:latin typeface="CiscoSans"/>
              <a:cs typeface="CiscoSans"/>
            </a:endParaRPr>
          </a:p>
        </p:txBody>
      </p:sp>
      <p:sp>
        <p:nvSpPr>
          <p:cNvPr id="49" name="Picture Placeholder 25"/>
          <p:cNvSpPr>
            <a:spLocks noGrp="1"/>
          </p:cNvSpPr>
          <p:nvPr>
            <p:ph type="pic" sz="quarter" idx="11"/>
          </p:nvPr>
        </p:nvSpPr>
        <p:spPr>
          <a:xfrm>
            <a:off x="3668996"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3" name="Picture Placeholder 25"/>
          <p:cNvSpPr>
            <a:spLocks noGrp="1"/>
          </p:cNvSpPr>
          <p:nvPr>
            <p:ph type="pic" sz="quarter" idx="13"/>
          </p:nvPr>
        </p:nvSpPr>
        <p:spPr>
          <a:xfrm>
            <a:off x="320824" y="2271719"/>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5" name="Picture Placeholder 25"/>
          <p:cNvSpPr>
            <a:spLocks noGrp="1"/>
          </p:cNvSpPr>
          <p:nvPr>
            <p:ph type="pic" sz="quarter" idx="14"/>
          </p:nvPr>
        </p:nvSpPr>
        <p:spPr>
          <a:xfrm>
            <a:off x="2908335" y="2271719"/>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mn-lt"/>
                <a:ea typeface="+mn-ea"/>
                <a:cs typeface="Broadway" panose="04040905080B02020502" pitchFamily="82" charset="0"/>
              </a:defRPr>
            </a:lvl1pPr>
          </a:lstStyle>
          <a:p>
            <a:pPr lvl="0"/>
            <a:r>
              <a:rPr lang="en-US" noProof="0"/>
              <a:t>Click icon to add picture</a:t>
            </a:r>
            <a:endParaRPr lang="en-US" noProof="0"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9"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400" kern="1200" baseline="0" smtClean="0">
                <a:solidFill>
                  <a:schemeClr val="lt1"/>
                </a:solidFill>
                <a:latin typeface="+mn-lt"/>
                <a:ea typeface="+mn-ea"/>
                <a:cs typeface="CiscoSans"/>
              </a:defRPr>
            </a:lvl1pPr>
          </a:lstStyle>
          <a:p>
            <a:pPr lvl="0"/>
            <a:r>
              <a:rPr lang="en-US" noProof="0"/>
              <a:t>Click icon to add media</a:t>
            </a:r>
            <a:endParaRPr lang="en-US" noProof="0"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31" rtl="0" eaLnBrk="1" latinLnBrk="0" hangingPunct="1">
              <a:lnSpc>
                <a:spcPct val="95000"/>
              </a:lnSpc>
              <a:spcBef>
                <a:spcPts val="1080"/>
              </a:spcBef>
              <a:buClr>
                <a:srgbClr val="92D050"/>
              </a:buClr>
              <a:buSzPct val="90000"/>
              <a:buFont typeface="Arial" pitchFamily="34" charset="0"/>
              <a:buNone/>
              <a:tabLst/>
              <a:defRPr lang="en-US" sz="1400" kern="1200">
                <a:solidFill>
                  <a:schemeClr val="lt1"/>
                </a:solidFill>
                <a:latin typeface="+mn-lt"/>
                <a:ea typeface="+mn-ea"/>
                <a:cs typeface="CiscoSans"/>
              </a:defRPr>
            </a:lvl1pPr>
          </a:lstStyle>
          <a:p>
            <a:pPr lvl="0"/>
            <a:r>
              <a:rPr lang="en-US" noProof="0"/>
              <a:t>Click icon to add media</a:t>
            </a:r>
            <a:endParaRPr lang="en-US" noProof="0"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rgbClr val="049FD9"/>
            </a:gs>
            <a:gs pos="100000">
              <a:srgbClr val="004BAF"/>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9"/>
            <a:ext cx="19907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cSld>
  <p:clrMapOvr>
    <a:masterClrMapping/>
  </p:clrMapOvr>
  <p:transition spd="slow">
    <p:wip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que_Transition_Blu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3200" b="0" i="0" spc="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dirty="0"/>
              <a:t>Section Title Goes Here</a:t>
            </a:r>
            <a:endParaRPr lang="en-US" dirty="0"/>
          </a:p>
        </p:txBody>
      </p:sp>
    </p:spTree>
    <p:extLst>
      <p:ext uri="{BB962C8B-B14F-4D97-AF65-F5344CB8AC3E}">
        <p14:creationId xmlns:p14="http://schemas.microsoft.com/office/powerpoint/2010/main" val="37121915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799">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497524997"/>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Cisco AMP Title Slide - 2 ">
    <p:bg>
      <p:bgPr>
        <a:gradFill>
          <a:gsLst>
            <a:gs pos="25000">
              <a:srgbClr val="006A91">
                <a:alpha val="74902"/>
              </a:srgbClr>
            </a:gs>
            <a:gs pos="75000">
              <a:srgbClr val="2F4DB0">
                <a:alpha val="74902"/>
              </a:srgbClr>
            </a:gs>
          </a:gsLst>
          <a:lin ang="3300000" scaled="0"/>
        </a:gra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a:ext>
            </a:extLst>
          </a:blip>
          <a:stretch>
            <a:fillRect/>
          </a:stretch>
        </p:blipFill>
        <p:spPr>
          <a:xfrm>
            <a:off x="0" y="2665"/>
            <a:ext cx="9144000" cy="5138173"/>
          </a:xfrm>
          <a:prstGeom prst="rect">
            <a:avLst/>
          </a:prstGeom>
        </p:spPr>
      </p:pic>
      <p:sp>
        <p:nvSpPr>
          <p:cNvPr id="21" name="Rectangle 20"/>
          <p:cNvSpPr/>
          <p:nvPr userDrawn="1"/>
        </p:nvSpPr>
        <p:spPr>
          <a:xfrm>
            <a:off x="0" y="-2663"/>
            <a:ext cx="9144000" cy="5143500"/>
          </a:xfrm>
          <a:prstGeom prst="rect">
            <a:avLst/>
          </a:prstGeom>
          <a:gradFill>
            <a:gsLst>
              <a:gs pos="25000">
                <a:srgbClr val="006A91">
                  <a:alpha val="74902"/>
                </a:srgbClr>
              </a:gs>
              <a:gs pos="75000">
                <a:srgbClr val="2F4DB0">
                  <a:alpha val="74902"/>
                </a:srgbClr>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800" dirty="0">
              <a:solidFill>
                <a:srgbClr val="FFFFFF"/>
              </a:solidFill>
            </a:endParaRPr>
          </a:p>
        </p:txBody>
      </p:sp>
      <p:sp>
        <p:nvSpPr>
          <p:cNvPr id="17" name="Text Placeholder 38"/>
          <p:cNvSpPr>
            <a:spLocks noGrp="1"/>
          </p:cNvSpPr>
          <p:nvPr>
            <p:ph type="body" sz="quarter" idx="11" hasCustomPrompt="1"/>
          </p:nvPr>
        </p:nvSpPr>
        <p:spPr>
          <a:xfrm>
            <a:off x="460788" y="4033196"/>
            <a:ext cx="8230366"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a:t>Click to edit presenter information</a:t>
            </a:r>
          </a:p>
        </p:txBody>
      </p:sp>
      <p:sp>
        <p:nvSpPr>
          <p:cNvPr id="18" name="Text Placeholder 40"/>
          <p:cNvSpPr>
            <a:spLocks noGrp="1"/>
          </p:cNvSpPr>
          <p:nvPr>
            <p:ph type="body" sz="quarter" idx="12" hasCustomPrompt="1"/>
          </p:nvPr>
        </p:nvSpPr>
        <p:spPr>
          <a:xfrm>
            <a:off x="460788" y="4273193"/>
            <a:ext cx="8230367" cy="288131"/>
          </a:xfrm>
          <a:prstGeom prst="rect">
            <a:avLst/>
          </a:prstGeom>
        </p:spPr>
        <p:txBody>
          <a:bodyPr lIns="91420" tIns="45710" rIns="91420" bIns="45710"/>
          <a:lstStyle>
            <a:lvl1pPr marL="0" indent="0" algn="l">
              <a:buFontTx/>
              <a:buNone/>
              <a:defRPr lang="en-US" sz="1000" b="1" i="0" kern="1200" baseline="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a:t>CLICK TO EDIT DATE</a:t>
            </a:r>
          </a:p>
        </p:txBody>
      </p:sp>
      <p:sp>
        <p:nvSpPr>
          <p:cNvPr id="19" name="Text Placeholder 2"/>
          <p:cNvSpPr>
            <a:spLocks noGrp="1"/>
          </p:cNvSpPr>
          <p:nvPr>
            <p:ph type="body" sz="quarter" idx="13" hasCustomPrompt="1"/>
          </p:nvPr>
        </p:nvSpPr>
        <p:spPr>
          <a:xfrm>
            <a:off x="463293" y="3211463"/>
            <a:ext cx="8236571" cy="299001"/>
          </a:xfrm>
          <a:prstGeom prst="rect">
            <a:avLst/>
          </a:prstGeom>
        </p:spPr>
        <p:txBody>
          <a:bodyPr lIns="91420" tIns="45710" rIns="91420" bIns="45710"/>
          <a:lstStyle>
            <a:lvl1pPr marL="0" indent="0">
              <a:buFont typeface="Arial" panose="020B0604020202020204" pitchFamily="34" charset="0"/>
              <a:buNone/>
              <a:defRPr sz="1800" baseline="0">
                <a:solidFill>
                  <a:srgbClr val="FFFFFE"/>
                </a:solidFill>
                <a:latin typeface="+mj-lt"/>
              </a:defRPr>
            </a:lvl1pPr>
            <a:lvl2pPr marL="304774" indent="0">
              <a:buNone/>
              <a:defRPr/>
            </a:lvl2pPr>
            <a:lvl3pPr marL="427391" indent="0">
              <a:buNone/>
              <a:defRPr/>
            </a:lvl3pPr>
            <a:lvl4pPr marL="516681" indent="0">
              <a:buNone/>
              <a:defRPr/>
            </a:lvl4pPr>
            <a:lvl5pPr marL="601206" indent="0">
              <a:buNone/>
              <a:defRPr/>
            </a:lvl5pPr>
          </a:lstStyle>
          <a:p>
            <a:pPr lvl="0"/>
            <a:r>
              <a:rPr lang="en-US" dirty="0"/>
              <a:t>Click to edit presentation subtitle</a:t>
            </a:r>
          </a:p>
        </p:txBody>
      </p:sp>
      <p:sp>
        <p:nvSpPr>
          <p:cNvPr id="14" name="Subtitle 2"/>
          <p:cNvSpPr>
            <a:spLocks noGrp="1"/>
          </p:cNvSpPr>
          <p:nvPr>
            <p:ph type="subTitle" idx="1" hasCustomPrompt="1"/>
          </p:nvPr>
        </p:nvSpPr>
        <p:spPr>
          <a:xfrm>
            <a:off x="460789" y="3793199"/>
            <a:ext cx="8239075"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48" indent="0" algn="ctr">
              <a:buNone/>
              <a:defRPr>
                <a:solidFill>
                  <a:schemeClr val="tx1">
                    <a:tint val="75000"/>
                  </a:schemeClr>
                </a:solidFill>
              </a:defRPr>
            </a:lvl2pPr>
            <a:lvl3pPr marL="685703" indent="0" algn="ctr">
              <a:buNone/>
              <a:defRPr>
                <a:solidFill>
                  <a:schemeClr val="tx1">
                    <a:tint val="75000"/>
                  </a:schemeClr>
                </a:solidFill>
              </a:defRPr>
            </a:lvl3pPr>
            <a:lvl4pPr marL="1028553" indent="0" algn="ctr">
              <a:buNone/>
              <a:defRPr>
                <a:solidFill>
                  <a:schemeClr val="tx1">
                    <a:tint val="75000"/>
                  </a:schemeClr>
                </a:solidFill>
              </a:defRPr>
            </a:lvl4pPr>
            <a:lvl5pPr marL="1371407" indent="0" algn="ctr">
              <a:buNone/>
              <a:defRPr>
                <a:solidFill>
                  <a:schemeClr val="tx1">
                    <a:tint val="75000"/>
                  </a:schemeClr>
                </a:solidFill>
              </a:defRPr>
            </a:lvl5pPr>
            <a:lvl6pPr marL="1714254" indent="0" algn="ctr">
              <a:buNone/>
              <a:defRPr>
                <a:solidFill>
                  <a:schemeClr val="tx1">
                    <a:tint val="75000"/>
                  </a:schemeClr>
                </a:solidFill>
              </a:defRPr>
            </a:lvl6pPr>
            <a:lvl7pPr marL="2057110" indent="0" algn="ctr">
              <a:buNone/>
              <a:defRPr>
                <a:solidFill>
                  <a:schemeClr val="tx1">
                    <a:tint val="75000"/>
                  </a:schemeClr>
                </a:solidFill>
              </a:defRPr>
            </a:lvl7pPr>
            <a:lvl8pPr marL="2399960" indent="0" algn="ctr">
              <a:buNone/>
              <a:defRPr>
                <a:solidFill>
                  <a:schemeClr val="tx1">
                    <a:tint val="75000"/>
                  </a:schemeClr>
                </a:solidFill>
              </a:defRPr>
            </a:lvl8pPr>
            <a:lvl9pPr marL="2742814" indent="0" algn="ctr">
              <a:buNone/>
              <a:defRPr>
                <a:solidFill>
                  <a:schemeClr val="tx1">
                    <a:tint val="75000"/>
                  </a:schemeClr>
                </a:solidFill>
              </a:defRPr>
            </a:lvl9pPr>
          </a:lstStyle>
          <a:p>
            <a:pPr lvl="0"/>
            <a:r>
              <a:rPr lang="en-US" dirty="0"/>
              <a:t>Click to edit presenter information</a:t>
            </a:r>
          </a:p>
        </p:txBody>
      </p:sp>
      <p:sp>
        <p:nvSpPr>
          <p:cNvPr id="15" name="Title 1"/>
          <p:cNvSpPr>
            <a:spLocks noGrp="1"/>
          </p:cNvSpPr>
          <p:nvPr>
            <p:ph type="ctrTitle" hasCustomPrompt="1"/>
          </p:nvPr>
        </p:nvSpPr>
        <p:spPr>
          <a:xfrm>
            <a:off x="425766" y="2639977"/>
            <a:ext cx="8274098" cy="644730"/>
          </a:xfrm>
          <a:prstGeom prst="rect">
            <a:avLst/>
          </a:prstGeom>
        </p:spPr>
        <p:txBody>
          <a:bodyPr anchor="b"/>
          <a:lstStyle>
            <a:lvl1pPr marL="0" indent="0" algn="l">
              <a:lnSpc>
                <a:spcPct val="90000"/>
              </a:lnSpc>
              <a:buFont typeface="Arial" panose="020B0604020202020204" pitchFamily="34" charset="0"/>
              <a:buNone/>
              <a:defRPr sz="4600" b="0" i="0" spc="-100" baseline="0">
                <a:solidFill>
                  <a:srgbClr val="FFFFFE"/>
                </a:solidFill>
                <a:latin typeface="+mj-lt"/>
                <a:cs typeface="CiscoSans Thin"/>
              </a:defRPr>
            </a:lvl1pPr>
          </a:lstStyle>
          <a:p>
            <a:r>
              <a:rPr lang="en-US" dirty="0"/>
              <a:t>Click to edit presentation title</a:t>
            </a:r>
          </a:p>
        </p:txBody>
      </p:sp>
      <p:pic>
        <p:nvPicPr>
          <p:cNvPr id="11" name="Picture 10"/>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543600" y="550800"/>
            <a:ext cx="2426502" cy="327600"/>
          </a:xfrm>
          <a:prstGeom prst="rect">
            <a:avLst/>
          </a:prstGeom>
        </p:spPr>
      </p:pic>
    </p:spTree>
    <p:extLst/>
  </p:cSld>
  <p:clrMapOvr>
    <a:masterClrMapping/>
  </p:clrMapOvr>
  <p:transition spd="slow">
    <p:wipe/>
  </p:transition>
  <p:extLst mod="1">
    <p:ext uri="{DCECCB84-F9BA-43D5-87BE-67443E8EF086}">
      <p15:sldGuideLst xmlns:p15="http://schemas.microsoft.com/office/powerpoint/2012/main"/>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userDrawn="1">
  <p:cSld name="Thank You">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03"/>
            <a:ext cx="9144000" cy="5142895"/>
          </a:xfrm>
          <a:prstGeom prst="rect">
            <a:avLst/>
          </a:prstGeom>
        </p:spPr>
      </p:pic>
      <p:sp>
        <p:nvSpPr>
          <p:cNvPr id="3" name="TextBox 2"/>
          <p:cNvSpPr txBox="1"/>
          <p:nvPr userDrawn="1"/>
        </p:nvSpPr>
        <p:spPr>
          <a:xfrm>
            <a:off x="173578" y="3564404"/>
            <a:ext cx="8394192" cy="539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6251" indent="-6251" defTabSz="914400" eaLnBrk="0" latinLnBrk="0" hangingPunct="0">
              <a:lnSpc>
                <a:spcPct val="90000"/>
              </a:lnSpc>
              <a:defRPr lang="en-US" sz="4000" b="0" i="0" dirty="0" smtClean="0">
                <a:solidFill>
                  <a:schemeClr val="bg1"/>
                </a:solidFill>
                <a:latin typeface="+mj-lt"/>
                <a:ea typeface="+mj-ea"/>
                <a:cs typeface="+mj-cs"/>
                <a:sym typeface="Arial" pitchFamily="34" charset="0"/>
              </a:defRPr>
            </a:lvl1pPr>
            <a:lvl2pPr marL="6251" indent="-6251" eaLnBrk="1" hangingPunct="1">
              <a:lnSpc>
                <a:spcPct val="90000"/>
              </a:lnSpc>
              <a:defRPr sz="2700" b="1">
                <a:solidFill>
                  <a:srgbClr val="B1059D"/>
                </a:solidFill>
                <a:latin typeface="Arial" pitchFamily="-107" charset="0"/>
                <a:ea typeface="Apple LiGothic Medium" pitchFamily="-107" charset="-120"/>
                <a:cs typeface="Apple LiGothic Medium" pitchFamily="-107" charset="-120"/>
                <a:sym typeface="Arial" pitchFamily="34" charset="0"/>
              </a:defRPr>
            </a:lvl2pPr>
            <a:lvl3pPr marL="6251" indent="-6251" eaLnBrk="1" hangingPunct="1">
              <a:lnSpc>
                <a:spcPct val="90000"/>
              </a:lnSpc>
              <a:defRPr sz="2700" b="1">
                <a:solidFill>
                  <a:srgbClr val="B1059D"/>
                </a:solidFill>
                <a:latin typeface="Arial" pitchFamily="-107" charset="0"/>
                <a:ea typeface="Apple LiGothic Medium" pitchFamily="-107" charset="-120"/>
                <a:cs typeface="Apple LiGothic Medium" pitchFamily="-107" charset="-120"/>
                <a:sym typeface="Arial" pitchFamily="34" charset="0"/>
              </a:defRPr>
            </a:lvl3pPr>
            <a:lvl4pPr marL="6251" indent="-6251" eaLnBrk="1" hangingPunct="1">
              <a:lnSpc>
                <a:spcPct val="90000"/>
              </a:lnSpc>
              <a:defRPr sz="2700" b="1">
                <a:solidFill>
                  <a:srgbClr val="B1059D"/>
                </a:solidFill>
                <a:latin typeface="Arial" pitchFamily="-107" charset="0"/>
                <a:ea typeface="Apple LiGothic Medium" pitchFamily="-107" charset="-120"/>
                <a:cs typeface="Apple LiGothic Medium" pitchFamily="-107" charset="-120"/>
                <a:sym typeface="Arial" pitchFamily="34" charset="0"/>
              </a:defRPr>
            </a:lvl4pPr>
            <a:lvl5pPr marL="6251" indent="-6251" eaLnBrk="1" hangingPunct="1">
              <a:lnSpc>
                <a:spcPct val="90000"/>
              </a:lnSpc>
              <a:defRPr sz="2700" b="1">
                <a:solidFill>
                  <a:srgbClr val="B1059D"/>
                </a:solidFill>
                <a:latin typeface="Arial" pitchFamily="-107" charset="0"/>
                <a:ea typeface="Apple LiGothic Medium" pitchFamily="-107" charset="-120"/>
                <a:cs typeface="Apple LiGothic Medium" pitchFamily="-107" charset="-120"/>
                <a:sym typeface="Arial" pitchFamily="34" charset="0"/>
              </a:defRPr>
            </a:lvl5pPr>
            <a:lvl6pPr marL="263426"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6pPr>
            <a:lvl7pPr marL="520601"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7pPr>
            <a:lvl8pPr marL="777776"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8pPr>
            <a:lvl9pPr marL="1034951" fontAlgn="base">
              <a:lnSpc>
                <a:spcPct val="90000"/>
              </a:lnSpc>
              <a:spcBef>
                <a:spcPct val="0"/>
              </a:spcBef>
              <a:spcAft>
                <a:spcPct val="0"/>
              </a:spcAft>
              <a:defRPr sz="2700" b="1">
                <a:solidFill>
                  <a:srgbClr val="1EB9E4"/>
                </a:solidFill>
                <a:latin typeface="Arial" pitchFamily="-107" charset="0"/>
                <a:ea typeface="Apple LiGothic Medium" pitchFamily="-107" charset="-120"/>
                <a:cs typeface="Apple LiGothic Medium" pitchFamily="-107" charset="-120"/>
                <a:sym typeface="Arial" pitchFamily="-107" charset="0"/>
              </a:defRPr>
            </a:lvl9pPr>
          </a:lstStyle>
          <a:p>
            <a:r>
              <a:rPr sz="2400">
                <a:solidFill>
                  <a:srgbClr val="FFFFFF"/>
                </a:solidFill>
              </a:rPr>
              <a:t>Thank You</a:t>
            </a:r>
          </a:p>
        </p:txBody>
      </p:sp>
      <p:sp>
        <p:nvSpPr>
          <p:cNvPr id="6" name="Rectangle 4"/>
          <p:cNvSpPr>
            <a:spLocks noChangeArrowheads="1"/>
          </p:cNvSpPr>
          <p:nvPr userDrawn="1"/>
        </p:nvSpPr>
        <p:spPr bwMode="ltGray">
          <a:xfrm>
            <a:off x="5985510" y="4946906"/>
            <a:ext cx="2472136" cy="154518"/>
          </a:xfrm>
          <a:prstGeom prst="rect">
            <a:avLst/>
          </a:prstGeom>
          <a:noFill/>
          <a:ln w="9525">
            <a:noFill/>
            <a:miter lim="800000"/>
            <a:headEnd/>
            <a:tailEnd/>
          </a:ln>
          <a:effectLst/>
        </p:spPr>
        <p:txBody>
          <a:bodyPr wrap="square" lIns="61586" tIns="30792" rIns="61586" bIns="30792" anchor="b">
            <a:spAutoFit/>
          </a:bodyPr>
          <a:lstStyle/>
          <a:p>
            <a:pPr algn="r" defTabSz="610729" fontAlgn="auto">
              <a:spcBef>
                <a:spcPts val="0"/>
              </a:spcBef>
              <a:spcAft>
                <a:spcPts val="0"/>
              </a:spcAft>
            </a:pPr>
            <a:r>
              <a:rPr lang="en-US" sz="600" dirty="0">
                <a:solidFill>
                  <a:srgbClr val="FFFFFF">
                    <a:alpha val="60000"/>
                  </a:srgbClr>
                </a:solidFill>
                <a:latin typeface="Arial"/>
                <a:ea typeface=""/>
                <a:cs typeface="CiscoSans Thin"/>
              </a:rPr>
              <a:t>© 2017  Cisco and/or its affiliates. All rights reserved.   Cisco Public</a:t>
            </a:r>
          </a:p>
        </p:txBody>
      </p:sp>
      <p:sp>
        <p:nvSpPr>
          <p:cNvPr id="8" name="Slide Number Placeholder 1"/>
          <p:cNvSpPr>
            <a:spLocks noGrp="1"/>
          </p:cNvSpPr>
          <p:nvPr>
            <p:ph type="sldNum" sz="quarter" idx="4"/>
          </p:nvPr>
        </p:nvSpPr>
        <p:spPr>
          <a:xfrm>
            <a:off x="8409709" y="4884990"/>
            <a:ext cx="359666" cy="274637"/>
          </a:xfrm>
          <a:prstGeom prst="rect">
            <a:avLst/>
          </a:prstGeom>
        </p:spPr>
        <p:txBody>
          <a:bodyPr vert="horz" lIns="91440" tIns="45720" rIns="91440" bIns="45720" rtlCol="0" anchor="ctr"/>
          <a:lstStyle>
            <a:lvl1pPr algn="r">
              <a:defRPr lang="en-US" sz="600" kern="1200" smtClean="0">
                <a:solidFill>
                  <a:schemeClr val="bg1">
                    <a:alpha val="60000"/>
                  </a:schemeClr>
                </a:solidFill>
                <a:latin typeface="+mn-lt"/>
                <a:ea typeface="+mn-ea"/>
                <a:cs typeface="CiscoSans Thin"/>
              </a:defRPr>
            </a:lvl1pPr>
          </a:lstStyle>
          <a:p>
            <a:pPr defTabSz="685800" fontAlgn="auto">
              <a:spcBef>
                <a:spcPts val="0"/>
              </a:spcBef>
              <a:spcAft>
                <a:spcPts val="0"/>
              </a:spcAft>
            </a:pPr>
            <a:fld id="{96A97DD0-5BE7-4856-A2A9-C42C6688E607}" type="slidenum">
              <a:rPr lang="uk-UA" smtClean="0">
                <a:solidFill>
                  <a:srgbClr val="FFFFFF">
                    <a:alpha val="60000"/>
                  </a:srgbClr>
                </a:solidFill>
              </a:rPr>
              <a:pPr defTabSz="685800" fontAlgn="auto">
                <a:spcBef>
                  <a:spcPts val="0"/>
                </a:spcBef>
                <a:spcAft>
                  <a:spcPts val="0"/>
                </a:spcAft>
              </a:pPr>
              <a:t>‹#›</a:t>
            </a:fld>
            <a:endParaRPr lang="uk-UA" dirty="0">
              <a:solidFill>
                <a:srgbClr val="FFFFFF">
                  <a:alpha val="60000"/>
                </a:srgbClr>
              </a:solidFill>
            </a:endParaRPr>
          </a:p>
        </p:txBody>
      </p:sp>
      <p:sp>
        <p:nvSpPr>
          <p:cNvPr id="11" name="Footer Placeholder 2"/>
          <p:cNvSpPr>
            <a:spLocks noGrp="1"/>
          </p:cNvSpPr>
          <p:nvPr>
            <p:ph type="ftr" sz="quarter" idx="3"/>
          </p:nvPr>
        </p:nvSpPr>
        <p:spPr>
          <a:xfrm>
            <a:off x="5222534" y="4946905"/>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chemeClr val="bg1">
                    <a:alpha val="60000"/>
                  </a:schemeClr>
                </a:solidFill>
                <a:cs typeface="CiscoSans Thin"/>
              </a:defRPr>
            </a:lvl1pPr>
          </a:lstStyle>
          <a:p>
            <a:pPr defTabSz="610729" fontAlgn="auto">
              <a:spcBef>
                <a:spcPts val="0"/>
              </a:spcBef>
              <a:spcAft>
                <a:spcPts val="0"/>
              </a:spcAft>
            </a:pPr>
            <a:r>
              <a:rPr lang="en-US">
                <a:solidFill>
                  <a:srgbClr val="FFFFFF">
                    <a:alpha val="60000"/>
                  </a:srgbClr>
                </a:solidFill>
                <a:latin typeface="Arial"/>
              </a:rPr>
              <a:t>Presentation ID</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userDrawn="1">
  <p:cSld name="4_Segue">
    <p:bg>
      <p:bgPr>
        <a:gradFill rotWithShape="0">
          <a:gsLst>
            <a:gs pos="0">
              <a:srgbClr val="049FD9"/>
            </a:gs>
            <a:gs pos="100000">
              <a:srgbClr val="004BAF"/>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169" y="4742908"/>
            <a:ext cx="218953" cy="154518"/>
          </a:xfrm>
          <a:prstGeom prst="rect">
            <a:avLst/>
          </a:prstGeom>
          <a:noFill/>
          <a:ln w="9525" algn="ctr">
            <a:noFill/>
            <a:miter lim="800000"/>
            <a:headEnd/>
            <a:tailEnd/>
          </a:ln>
          <a:effectLst/>
        </p:spPr>
        <p:txBody>
          <a:bodyPr wrap="none" lIns="61586" tIns="30792" rIns="61586" bIns="30792" anchor="b">
            <a:spAutoFit/>
          </a:bodyPr>
          <a:lstStyle/>
          <a:p>
            <a:pPr algn="r" defTabSz="610729" fontAlgn="auto">
              <a:spcBef>
                <a:spcPts val="0"/>
              </a:spcBef>
              <a:spcAft>
                <a:spcPts val="0"/>
              </a:spcAft>
              <a:defRPr/>
            </a:pPr>
            <a:fld id="{509F5890-BE05-4D5D-AADF-DD6FDB4C472B}" type="slidenum">
              <a:rPr lang="en-US" sz="600">
                <a:solidFill>
                  <a:srgbClr val="FFFFFF">
                    <a:alpha val="60000"/>
                  </a:srgbClr>
                </a:solidFill>
                <a:latin typeface="Arial"/>
                <a:ea typeface=""/>
                <a:cs typeface="CiscoSans Thin"/>
              </a:rPr>
              <a:pPr algn="r" defTabSz="610729"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4" name="Rectangle 4"/>
          <p:cNvSpPr>
            <a:spLocks noChangeArrowheads="1"/>
          </p:cNvSpPr>
          <p:nvPr/>
        </p:nvSpPr>
        <p:spPr bwMode="ltGray">
          <a:xfrm>
            <a:off x="5867508" y="4741655"/>
            <a:ext cx="2658018" cy="154518"/>
          </a:xfrm>
          <a:prstGeom prst="rect">
            <a:avLst/>
          </a:prstGeom>
          <a:noFill/>
          <a:ln w="9525">
            <a:noFill/>
            <a:miter lim="800000"/>
            <a:headEnd/>
            <a:tailEnd/>
          </a:ln>
          <a:effectLst/>
        </p:spPr>
        <p:txBody>
          <a:bodyPr lIns="61586" tIns="30792" rIns="61586" bIns="30792" anchor="b">
            <a:spAutoFit/>
          </a:bodyPr>
          <a:lstStyle/>
          <a:p>
            <a:pPr defTabSz="610729" fontAlgn="auto">
              <a:spcBef>
                <a:spcPts val="0"/>
              </a:spcBef>
              <a:spcAft>
                <a:spcPts val="0"/>
              </a:spcAft>
              <a:defRPr/>
            </a:pPr>
            <a:r>
              <a:rPr lang="en-US" sz="600" dirty="0">
                <a:solidFill>
                  <a:srgbClr val="FFFFFF">
                    <a:alpha val="60000"/>
                  </a:srgbClr>
                </a:solidFill>
                <a:latin typeface="Arial"/>
                <a:ea typeface=""/>
                <a:cs typeface="CiscoSans Thin"/>
              </a:rPr>
              <a:t>© 2016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pic>
        <p:nvPicPr>
          <p:cNvPr id="10"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cSld>
  <p:clrMapOvr>
    <a:masterClrMapping/>
  </p:clrMapOvr>
  <p:transition spd="slow">
    <p:wip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userDrawn="1">
  <p:cSld name="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1" indent="-223787">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7882" indent="-215849">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539" indent="-171411">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012" indent="-171411">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423" indent="-168236">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2"/>
          <p:cNvSpPr>
            <a:spLocks noGrp="1"/>
          </p:cNvSpPr>
          <p:nvPr>
            <p:ph type="body" sz="quarter" idx="13"/>
          </p:nvPr>
        </p:nvSpPr>
        <p:spPr>
          <a:xfrm>
            <a:off x="499829"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74" indent="0">
              <a:buNone/>
              <a:defRPr/>
            </a:lvl2pPr>
            <a:lvl3pPr marL="427391" indent="0">
              <a:buNone/>
              <a:defRPr/>
            </a:lvl3pPr>
            <a:lvl4pPr marL="516681" indent="0">
              <a:buNone/>
              <a:defRPr/>
            </a:lvl4pPr>
            <a:lvl5pPr marL="601206" indent="0">
              <a:buNone/>
              <a:defRPr/>
            </a:lvl5pPr>
          </a:lstStyle>
          <a:p>
            <a:pPr lvl="0"/>
            <a:r>
              <a:rPr lang="en-US"/>
              <a:t>Click to edit Master text styles</a:t>
            </a:r>
          </a:p>
        </p:txBody>
      </p:sp>
      <p:sp>
        <p:nvSpPr>
          <p:cNvPr id="7" name="Title 1"/>
          <p:cNvSpPr>
            <a:spLocks noGrp="1"/>
          </p:cNvSpPr>
          <p:nvPr>
            <p:ph type="ctrTitle"/>
          </p:nvPr>
        </p:nvSpPr>
        <p:spPr>
          <a:xfrm>
            <a:off x="462301"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Slide Number Placeholder 1"/>
          <p:cNvSpPr>
            <a:spLocks noGrp="1"/>
          </p:cNvSpPr>
          <p:nvPr>
            <p:ph type="sldNum" sz="quarter" idx="4"/>
          </p:nvPr>
        </p:nvSpPr>
        <p:spPr>
          <a:xfrm>
            <a:off x="8409709" y="4884990"/>
            <a:ext cx="359666" cy="274637"/>
          </a:xfrm>
          <a:prstGeom prst="rect">
            <a:avLst/>
          </a:prstGeom>
        </p:spPr>
        <p:txBody>
          <a:bodyPr vert="horz" lIns="91440" tIns="45720" rIns="91440" bIns="45720" rtlCol="0" anchor="ctr"/>
          <a:lstStyle>
            <a:lvl1pPr algn="r">
              <a:defRPr lang="en-US" sz="600" kern="1200" smtClean="0">
                <a:solidFill>
                  <a:srgbClr val="000000"/>
                </a:solidFill>
                <a:latin typeface="+mn-lt"/>
                <a:ea typeface="+mn-ea"/>
                <a:cs typeface="CiscoSans Thin"/>
              </a:defRPr>
            </a:lvl1pPr>
          </a:lstStyle>
          <a:p>
            <a:pPr defTabSz="685800" fontAlgn="auto">
              <a:spcBef>
                <a:spcPts val="0"/>
              </a:spcBef>
              <a:spcAft>
                <a:spcPts val="0"/>
              </a:spcAft>
            </a:pPr>
            <a:fld id="{96A97DD0-5BE7-4856-A2A9-C42C6688E607}" type="slidenum">
              <a:rPr lang="uk-UA" smtClean="0"/>
              <a:pPr defTabSz="685800" fontAlgn="auto">
                <a:spcBef>
                  <a:spcPts val="0"/>
                </a:spcBef>
                <a:spcAft>
                  <a:spcPts val="0"/>
                </a:spcAft>
              </a:pPr>
              <a:t>‹#›</a:t>
            </a:fld>
            <a:endParaRPr lang="uk-UA" dirty="0"/>
          </a:p>
        </p:txBody>
      </p:sp>
      <p:sp>
        <p:nvSpPr>
          <p:cNvPr id="8" name="Footer Placeholder 2"/>
          <p:cNvSpPr>
            <a:spLocks noGrp="1"/>
          </p:cNvSpPr>
          <p:nvPr>
            <p:ph type="ftr" sz="quarter" idx="3"/>
          </p:nvPr>
        </p:nvSpPr>
        <p:spPr>
          <a:xfrm>
            <a:off x="5222534" y="4946905"/>
            <a:ext cx="716863" cy="154518"/>
          </a:xfrm>
          <a:prstGeom prst="rect">
            <a:avLst/>
          </a:prstGeom>
          <a:noFill/>
          <a:ln w="9525">
            <a:noFill/>
            <a:miter lim="800000"/>
            <a:headEnd/>
            <a:tailEnd/>
          </a:ln>
          <a:effectLst/>
        </p:spPr>
        <p:txBody>
          <a:bodyPr wrap="square" lIns="61586" tIns="30792" rIns="61586" bIns="30792" anchor="b">
            <a:spAutoFit/>
          </a:bodyPr>
          <a:lstStyle>
            <a:lvl1pPr algn="l">
              <a:defRPr lang="en-US" sz="600" dirty="0">
                <a:solidFill>
                  <a:srgbClr val="000000"/>
                </a:solidFill>
                <a:cs typeface="CiscoSans Thin"/>
              </a:defRPr>
            </a:lvl1pPr>
          </a:lstStyle>
          <a:p>
            <a:pPr defTabSz="610729" fontAlgn="auto">
              <a:spcBef>
                <a:spcPts val="0"/>
              </a:spcBef>
              <a:spcAft>
                <a:spcPts val="0"/>
              </a:spcAft>
            </a:pPr>
            <a:r>
              <a:rPr lang="en-US">
                <a:latin typeface="Arial"/>
              </a:rPr>
              <a:t>Presentation ID</a:t>
            </a:r>
          </a:p>
        </p:txBody>
      </p:sp>
      <p:sp>
        <p:nvSpPr>
          <p:cNvPr id="11" name="Title 1"/>
          <p:cNvSpPr>
            <a:spLocks noGrp="1"/>
          </p:cNvSpPr>
          <p:nvPr>
            <p:ph type="title"/>
          </p:nvPr>
        </p:nvSpPr>
        <p:spPr>
          <a:xfrm>
            <a:off x="356616" y="217715"/>
            <a:ext cx="8513064" cy="765432"/>
          </a:xfrm>
        </p:spPr>
        <p:txBody>
          <a:bodyPr/>
          <a:lstStyle/>
          <a:p>
            <a:r>
              <a:rPr lang="en-US"/>
              <a:t>Click to edit Master title style</a:t>
            </a:r>
            <a:endParaRPr lang="en-US"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userDrawn="1">
  <p:cSld name="Title Only_Heavy Graphics">
    <p:spTree>
      <p:nvGrpSpPr>
        <p:cNvPr id="1" name=""/>
        <p:cNvGrpSpPr/>
        <p:nvPr/>
      </p:nvGrpSpPr>
      <p:grpSpPr>
        <a:xfrm>
          <a:off x="0" y="0"/>
          <a:ext cx="0" cy="0"/>
          <a:chOff x="0" y="0"/>
          <a:chExt cx="0" cy="0"/>
        </a:xfrm>
      </p:grpSpPr>
      <p:sp>
        <p:nvSpPr>
          <p:cNvPr id="2" name="Rectangle 1"/>
          <p:cNvSpPr/>
          <p:nvPr userDrawn="1"/>
        </p:nvSpPr>
        <p:spPr>
          <a:xfrm>
            <a:off x="0" y="4555068"/>
            <a:ext cx="9144000" cy="5884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800" dirty="0">
              <a:solidFill>
                <a:srgbClr val="FFFFFF"/>
              </a:solidFill>
            </a:endParaRPr>
          </a:p>
        </p:txBody>
      </p:sp>
      <p:sp>
        <p:nvSpPr>
          <p:cNvPr id="5" name="Title 4"/>
          <p:cNvSpPr>
            <a:spLocks noGrp="1"/>
          </p:cNvSpPr>
          <p:nvPr>
            <p:ph type="title"/>
          </p:nvPr>
        </p:nvSpPr>
        <p:spPr>
          <a:xfrm>
            <a:off x="483306" y="64736"/>
            <a:ext cx="8345488" cy="415043"/>
          </a:xfrm>
        </p:spPr>
        <p:txBody>
          <a:bodyPr/>
          <a:lstStyle/>
          <a:p>
            <a:r>
              <a:rPr lang="en-US"/>
              <a:t>Click to edit Master title style</a:t>
            </a:r>
          </a:p>
        </p:txBody>
      </p:sp>
    </p:spTree>
    <p:extLst/>
  </p:cSld>
  <p:clrMapOvr>
    <a:masterClrMapping/>
  </p:clrMapOvr>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Cisco AMP Title Slide - 3">
    <p:bg>
      <p:bgPr>
        <a:gradFill>
          <a:gsLst>
            <a:gs pos="25000">
              <a:srgbClr val="006A91">
                <a:alpha val="74902"/>
              </a:srgbClr>
            </a:gs>
            <a:gs pos="75000">
              <a:srgbClr val="2F4DB0">
                <a:alpha val="74902"/>
              </a:srgbClr>
            </a:gs>
          </a:gsLst>
          <a:lin ang="3300000" scaled="0"/>
        </a:gradFill>
        <a:effectLst/>
      </p:bgPr>
    </p:bg>
    <p:spTree>
      <p:nvGrpSpPr>
        <p:cNvPr id="1" name=""/>
        <p:cNvGrpSpPr/>
        <p:nvPr/>
      </p:nvGrpSpPr>
      <p:grpSpPr>
        <a:xfrm>
          <a:off x="0" y="0"/>
          <a:ext cx="0" cy="0"/>
          <a:chOff x="0" y="0"/>
          <a:chExt cx="0" cy="0"/>
        </a:xfrm>
      </p:grpSpPr>
      <p:pic>
        <p:nvPicPr>
          <p:cNvPr id="12" name="Picture Placeholder 2"/>
          <p:cNvPicPr>
            <a:picLocks noChangeAspect="1"/>
          </p:cNvPicPr>
          <p:nvPr userDrawn="1"/>
        </p:nvPicPr>
        <p:blipFill>
          <a:blip r:embed="rId2">
            <a:extLst>
              <a:ext uri="{BEBA8EAE-BF5A-486C-A8C5-ECC9F3942E4B}">
                <a14:imgProps xmlns:a14="http://schemas.microsoft.com/office/drawing/2010/main">
                  <a14:imgLayer r:embed="rId3">
                    <a14:imgEffect>
                      <a14:saturation sat="0"/>
                    </a14:imgEffect>
                    <a14:imgEffect>
                      <a14:brightnessContrast bright="-20000" contrast="-40000"/>
                    </a14:imgEffect>
                  </a14:imgLayer>
                </a14:imgProps>
              </a:ext>
              <a:ext uri="{28A0092B-C50C-407E-A947-70E740481C1C}">
                <a14:useLocalDpi xmlns:a14="http://schemas.microsoft.com/office/drawing/2010/main" val="0"/>
              </a:ext>
            </a:extLst>
          </a:blip>
          <a:srcRect t="32" b="32"/>
          <a:stretch>
            <a:fillRect/>
          </a:stretch>
        </p:blipFill>
        <p:spPr>
          <a:xfrm>
            <a:off x="0" y="0"/>
            <a:ext cx="9147348" cy="5143500"/>
          </a:xfrm>
          <a:prstGeom prst="rect">
            <a:avLst/>
          </a:prstGeom>
        </p:spPr>
      </p:pic>
      <p:sp>
        <p:nvSpPr>
          <p:cNvPr id="21" name="Rectangle 20"/>
          <p:cNvSpPr/>
          <p:nvPr userDrawn="1"/>
        </p:nvSpPr>
        <p:spPr>
          <a:xfrm>
            <a:off x="1674" y="0"/>
            <a:ext cx="9144000" cy="5143500"/>
          </a:xfrm>
          <a:prstGeom prst="rect">
            <a:avLst/>
          </a:prstGeom>
          <a:gradFill>
            <a:gsLst>
              <a:gs pos="25000">
                <a:srgbClr val="006A91">
                  <a:alpha val="74902"/>
                </a:srgbClr>
              </a:gs>
              <a:gs pos="75000">
                <a:srgbClr val="2F4DB0">
                  <a:alpha val="74902"/>
                </a:srgbClr>
              </a:gs>
            </a:gsLst>
            <a:lin ang="33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fontAlgn="auto">
              <a:spcBef>
                <a:spcPts val="0"/>
              </a:spcBef>
              <a:spcAft>
                <a:spcPts val="0"/>
              </a:spcAft>
            </a:pPr>
            <a:endParaRPr lang="en-US" sz="1800" dirty="0">
              <a:solidFill>
                <a:srgbClr val="FFFFFF"/>
              </a:solidFill>
            </a:endParaRPr>
          </a:p>
        </p:txBody>
      </p:sp>
      <p:sp>
        <p:nvSpPr>
          <p:cNvPr id="17" name="Text Placeholder 38"/>
          <p:cNvSpPr>
            <a:spLocks noGrp="1"/>
          </p:cNvSpPr>
          <p:nvPr>
            <p:ph type="body" sz="quarter" idx="11" hasCustomPrompt="1"/>
          </p:nvPr>
        </p:nvSpPr>
        <p:spPr>
          <a:xfrm>
            <a:off x="460788" y="4033197"/>
            <a:ext cx="8230366"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a:t>Click to edit presenter information</a:t>
            </a:r>
          </a:p>
        </p:txBody>
      </p:sp>
      <p:sp>
        <p:nvSpPr>
          <p:cNvPr id="18" name="Text Placeholder 40"/>
          <p:cNvSpPr>
            <a:spLocks noGrp="1"/>
          </p:cNvSpPr>
          <p:nvPr>
            <p:ph type="body" sz="quarter" idx="12" hasCustomPrompt="1"/>
          </p:nvPr>
        </p:nvSpPr>
        <p:spPr>
          <a:xfrm>
            <a:off x="460789" y="4273194"/>
            <a:ext cx="8230367" cy="288131"/>
          </a:xfrm>
          <a:prstGeom prst="rect">
            <a:avLst/>
          </a:prstGeom>
        </p:spPr>
        <p:txBody>
          <a:bodyPr lIns="91420" tIns="45710" rIns="91420" bIns="45710"/>
          <a:lstStyle>
            <a:lvl1pPr marL="0" indent="0" algn="l">
              <a:buFontTx/>
              <a:buNone/>
              <a:defRPr lang="en-US" sz="1000" b="1" i="0" kern="1200" baseline="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dirty="0"/>
              <a:t>CLICK TO EDIT DATE</a:t>
            </a:r>
          </a:p>
        </p:txBody>
      </p:sp>
      <p:sp>
        <p:nvSpPr>
          <p:cNvPr id="19" name="Text Placeholder 2"/>
          <p:cNvSpPr>
            <a:spLocks noGrp="1"/>
          </p:cNvSpPr>
          <p:nvPr>
            <p:ph type="body" sz="quarter" idx="13" hasCustomPrompt="1"/>
          </p:nvPr>
        </p:nvSpPr>
        <p:spPr>
          <a:xfrm>
            <a:off x="463294" y="3211463"/>
            <a:ext cx="8236571" cy="299001"/>
          </a:xfrm>
          <a:prstGeom prst="rect">
            <a:avLst/>
          </a:prstGeom>
        </p:spPr>
        <p:txBody>
          <a:bodyPr lIns="91420" tIns="45710" rIns="91420" bIns="45710"/>
          <a:lstStyle>
            <a:lvl1pPr marL="0" indent="0">
              <a:buFont typeface="Arial" panose="020B0604020202020204" pitchFamily="34" charset="0"/>
              <a:buNone/>
              <a:defRPr sz="1800" baseline="0">
                <a:solidFill>
                  <a:srgbClr val="FFFFFE"/>
                </a:solidFill>
                <a:latin typeface="+mj-lt"/>
              </a:defRPr>
            </a:lvl1pPr>
            <a:lvl2pPr marL="304766" indent="0">
              <a:buNone/>
              <a:defRPr/>
            </a:lvl2pPr>
            <a:lvl3pPr marL="427380" indent="0">
              <a:buNone/>
              <a:defRPr/>
            </a:lvl3pPr>
            <a:lvl4pPr marL="516668" indent="0">
              <a:buNone/>
              <a:defRPr/>
            </a:lvl4pPr>
            <a:lvl5pPr marL="601191" indent="0">
              <a:buNone/>
              <a:defRPr/>
            </a:lvl5pPr>
          </a:lstStyle>
          <a:p>
            <a:pPr lvl="0"/>
            <a:r>
              <a:rPr lang="en-US" dirty="0"/>
              <a:t>Click to edit presentation subtitle</a:t>
            </a:r>
          </a:p>
        </p:txBody>
      </p:sp>
      <p:sp>
        <p:nvSpPr>
          <p:cNvPr id="14" name="Subtitle 2"/>
          <p:cNvSpPr>
            <a:spLocks noGrp="1"/>
          </p:cNvSpPr>
          <p:nvPr>
            <p:ph type="subTitle" idx="1" hasCustomPrompt="1"/>
          </p:nvPr>
        </p:nvSpPr>
        <p:spPr>
          <a:xfrm>
            <a:off x="460790" y="3793200"/>
            <a:ext cx="8239075"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39" indent="0" algn="ctr">
              <a:buNone/>
              <a:defRPr>
                <a:solidFill>
                  <a:schemeClr val="tx1">
                    <a:tint val="75000"/>
                  </a:schemeClr>
                </a:solidFill>
              </a:defRPr>
            </a:lvl2pPr>
            <a:lvl3pPr marL="685686" indent="0" algn="ctr">
              <a:buNone/>
              <a:defRPr>
                <a:solidFill>
                  <a:schemeClr val="tx1">
                    <a:tint val="75000"/>
                  </a:schemeClr>
                </a:solidFill>
              </a:defRPr>
            </a:lvl3pPr>
            <a:lvl4pPr marL="1028528" indent="0" algn="ctr">
              <a:buNone/>
              <a:defRPr>
                <a:solidFill>
                  <a:schemeClr val="tx1">
                    <a:tint val="75000"/>
                  </a:schemeClr>
                </a:solidFill>
              </a:defRPr>
            </a:lvl4pPr>
            <a:lvl5pPr marL="1371373" indent="0" algn="ctr">
              <a:buNone/>
              <a:defRPr>
                <a:solidFill>
                  <a:schemeClr val="tx1">
                    <a:tint val="75000"/>
                  </a:schemeClr>
                </a:solidFill>
              </a:defRPr>
            </a:lvl5pPr>
            <a:lvl6pPr marL="1714211" indent="0" algn="ctr">
              <a:buNone/>
              <a:defRPr>
                <a:solidFill>
                  <a:schemeClr val="tx1">
                    <a:tint val="75000"/>
                  </a:schemeClr>
                </a:solidFill>
              </a:defRPr>
            </a:lvl6pPr>
            <a:lvl7pPr marL="2057059" indent="0" algn="ctr">
              <a:buNone/>
              <a:defRPr>
                <a:solidFill>
                  <a:schemeClr val="tx1">
                    <a:tint val="75000"/>
                  </a:schemeClr>
                </a:solidFill>
              </a:defRPr>
            </a:lvl7pPr>
            <a:lvl8pPr marL="2399900" indent="0" algn="ctr">
              <a:buNone/>
              <a:defRPr>
                <a:solidFill>
                  <a:schemeClr val="tx1">
                    <a:tint val="75000"/>
                  </a:schemeClr>
                </a:solidFill>
              </a:defRPr>
            </a:lvl8pPr>
            <a:lvl9pPr marL="2742746" indent="0" algn="ctr">
              <a:buNone/>
              <a:defRPr>
                <a:solidFill>
                  <a:schemeClr val="tx1">
                    <a:tint val="75000"/>
                  </a:schemeClr>
                </a:solidFill>
              </a:defRPr>
            </a:lvl9pPr>
          </a:lstStyle>
          <a:p>
            <a:pPr lvl="0"/>
            <a:r>
              <a:rPr lang="en-US" dirty="0"/>
              <a:t>Click to edit presenter information</a:t>
            </a:r>
          </a:p>
        </p:txBody>
      </p:sp>
      <p:sp>
        <p:nvSpPr>
          <p:cNvPr id="15" name="Title 1"/>
          <p:cNvSpPr>
            <a:spLocks noGrp="1"/>
          </p:cNvSpPr>
          <p:nvPr>
            <p:ph type="ctrTitle" hasCustomPrompt="1"/>
          </p:nvPr>
        </p:nvSpPr>
        <p:spPr>
          <a:xfrm>
            <a:off x="425767" y="2639977"/>
            <a:ext cx="8274098" cy="644730"/>
          </a:xfrm>
          <a:prstGeom prst="rect">
            <a:avLst/>
          </a:prstGeom>
        </p:spPr>
        <p:txBody>
          <a:bodyPr anchor="b"/>
          <a:lstStyle>
            <a:lvl1pPr marL="0" indent="0" algn="l">
              <a:lnSpc>
                <a:spcPct val="90000"/>
              </a:lnSpc>
              <a:buFont typeface="Arial" panose="020B0604020202020204" pitchFamily="34" charset="0"/>
              <a:buNone/>
              <a:defRPr sz="4600" b="0" i="0" spc="-100" baseline="0">
                <a:solidFill>
                  <a:srgbClr val="FFFFFE"/>
                </a:solidFill>
                <a:latin typeface="+mj-lt"/>
                <a:cs typeface="CiscoSans Thin"/>
              </a:defRPr>
            </a:lvl1pPr>
          </a:lstStyle>
          <a:p>
            <a:r>
              <a:rPr lang="en-US" dirty="0"/>
              <a:t>Click to edit presentation title</a:t>
            </a:r>
          </a:p>
        </p:txBody>
      </p:sp>
      <p:pic>
        <p:nvPicPr>
          <p:cNvPr id="11" name="Picture 10"/>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543600" y="550800"/>
            <a:ext cx="2426502" cy="327600"/>
          </a:xfrm>
          <a:prstGeom prst="rect">
            <a:avLst/>
          </a:prstGeom>
        </p:spPr>
      </p:pic>
    </p:spTree>
    <p:extLst/>
  </p:cSld>
  <p:clrMapOvr>
    <a:masterClrMapping/>
  </p:clrMapOvr>
  <p:transition spd="slow">
    <p:wipe/>
  </p:transition>
  <p:extLst mod="1">
    <p:ext uri="{DCECCB84-F9BA-43D5-87BE-67443E8EF086}">
      <p15:sldGuideLst xmlns:p15="http://schemas.microsoft.com/office/powerpoint/2012/main"/>
    </p:ext>
  </p:extLst>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Bullet Slide">
    <p:spTree>
      <p:nvGrpSpPr>
        <p:cNvPr id="1" name=""/>
        <p:cNvGrpSpPr/>
        <p:nvPr/>
      </p:nvGrpSpPr>
      <p:grpSpPr>
        <a:xfrm>
          <a:off x="0" y="0"/>
          <a:ext cx="0" cy="0"/>
          <a:chOff x="0" y="0"/>
          <a:chExt cx="0" cy="0"/>
        </a:xfrm>
      </p:grpSpPr>
      <p:sp>
        <p:nvSpPr>
          <p:cNvPr id="11" name="Title 1"/>
          <p:cNvSpPr>
            <a:spLocks noGrp="1"/>
          </p:cNvSpPr>
          <p:nvPr>
            <p:ph type="title"/>
          </p:nvPr>
        </p:nvSpPr>
        <p:spPr>
          <a:xfrm>
            <a:off x="219532" y="53340"/>
            <a:ext cx="8711929" cy="628650"/>
          </a:xfrm>
        </p:spPr>
        <p:txBody>
          <a:bodyPr/>
          <a:lstStyle>
            <a:lvl1pPr algn="l" defTabSz="685169" rtl="0" eaLnBrk="1" latinLnBrk="0" hangingPunct="1">
              <a:lnSpc>
                <a:spcPct val="80000"/>
              </a:lnSpc>
              <a:spcBef>
                <a:spcPct val="0"/>
              </a:spcBef>
              <a:buNone/>
              <a:defRPr lang="en-US" sz="2700" b="0" kern="1200" spc="-75" baseline="0" dirty="0">
                <a:solidFill>
                  <a:schemeClr val="tx1"/>
                </a:solidFill>
                <a:latin typeface="+mj-lt"/>
                <a:ea typeface="+mj-ea"/>
                <a:cs typeface="+mj-cs"/>
              </a:defRPr>
            </a:lvl1pPr>
          </a:lstStyle>
          <a:p>
            <a:r>
              <a:rPr lang="en-US" dirty="0"/>
              <a:t>Click to edit Master title style</a:t>
            </a:r>
          </a:p>
        </p:txBody>
      </p:sp>
      <p:sp>
        <p:nvSpPr>
          <p:cNvPr id="12" name="Text Placeholder 7"/>
          <p:cNvSpPr>
            <a:spLocks noGrp="1"/>
          </p:cNvSpPr>
          <p:nvPr>
            <p:ph type="body" sz="quarter" idx="11" hasCustomPrompt="1"/>
          </p:nvPr>
        </p:nvSpPr>
        <p:spPr>
          <a:xfrm>
            <a:off x="219532" y="636270"/>
            <a:ext cx="8711929" cy="342900"/>
          </a:xfrm>
          <a:prstGeom prst="rect">
            <a:avLst/>
          </a:prstGeom>
        </p:spPr>
        <p:txBody>
          <a:bodyPr lIns="68519" tIns="34267" rIns="68519" bIns="34267">
            <a:noAutofit/>
          </a:bodyPr>
          <a:lstStyle>
            <a:lvl1pPr marL="0" indent="0">
              <a:buNone/>
              <a:defRPr lang="en-US" sz="1500" kern="1200" spc="-38" baseline="0" dirty="0">
                <a:solidFill>
                  <a:schemeClr val="bg1">
                    <a:lumMod val="20000"/>
                    <a:lumOff val="80000"/>
                  </a:schemeClr>
                </a:solidFill>
                <a:latin typeface="+mj-lt"/>
                <a:ea typeface="+mn-ea"/>
                <a:cs typeface="+mn-cs"/>
              </a:defRPr>
            </a:lvl1pPr>
          </a:lstStyle>
          <a:p>
            <a:pPr marL="0" lvl="0" indent="0" algn="l" defTabSz="685169" rtl="0" eaLnBrk="1" latinLnBrk="0" hangingPunct="1">
              <a:lnSpc>
                <a:spcPct val="95000"/>
              </a:lnSpc>
              <a:spcBef>
                <a:spcPts val="1080"/>
              </a:spcBef>
              <a:buClr>
                <a:schemeClr val="accent1">
                  <a:lumMod val="40000"/>
                  <a:lumOff val="60000"/>
                </a:schemeClr>
              </a:buClr>
              <a:buSzPct val="90000"/>
              <a:buFont typeface="Arial" pitchFamily="34" charset="0"/>
              <a:buNone/>
              <a:tabLst/>
            </a:pPr>
            <a:r>
              <a:rPr lang="en-US" dirty="0"/>
              <a:t>Slide Subtitle</a:t>
            </a:r>
          </a:p>
        </p:txBody>
      </p:sp>
      <p:sp>
        <p:nvSpPr>
          <p:cNvPr id="3" name="Text Placeholder 2"/>
          <p:cNvSpPr>
            <a:spLocks noGrp="1"/>
          </p:cNvSpPr>
          <p:nvPr>
            <p:ph type="body" sz="quarter" idx="14"/>
          </p:nvPr>
        </p:nvSpPr>
        <p:spPr>
          <a:xfrm>
            <a:off x="219513" y="1257300"/>
            <a:ext cx="8697018" cy="3543300"/>
          </a:xfrm>
          <a:prstGeom prst="rect">
            <a:avLst/>
          </a:prstGeom>
        </p:spPr>
        <p:txBody>
          <a:bodyPr lIns="68519" tIns="34267" rIns="68519" bIns="34267"/>
          <a:lstStyle>
            <a:lvl2pPr marL="518641" indent="-214118">
              <a:buClrTx/>
              <a:buSzPct val="80000"/>
              <a:buFont typeface="Courier New"/>
              <a:buChar char="o"/>
              <a:defRPr/>
            </a:lvl2pPr>
            <a:lvl3pPr marL="669704" indent="-130844">
              <a:buClrTx/>
              <a:buFont typeface="Lucida Grande"/>
              <a:buChar char="-"/>
              <a:tabLst/>
              <a:defRPr/>
            </a:lvl3pPr>
          </a:lstStyle>
          <a:p>
            <a:pPr lvl="0"/>
            <a:r>
              <a:rPr lang="en-US" dirty="0"/>
              <a:t>Click to edit Master text styles</a:t>
            </a:r>
          </a:p>
          <a:p>
            <a:pPr lvl="1"/>
            <a:r>
              <a:rPr lang="en-US" dirty="0"/>
              <a:t>Second level</a:t>
            </a:r>
          </a:p>
          <a:p>
            <a:pPr lvl="2"/>
            <a:r>
              <a:rPr lang="en-US" dirty="0"/>
              <a:t>	Third level</a:t>
            </a:r>
          </a:p>
          <a:p>
            <a:pPr lvl="3"/>
            <a:r>
              <a:rPr lang="en-US" dirty="0"/>
              <a:t>	Fourth level</a:t>
            </a:r>
          </a:p>
          <a:p>
            <a:pPr lvl="4"/>
            <a:r>
              <a:rPr lang="en-US" dirty="0"/>
              <a:t>		Fifth level</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4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347663" indent="-290513">
              <a:lnSpc>
                <a:spcPct val="95000"/>
              </a:lnSpc>
              <a:spcBef>
                <a:spcPts val="1110"/>
              </a:spcBef>
              <a:buClr>
                <a:schemeClr val="tx2"/>
              </a:buClr>
              <a:buSzPct val="80000"/>
              <a:buFont typeface="Wingdings" panose="05000000000000000000" pitchFamily="2" charset="2"/>
              <a:buChar char="§"/>
              <a:defRPr sz="28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
        <p:nvSpPr>
          <p:cNvPr id="5"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ext uri="{BB962C8B-B14F-4D97-AF65-F5344CB8AC3E}">
        <p14:creationId xmlns:p14="http://schemas.microsoft.com/office/powerpoint/2010/main" val="1413619636"/>
      </p:ext>
    </p:extLst>
  </p:cSld>
  <p:clrMapOvr>
    <a:masterClrMapping/>
  </p:clrMapOvr>
  <p:transition spd="med">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userDrawn="1">
  <p:cSld name="6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9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userDrawn="1">
  <p:cSld name="11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userDrawn="1">
  <p:cSld name="13_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5"/>
            <a:ext cx="8345488" cy="73183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a:defRPr>
                <a:solidFill>
                  <a:schemeClr val="tx2"/>
                </a:solidFill>
              </a:defRPr>
            </a:lvl1pPr>
          </a:lstStyle>
          <a:p>
            <a:pPr lvl="0"/>
            <a:r>
              <a:rPr lang="en-US"/>
              <a:t>Click to edit Master title style</a:t>
            </a:r>
            <a:endParaRPr lang="en-GB" dirty="0"/>
          </a:p>
        </p:txBody>
      </p:sp>
    </p:spTree>
    <p:extLst/>
  </p:cSld>
  <p:clrMapOvr>
    <a:masterClrMapping/>
  </p:clrMapOvr>
  <p:transition spd="med">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defRPr>
            </a:lvl1pPr>
          </a:lstStyle>
          <a:p>
            <a:pPr lvl="0"/>
            <a:r>
              <a:rPr lang="en-US"/>
              <a:t>Click to edit Master title style</a:t>
            </a:r>
            <a:endParaRPr lang="en-GB" dirty="0"/>
          </a:p>
        </p:txBody>
      </p:sp>
    </p:spTree>
    <p:extLst>
      <p:ext uri="{BB962C8B-B14F-4D97-AF65-F5344CB8AC3E}">
        <p14:creationId xmlns:p14="http://schemas.microsoft.com/office/powerpoint/2010/main" val="10928926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Bullet Slide">
    <p:spTree>
      <p:nvGrpSpPr>
        <p:cNvPr id="1" name=""/>
        <p:cNvGrpSpPr/>
        <p:nvPr/>
      </p:nvGrpSpPr>
      <p:grpSpPr>
        <a:xfrm>
          <a:off x="0" y="0"/>
          <a:ext cx="0" cy="0"/>
          <a:chOff x="0" y="0"/>
          <a:chExt cx="0" cy="0"/>
        </a:xfrm>
      </p:grpSpPr>
      <p:sp>
        <p:nvSpPr>
          <p:cNvPr id="11" name="Title 1"/>
          <p:cNvSpPr>
            <a:spLocks noGrp="1"/>
          </p:cNvSpPr>
          <p:nvPr>
            <p:ph type="title"/>
          </p:nvPr>
        </p:nvSpPr>
        <p:spPr>
          <a:xfrm>
            <a:off x="219518" y="329565"/>
            <a:ext cx="8711929" cy="628650"/>
          </a:xfrm>
        </p:spPr>
        <p:txBody>
          <a:bodyPr/>
          <a:lstStyle>
            <a:lvl1pPr algn="l" defTabSz="914134" rtl="0" eaLnBrk="1" latinLnBrk="0" hangingPunct="1">
              <a:lnSpc>
                <a:spcPct val="80000"/>
              </a:lnSpc>
              <a:spcBef>
                <a:spcPct val="0"/>
              </a:spcBef>
              <a:buNone/>
              <a:defRPr lang="en-US" sz="3599" b="0" kern="1200" spc="-100" baseline="0" dirty="0">
                <a:solidFill>
                  <a:schemeClr val="tx2"/>
                </a:solidFill>
                <a:latin typeface="+mj-lt"/>
                <a:ea typeface="+mj-ea"/>
                <a:cs typeface="+mj-cs"/>
              </a:defRPr>
            </a:lvl1pPr>
          </a:lstStyle>
          <a:p>
            <a:r>
              <a:rPr lang="en-US" dirty="0"/>
              <a:t>Click to edit Master title style</a:t>
            </a:r>
          </a:p>
        </p:txBody>
      </p:sp>
      <p:sp>
        <p:nvSpPr>
          <p:cNvPr id="12" name="Text Placeholder 7"/>
          <p:cNvSpPr>
            <a:spLocks noGrp="1"/>
          </p:cNvSpPr>
          <p:nvPr>
            <p:ph type="body" sz="quarter" idx="11" hasCustomPrompt="1"/>
          </p:nvPr>
        </p:nvSpPr>
        <p:spPr>
          <a:xfrm>
            <a:off x="219518" y="912495"/>
            <a:ext cx="8711929" cy="342900"/>
          </a:xfrm>
          <a:prstGeom prst="rect">
            <a:avLst/>
          </a:prstGeom>
        </p:spPr>
        <p:txBody>
          <a:bodyPr lIns="68589" tIns="34295" rIns="68589" bIns="34295">
            <a:noAutofit/>
          </a:bodyPr>
          <a:lstStyle>
            <a:lvl1pPr marL="0" indent="0">
              <a:buNone/>
              <a:defRPr lang="en-US" sz="2799" kern="1200" spc="-50" baseline="0" dirty="0">
                <a:solidFill>
                  <a:schemeClr val="bg1">
                    <a:lumMod val="20000"/>
                    <a:lumOff val="80000"/>
                  </a:schemeClr>
                </a:solidFill>
                <a:latin typeface="+mj-lt"/>
                <a:ea typeface="+mn-ea"/>
                <a:cs typeface="+mn-cs"/>
              </a:defRPr>
            </a:lvl1pPr>
          </a:lstStyle>
          <a:p>
            <a:pPr marL="0" lvl="0" indent="0" algn="l" defTabSz="914134" rtl="0" eaLnBrk="1" latinLnBrk="0" hangingPunct="1">
              <a:lnSpc>
                <a:spcPct val="95000"/>
              </a:lnSpc>
              <a:spcBef>
                <a:spcPts val="1440"/>
              </a:spcBef>
              <a:buClr>
                <a:schemeClr val="accent1">
                  <a:lumMod val="40000"/>
                  <a:lumOff val="60000"/>
                </a:schemeClr>
              </a:buClr>
              <a:buSzPct val="90000"/>
              <a:buFont typeface="Arial" pitchFamily="34" charset="0"/>
              <a:buNone/>
              <a:tabLst/>
            </a:pPr>
            <a:r>
              <a:rPr lang="en-US" dirty="0"/>
              <a:t>Slide Subtitle</a:t>
            </a:r>
          </a:p>
        </p:txBody>
      </p:sp>
      <p:sp>
        <p:nvSpPr>
          <p:cNvPr id="7" name="Text Placeholder 6"/>
          <p:cNvSpPr>
            <a:spLocks noGrp="1"/>
          </p:cNvSpPr>
          <p:nvPr>
            <p:ph type="body" sz="quarter" idx="13" hasCustomPrompt="1"/>
          </p:nvPr>
        </p:nvSpPr>
        <p:spPr>
          <a:xfrm>
            <a:off x="219513" y="1257300"/>
            <a:ext cx="8697018" cy="3543300"/>
          </a:xfrm>
          <a:prstGeom prst="rect">
            <a:avLst/>
          </a:prstGeom>
        </p:spPr>
        <p:txBody>
          <a:bodyPr lIns="68589" tIns="34295" rIns="68589" bIns="34295"/>
          <a:lstStyle>
            <a:lvl1pPr marL="228534" indent="-228534" algn="l" defTabSz="914134" rtl="0" eaLnBrk="1" latinLnBrk="0" hangingPunct="1">
              <a:lnSpc>
                <a:spcPct val="95000"/>
              </a:lnSpc>
              <a:spcBef>
                <a:spcPts val="1440"/>
              </a:spcBef>
              <a:buClr>
                <a:schemeClr val="accent3">
                  <a:lumMod val="40000"/>
                  <a:lumOff val="60000"/>
                </a:schemeClr>
              </a:buClr>
              <a:buSzPct val="90000"/>
              <a:buFont typeface="Arial" pitchFamily="34" charset="0"/>
              <a:buChar char="•"/>
              <a:tabLst/>
              <a:defRPr/>
            </a:lvl1pPr>
            <a:lvl2pPr marL="406282" indent="0" algn="l" defTabSz="914134" rtl="0" eaLnBrk="1" latinLnBrk="0" hangingPunct="1">
              <a:lnSpc>
                <a:spcPct val="95000"/>
              </a:lnSpc>
              <a:spcBef>
                <a:spcPts val="600"/>
              </a:spcBef>
              <a:buClr>
                <a:schemeClr val="tx2"/>
              </a:buClr>
              <a:buSzPct val="90000"/>
              <a:buFontTx/>
              <a:buNone/>
              <a:tabLst/>
              <a:defRPr/>
            </a:lvl2pPr>
            <a:lvl3pPr marL="571334" indent="-1588" algn="l" defTabSz="914134" rtl="0" eaLnBrk="1" latinLnBrk="0" hangingPunct="1">
              <a:lnSpc>
                <a:spcPct val="95000"/>
              </a:lnSpc>
              <a:spcBef>
                <a:spcPts val="840"/>
              </a:spcBef>
              <a:buClr>
                <a:schemeClr val="tx2"/>
              </a:buClr>
              <a:buSzPct val="90000"/>
              <a:buFont typeface="Arial" pitchFamily="34" charset="0"/>
              <a:buNone/>
              <a:tabLst/>
              <a:defRPr/>
            </a:lvl3pPr>
          </a:lstStyle>
          <a:p>
            <a:pPr marL="228534" lvl="0" indent="-228534" algn="l" defTabSz="914134" rtl="0" eaLnBrk="1" latinLnBrk="0" hangingPunct="1">
              <a:lnSpc>
                <a:spcPct val="95000"/>
              </a:lnSpc>
              <a:spcBef>
                <a:spcPts val="1440"/>
              </a:spcBef>
              <a:buClr>
                <a:schemeClr val="accent3">
                  <a:lumMod val="40000"/>
                  <a:lumOff val="60000"/>
                </a:schemeClr>
              </a:buClr>
              <a:buSzPct val="90000"/>
              <a:buFont typeface="Arial" pitchFamily="34" charset="0"/>
              <a:buChar char="•"/>
              <a:tabLst/>
            </a:pPr>
            <a:r>
              <a:rPr lang="en-US" dirty="0"/>
              <a:t>Body Text</a:t>
            </a:r>
          </a:p>
          <a:p>
            <a:pPr marL="406282" lvl="1" indent="0" algn="l" defTabSz="914134" rtl="0" eaLnBrk="1" latinLnBrk="0" hangingPunct="1">
              <a:lnSpc>
                <a:spcPct val="95000"/>
              </a:lnSpc>
              <a:spcBef>
                <a:spcPts val="600"/>
              </a:spcBef>
              <a:buClr>
                <a:schemeClr val="tx2"/>
              </a:buClr>
              <a:buSzPct val="90000"/>
              <a:buFontTx/>
              <a:buNone/>
              <a:tabLst/>
            </a:pPr>
            <a:r>
              <a:rPr lang="en-US" dirty="0"/>
              <a:t>Second level</a:t>
            </a:r>
          </a:p>
          <a:p>
            <a:pPr marL="571334" lvl="2" indent="-1588" algn="l" defTabSz="914134" rtl="0" eaLnBrk="1" latinLnBrk="0" hangingPunct="1">
              <a:lnSpc>
                <a:spcPct val="95000"/>
              </a:lnSpc>
              <a:spcBef>
                <a:spcPts val="840"/>
              </a:spcBef>
              <a:buClr>
                <a:schemeClr val="tx2"/>
              </a:buClr>
              <a:buSzPct val="90000"/>
              <a:buFont typeface="Arial" pitchFamily="34" charset="0"/>
              <a:buNone/>
              <a:tabLst/>
            </a:pPr>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27348342"/>
      </p:ext>
    </p:extLst>
  </p:cSld>
  <p:clrMapOvr>
    <a:masterClrMapping/>
  </p:clrMapOvr>
  <p:transition>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Multi_Slide">
    <p:spTree>
      <p:nvGrpSpPr>
        <p:cNvPr id="1" name=""/>
        <p:cNvGrpSpPr/>
        <p:nvPr/>
      </p:nvGrpSpPr>
      <p:grpSpPr>
        <a:xfrm>
          <a:off x="0" y="0"/>
          <a:ext cx="0" cy="0"/>
          <a:chOff x="0" y="0"/>
          <a:chExt cx="0" cy="0"/>
        </a:xfrm>
      </p:grpSpPr>
      <p:sp>
        <p:nvSpPr>
          <p:cNvPr id="5" name="Content Placeholder 2"/>
          <p:cNvSpPr>
            <a:spLocks noGrp="1"/>
          </p:cNvSpPr>
          <p:nvPr>
            <p:ph idx="1" hasCustomPrompt="1"/>
          </p:nvPr>
        </p:nvSpPr>
        <p:spPr>
          <a:xfrm>
            <a:off x="474668" y="1347790"/>
            <a:ext cx="8280057" cy="3073946"/>
          </a:xfrm>
          <a:prstGeom prst="rect">
            <a:avLst/>
          </a:prstGeom>
        </p:spPr>
        <p:txBody>
          <a:bodyPr lIns="91410" tIns="45705" rIns="91410" bIns="45705">
            <a:noAutofit/>
          </a:bodyPr>
          <a:lstStyle>
            <a:lvl1pPr marL="285584" marR="0" indent="-285584" algn="ctr" defTabSz="456932" rtl="0" eaLnBrk="1" fontAlgn="auto" latinLnBrk="0" hangingPunct="1">
              <a:lnSpc>
                <a:spcPct val="100000"/>
              </a:lnSpc>
              <a:spcBef>
                <a:spcPct val="20000"/>
              </a:spcBef>
              <a:spcAft>
                <a:spcPts val="0"/>
              </a:spcAft>
              <a:buClrTx/>
              <a:buSzTx/>
              <a:buFont typeface="Arial"/>
              <a:buNone/>
              <a:tabLst/>
              <a:defRPr sz="2000" b="0" i="0" baseline="0">
                <a:solidFill>
                  <a:schemeClr val="tx1"/>
                </a:solidFill>
                <a:latin typeface="+mn-lt"/>
                <a:cs typeface="CiscoSans ExtraLight"/>
              </a:defRPr>
            </a:lvl1pPr>
          </a:lstStyle>
          <a:p>
            <a:pPr lvl="0"/>
            <a:r>
              <a:rPr lang="en-GB" dirty="0"/>
              <a:t>Click to edit text</a:t>
            </a:r>
          </a:p>
        </p:txBody>
      </p:sp>
      <p:sp>
        <p:nvSpPr>
          <p:cNvPr id="4" name="Title Placeholder 5"/>
          <p:cNvSpPr>
            <a:spLocks noGrp="1"/>
          </p:cNvSpPr>
          <p:nvPr>
            <p:ph type="title"/>
          </p:nvPr>
        </p:nvSpPr>
        <p:spPr bwMode="auto">
          <a:xfrm>
            <a:off x="437766" y="341322"/>
            <a:ext cx="8345488" cy="731837"/>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14" tIns="45707" rIns="91414" bIns="45707" numCol="1" anchor="ctr" anchorCtr="0" compatLnSpc="1">
            <a:prstTxWarp prst="textNoShape">
              <a:avLst/>
            </a:prstTxWarp>
          </a:bodyPr>
          <a:lstStyle/>
          <a:p>
            <a:pPr lvl="0"/>
            <a:r>
              <a:rPr lang="en-US" dirty="0"/>
              <a:t>Click to edit Master title style</a:t>
            </a:r>
            <a:endParaRPr lang="en-GB" dirty="0"/>
          </a:p>
        </p:txBody>
      </p:sp>
    </p:spTree>
    <p:extLst>
      <p:ext uri="{BB962C8B-B14F-4D97-AF65-F5344CB8AC3E}">
        <p14:creationId xmlns:p14="http://schemas.microsoft.com/office/powerpoint/2010/main" val="391239917"/>
      </p:ext>
    </p:extLst>
  </p:cSld>
  <p:clrMapOvr>
    <a:masterClrMapping/>
  </p:clrMapOvr>
  <p:transition spd="med">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Arial Regular" charset="0"/>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Arial Regular" charset="0"/>
                <a:cs typeface="CiscoSans ExtraLight"/>
              </a:defRPr>
            </a:lvl2pPr>
            <a:lvl3pPr marL="747558" indent="-171415">
              <a:buClr>
                <a:schemeClr val="tx2"/>
              </a:buClr>
              <a:buSzPct val="80000"/>
              <a:buFont typeface="Arial"/>
              <a:buChar char="•"/>
              <a:defRPr sz="1600" b="0" i="0">
                <a:solidFill>
                  <a:schemeClr val="tx2"/>
                </a:solidFill>
                <a:latin typeface="Arial Regular" charset="0"/>
                <a:cs typeface="CiscoSans ExtraLight"/>
              </a:defRPr>
            </a:lvl3pPr>
            <a:lvl4pPr marL="911035" indent="-171415">
              <a:buClr>
                <a:schemeClr val="tx2"/>
              </a:buClr>
              <a:buSzPct val="80000"/>
              <a:buFont typeface="Arial"/>
              <a:buChar char="•"/>
              <a:defRPr sz="1400" b="0" i="0">
                <a:solidFill>
                  <a:schemeClr val="tx2"/>
                </a:solidFill>
                <a:latin typeface="Arial Regular" charset="0"/>
                <a:cs typeface="CiscoSans ExtraLight"/>
              </a:defRPr>
            </a:lvl4pPr>
            <a:lvl5pPr marL="1082450" indent="-168240">
              <a:buClr>
                <a:schemeClr val="tx2"/>
              </a:buClr>
              <a:buSzPct val="80000"/>
              <a:buFont typeface="Arial"/>
              <a:buChar char="•"/>
              <a:defRPr sz="1200"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ext uri="{BB962C8B-B14F-4D97-AF65-F5344CB8AC3E}">
        <p14:creationId xmlns:p14="http://schemas.microsoft.com/office/powerpoint/2010/main" val="1971850106"/>
      </p:ext>
    </p:extLst>
  </p:cSld>
  <p:clrMapOvr>
    <a:masterClrMapping/>
  </p:clrMapOvr>
  <p:transition spd="med">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3"/>
            <a:ext cx="8480388" cy="4266646"/>
          </a:xfrm>
          <a:prstGeom prst="rect">
            <a:avLst/>
          </a:prstGeom>
        </p:spPr>
        <p:txBody>
          <a:bodyPr vert="horz" lIns="91424" tIns="45712" rIns="91424" bIns="45712"/>
          <a:lstStyle>
            <a:lvl1pPr marL="0" indent="0" algn="ctr">
              <a:buNone/>
              <a:defRPr sz="1499" baseline="0">
                <a:solidFill>
                  <a:schemeClr val="tx2"/>
                </a:solidFill>
                <a:latin typeface="+mn-lt"/>
                <a:cs typeface="CiscoSans ExtraLight"/>
              </a:defRPr>
            </a:lvl1pPr>
          </a:lstStyle>
          <a:p>
            <a:pPr lvl="0"/>
            <a:r>
              <a:rPr lang="en-US" noProof="0"/>
              <a:t>Click icon to add picture</a:t>
            </a:r>
            <a:endParaRPr lang="en-US" noProof="0" dirty="0"/>
          </a:p>
        </p:txBody>
      </p:sp>
    </p:spTree>
    <p:extLst>
      <p:ext uri="{BB962C8B-B14F-4D97-AF65-F5344CB8AC3E}">
        <p14:creationId xmlns:p14="http://schemas.microsoft.com/office/powerpoint/2010/main" val="1238329747"/>
      </p:ext>
    </p:extLst>
  </p:cSld>
  <p:clrMapOvr>
    <a:masterClrMapping/>
  </p:clrMapOvr>
  <p:transition spd="med">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gradFill>
          <a:gsLst>
            <a:gs pos="0">
              <a:schemeClr val="bg2"/>
            </a:gs>
            <a:gs pos="100000">
              <a:schemeClr val="accent1"/>
            </a:gs>
          </a:gsLst>
          <a:lin ang="5400000" scaled="0"/>
        </a:gra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Arial Regular" charset="0"/>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ltLang="zh-CN" dirty="0"/>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Arial Regular" charset="0"/>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ltLang="zh-CN" dirty="0"/>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Arial Regular" charset="0"/>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ltLang="zh-CN" dirty="0"/>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0" i="0" baseline="0">
                <a:solidFill>
                  <a:srgbClr val="FFFFFE"/>
                </a:solidFill>
                <a:latin typeface="Arial Regular" charset="0"/>
              </a:defRPr>
            </a:lvl1pPr>
            <a:lvl2pPr marL="304781" indent="0">
              <a:buNone/>
              <a:defRPr/>
            </a:lvl2pPr>
            <a:lvl3pPr marL="427401" indent="0">
              <a:buNone/>
              <a:defRPr/>
            </a:lvl3pPr>
            <a:lvl4pPr marL="516694" indent="0">
              <a:buNone/>
              <a:defRPr/>
            </a:lvl4pPr>
            <a:lvl5pPr marL="601221" indent="0">
              <a:buNone/>
              <a:defRPr/>
            </a:lvl5pPr>
          </a:lstStyle>
          <a:p>
            <a:pPr lvl="0"/>
            <a:r>
              <a:rPr lang="en-US" altLang="zh-CN" dirty="0"/>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5200" b="0" i="0" spc="0" baseline="0">
                <a:solidFill>
                  <a:srgbClr val="FFFFFE"/>
                </a:solidFill>
                <a:latin typeface="Arial Regular" charset="0"/>
                <a:cs typeface="CiscoSans Thin"/>
              </a:defRPr>
            </a:lvl1pPr>
          </a:lstStyle>
          <a:p>
            <a:r>
              <a:rPr lang="en-US" altLang="zh-CN" dirty="0"/>
              <a:t>Click to edit Master title style</a:t>
            </a:r>
            <a:endParaRPr lang="en-US" dirty="0"/>
          </a:p>
        </p:txBody>
      </p:sp>
    </p:spTree>
    <p:extLst/>
  </p:cSld>
  <p:clrMapOvr>
    <a:masterClrMapping/>
  </p:clrMapOvr>
  <p:transition spd="slow">
    <p:wip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99915" y="3209550"/>
            <a:ext cx="4684867" cy="288131"/>
          </a:xfrm>
          <a:prstGeom prst="rect">
            <a:avLst/>
          </a:prstGeom>
        </p:spPr>
        <p:txBody>
          <a:bodyPr vert="horz" lIns="68574" tIns="34288" rIns="68574" bIns="34288" rtlCol="0">
            <a:noAutofit/>
          </a:bodyPr>
          <a:lstStyle>
            <a:lvl1pPr marL="0" indent="0" algn="l" defTabSz="685748" rtl="0" eaLnBrk="1" latinLnBrk="0" hangingPunct="1">
              <a:lnSpc>
                <a:spcPct val="95000"/>
              </a:lnSpc>
              <a:spcBef>
                <a:spcPts val="1080"/>
              </a:spcBef>
              <a:buClr>
                <a:srgbClr val="92D050"/>
              </a:buClr>
              <a:buSzPct val="90000"/>
              <a:buFont typeface="Arial" pitchFamily="34" charset="0"/>
              <a:buNone/>
              <a:tabLst/>
              <a:defRPr lang="en-US" sz="1800" b="0" i="0" kern="1200" baseline="0" dirty="0">
                <a:solidFill>
                  <a:schemeClr val="tx1"/>
                </a:solidFill>
                <a:latin typeface="Arial Regular" charset="0"/>
                <a:ea typeface="+mn-ea"/>
                <a:cs typeface="+mn-cs"/>
              </a:defRPr>
            </a:lvl1pPr>
            <a:lvl2pPr marL="342871" indent="0" algn="ctr">
              <a:buNone/>
              <a:defRPr>
                <a:solidFill>
                  <a:schemeClr val="tx1">
                    <a:tint val="75000"/>
                  </a:schemeClr>
                </a:solidFill>
              </a:defRPr>
            </a:lvl2pPr>
            <a:lvl3pPr marL="685748" indent="0" algn="ctr">
              <a:buNone/>
              <a:defRPr>
                <a:solidFill>
                  <a:schemeClr val="tx1">
                    <a:tint val="75000"/>
                  </a:schemeClr>
                </a:solidFill>
              </a:defRPr>
            </a:lvl3pPr>
            <a:lvl4pPr marL="1028622" indent="0" algn="ctr">
              <a:buNone/>
              <a:defRPr>
                <a:solidFill>
                  <a:schemeClr val="tx1">
                    <a:tint val="75000"/>
                  </a:schemeClr>
                </a:solidFill>
              </a:defRPr>
            </a:lvl4pPr>
            <a:lvl5pPr marL="1371498" indent="0" algn="ctr">
              <a:buNone/>
              <a:defRPr>
                <a:solidFill>
                  <a:schemeClr val="tx1">
                    <a:tint val="75000"/>
                  </a:schemeClr>
                </a:solidFill>
              </a:defRPr>
            </a:lvl5pPr>
            <a:lvl6pPr marL="1714369" indent="0" algn="ctr">
              <a:buNone/>
              <a:defRPr>
                <a:solidFill>
                  <a:schemeClr val="tx1">
                    <a:tint val="75000"/>
                  </a:schemeClr>
                </a:solidFill>
              </a:defRPr>
            </a:lvl6pPr>
            <a:lvl7pPr marL="2057246" indent="0" algn="ctr">
              <a:buNone/>
              <a:defRPr>
                <a:solidFill>
                  <a:schemeClr val="tx1">
                    <a:tint val="75000"/>
                  </a:schemeClr>
                </a:solidFill>
              </a:defRPr>
            </a:lvl7pPr>
            <a:lvl8pPr marL="2400120" indent="0" algn="ctr">
              <a:buNone/>
              <a:defRPr>
                <a:solidFill>
                  <a:schemeClr val="tx1">
                    <a:tint val="75000"/>
                  </a:schemeClr>
                </a:solidFill>
              </a:defRPr>
            </a:lvl8pPr>
            <a:lvl9pPr marL="2742996" indent="0" algn="ctr">
              <a:buNone/>
              <a:defRPr>
                <a:solidFill>
                  <a:schemeClr val="tx1">
                    <a:tint val="75000"/>
                  </a:schemeClr>
                </a:solidFill>
              </a:defRPr>
            </a:lvl9pPr>
          </a:lstStyle>
          <a:p>
            <a:pPr lvl="0"/>
            <a:r>
              <a:rPr lang="en-US" altLang="zh-CN" dirty="0"/>
              <a:t>Click to edit Master subtitle style</a:t>
            </a:r>
            <a:endParaRPr lang="en-US" dirty="0"/>
          </a:p>
        </p:txBody>
      </p:sp>
      <p:sp>
        <p:nvSpPr>
          <p:cNvPr id="2" name="Title 1"/>
          <p:cNvSpPr>
            <a:spLocks noGrp="1"/>
          </p:cNvSpPr>
          <p:nvPr>
            <p:ph type="ctrTitle"/>
          </p:nvPr>
        </p:nvSpPr>
        <p:spPr>
          <a:xfrm>
            <a:off x="459525" y="2462027"/>
            <a:ext cx="4712557" cy="766763"/>
          </a:xfrm>
        </p:spPr>
        <p:txBody>
          <a:bodyPr lIns="61715" tIns="34288" rIns="61715" bIns="34288" rtlCol="0" anchor="b">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5200" b="0" i="0" kern="1200" spc="0" baseline="0" dirty="0">
                <a:solidFill>
                  <a:schemeClr val="accent1"/>
                </a:solidFill>
                <a:latin typeface="Arial Regular" charset="0"/>
                <a:ea typeface="+mj-ea"/>
                <a:cs typeface="+mj-cs"/>
              </a:defRPr>
            </a:lvl1pPr>
          </a:lstStyle>
          <a:p>
            <a:r>
              <a:rPr lang="en-US" altLang="zh-CN" dirty="0"/>
              <a:t>Click to edit Master title style</a:t>
            </a:r>
            <a:endParaRPr lang="en-US" dirty="0"/>
          </a:p>
        </p:txBody>
      </p:sp>
      <p:sp>
        <p:nvSpPr>
          <p:cNvPr id="31" name="Picture Placeholder 30"/>
          <p:cNvSpPr>
            <a:spLocks noGrp="1"/>
          </p:cNvSpPr>
          <p:nvPr>
            <p:ph type="pic" sz="quarter" idx="10"/>
          </p:nvPr>
        </p:nvSpPr>
        <p:spPr>
          <a:xfrm>
            <a:off x="5540381" y="1438276"/>
            <a:ext cx="2676525" cy="2166938"/>
          </a:xfrm>
          <a:prstGeom prst="rect">
            <a:avLst/>
          </a:prstGeom>
        </p:spPr>
        <p:txBody>
          <a:bodyPr lIns="91420" tIns="45710" rIns="91420" bIns="45710" anchor="ctr" anchorCtr="1"/>
          <a:lstStyle>
            <a:lvl1pPr marL="0" indent="0" algn="ctr">
              <a:buNone/>
              <a:defRPr b="0" i="0">
                <a:solidFill>
                  <a:schemeClr val="tx1"/>
                </a:solidFill>
                <a:latin typeface="Arial Regular" charset="0"/>
              </a:defRPr>
            </a:lvl1pPr>
          </a:lstStyle>
          <a:p>
            <a:pPr lvl="0"/>
            <a:r>
              <a:rPr lang="en-US" altLang="zh-CN" noProof="0" dirty="0"/>
              <a:t>Drag picture to placeholder or click icon to add</a:t>
            </a:r>
            <a:endParaRPr lang="en-US" noProof="0" dirty="0"/>
          </a:p>
        </p:txBody>
      </p:sp>
    </p:spTree>
    <p:extLst/>
  </p:cSld>
  <p:clrMapOvr>
    <a:masterClrMapping/>
  </p:clrMapOvr>
  <p:transition spd="slow">
    <p:wip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gradFill rotWithShape="0">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509F5890-BE05-4D5D-AADF-DD6FDB4C472B}" type="slidenum">
              <a:rPr lang="en-US" sz="600">
                <a:solidFill>
                  <a:srgbClr val="FFFFFF">
                    <a:alpha val="60000"/>
                  </a:srgbClr>
                </a:solidFill>
                <a:latin typeface="Arial Regular" charset="0"/>
                <a:ea typeface=""/>
                <a:cs typeface="CiscoSans Thin"/>
              </a:rPr>
              <a:pPr algn="r" defTabSz="610744" fontAlgn="auto">
                <a:spcBef>
                  <a:spcPts val="0"/>
                </a:spcBef>
                <a:spcAft>
                  <a:spcPts val="0"/>
                </a:spcAft>
                <a:defRPr/>
              </a:pPr>
              <a:t>‹#›</a:t>
            </a:fld>
            <a:endParaRPr lang="en-US" sz="600" dirty="0">
              <a:solidFill>
                <a:srgbClr val="FFFFFF">
                  <a:alpha val="60000"/>
                </a:srgbClr>
              </a:solidFill>
              <a:latin typeface="Arial Regular" charset="0"/>
              <a:ea typeface=""/>
              <a:cs typeface="CiscoSans Thin"/>
            </a:endParaRPr>
          </a:p>
        </p:txBody>
      </p:sp>
      <p:sp>
        <p:nvSpPr>
          <p:cNvPr id="4"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Regular" charset="0"/>
                <a:ea typeface=""/>
                <a:cs typeface="CiscoSans Thin"/>
              </a:rPr>
              <a:t>© 2016  Cisco and/or its affiliates. All rights reserved.   Cisco Confidential</a:t>
            </a:r>
          </a:p>
        </p:txBody>
      </p:sp>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Arial Regular" charset="0"/>
                <a:cs typeface="CiscoSans Thin"/>
              </a:defRPr>
            </a:lvl1pPr>
          </a:lstStyle>
          <a:p>
            <a:r>
              <a:rPr lang="en-US" altLang="zh-CN" dirty="0"/>
              <a:t>Click to edit Master title style</a:t>
            </a:r>
            <a:endParaRPr lang="en-US" dirty="0"/>
          </a:p>
        </p:txBody>
      </p:sp>
      <p:pic>
        <p:nvPicPr>
          <p:cNvPr id="10" name="Picture 2"/>
          <p:cNvPicPr>
            <a:picLocks noChangeAspect="1" noChangeArrowheads="1"/>
          </p:cNvPicPr>
          <p:nvPr userDrawn="1"/>
        </p:nvPicPr>
        <p:blipFill>
          <a:blip r:embed="rId2">
            <a:alphaModFix amt="60000"/>
            <a:biLevel thresh="2500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cSld>
  <p:clrMapOvr>
    <a:masterClrMapping/>
  </p:clrMapOvr>
  <p:transition spd="slow">
    <p:wip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gue_Transition_White">
    <p:spTree>
      <p:nvGrpSpPr>
        <p:cNvPr id="1" name=""/>
        <p:cNvGrpSpPr/>
        <p:nvPr/>
      </p:nvGrpSpPr>
      <p:grpSpPr>
        <a:xfrm>
          <a:off x="0" y="0"/>
          <a:ext cx="0" cy="0"/>
          <a:chOff x="0" y="0"/>
          <a:chExt cx="0" cy="0"/>
        </a:xfrm>
      </p:grpSpPr>
      <p:sp>
        <p:nvSpPr>
          <p:cNvPr id="3" name="Rectangle 2"/>
          <p:cNvSpPr/>
          <p:nvPr userDrawn="1"/>
        </p:nvSpPr>
        <p:spPr>
          <a:xfrm>
            <a:off x="0" y="0"/>
            <a:ext cx="9144000" cy="5143500"/>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Title 1"/>
          <p:cNvSpPr>
            <a:spLocks noGrp="1"/>
          </p:cNvSpPr>
          <p:nvPr>
            <p:ph type="ctrTitle" hasCustomPrompt="1"/>
          </p:nvPr>
        </p:nvSpPr>
        <p:spPr>
          <a:xfrm>
            <a:off x="416425" y="915409"/>
            <a:ext cx="7598042" cy="2569946"/>
          </a:xfrm>
          <a:prstGeom prst="rect">
            <a:avLst/>
          </a:prstGeom>
          <a:noFill/>
        </p:spPr>
        <p:txBody>
          <a:bodyPr anchor="b">
            <a:noAutofit/>
          </a:bodyPr>
          <a:lstStyle>
            <a:lvl1pPr marL="0" indent="0" algn="l">
              <a:lnSpc>
                <a:spcPct val="90000"/>
              </a:lnSpc>
              <a:buFont typeface="Arial" panose="020B0604020202020204" pitchFamily="34" charset="0"/>
              <a:buNone/>
              <a:defRPr sz="3200" b="0" i="0" spc="0" baseline="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r>
              <a:rPr lang="en-GB" dirty="0"/>
              <a:t>Section Title Goes Here</a:t>
            </a:r>
            <a:endParaRPr lang="en-US" dirty="0"/>
          </a:p>
        </p:txBody>
      </p:sp>
    </p:spTree>
    <p:extLst>
      <p:ext uri="{BB962C8B-B14F-4D97-AF65-F5344CB8AC3E}">
        <p14:creationId xmlns:p14="http://schemas.microsoft.com/office/powerpoint/2010/main" val="39167776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gue">
    <p:spTree>
      <p:nvGrpSpPr>
        <p:cNvPr id="1" name=""/>
        <p:cNvGrpSpPr/>
        <p:nvPr/>
      </p:nvGrpSpPr>
      <p:grpSpPr>
        <a:xfrm>
          <a:off x="0" y="0"/>
          <a:ext cx="0" cy="0"/>
          <a:chOff x="0" y="0"/>
          <a:chExt cx="0" cy="0"/>
        </a:xfrm>
      </p:grpSpPr>
      <p:sp>
        <p:nvSpPr>
          <p:cNvPr id="7"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accent1"/>
                </a:solidFill>
                <a:latin typeface="Arial Regular" charset="0"/>
                <a:cs typeface="CiscoSans Thin"/>
              </a:defRPr>
            </a:lvl1pPr>
          </a:lstStyle>
          <a:p>
            <a:r>
              <a:rPr lang="en-US" altLang="zh-CN" dirty="0"/>
              <a:t>Click to edit Master title style</a:t>
            </a:r>
            <a:endParaRPr lang="en-US" dirty="0"/>
          </a:p>
        </p:txBody>
      </p:sp>
    </p:spTree>
    <p:extLst/>
  </p:cSld>
  <p:clrMapOvr>
    <a:masterClrMapping/>
  </p:clrMapOvr>
  <p:transition spd="slow">
    <p:wip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Arial Regular" charset="0"/>
                <a:cs typeface="CiscoSans ExtraLight"/>
              </a:defRPr>
            </a:lvl1pPr>
          </a:lstStyle>
          <a:p>
            <a:pPr lvl="0"/>
            <a:r>
              <a:rPr lang="en-US" altLang="zh-CN" dirty="0"/>
              <a:t>Click to edit Master text styles</a:t>
            </a:r>
          </a:p>
        </p:txBody>
      </p:sp>
      <p:sp>
        <p:nvSpPr>
          <p:cNvPr id="4"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3700" b="0" i="0">
                <a:solidFill>
                  <a:schemeClr val="tx2"/>
                </a:solidFill>
                <a:latin typeface="Arial Regular" charset="0"/>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ltLang="zh-CN" dirty="0"/>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Arial Regular" charset="0"/>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ltLang="zh-CN" dirty="0"/>
              <a:t>Click to edit Master text styles</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Arial Regular" charset="0"/>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ltLang="zh-CN" dirty="0"/>
              <a:t>Click to edit Master text styles</a:t>
            </a:r>
          </a:p>
        </p:txBody>
      </p:sp>
    </p:spTree>
    <p:extLst/>
  </p:cSld>
  <p:clrMapOvr>
    <a:masterClrMapping/>
  </p:clrMapOvr>
  <p:transition spd="med">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Arial"/>
              <a:buChar char="•"/>
              <a:defRPr sz="3700" b="0" i="0">
                <a:solidFill>
                  <a:schemeClr val="tx2"/>
                </a:solidFill>
                <a:latin typeface="Arial Regular" charset="0"/>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ltLang="zh-CN" dirty="0"/>
              <a:t>Click to edit Master text styles</a:t>
            </a:r>
          </a:p>
        </p:txBody>
      </p:sp>
    </p:spTree>
    <p:extLst/>
  </p:cSld>
  <p:clrMapOvr>
    <a:masterClrMapping/>
  </p:clrMapOvr>
  <p:transition spd="med">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Arial"/>
              <a:buChar char="•"/>
              <a:defRPr sz="2000" b="0" i="0">
                <a:solidFill>
                  <a:schemeClr val="tx2"/>
                </a:solidFill>
                <a:latin typeface="Arial Regular" charset="0"/>
                <a:cs typeface="CiscoSans ExtraLight"/>
              </a:defRPr>
            </a:lvl1pPr>
            <a:lvl2pPr marL="507895" indent="-215855">
              <a:lnSpc>
                <a:spcPct val="95000"/>
              </a:lnSpc>
              <a:spcBef>
                <a:spcPts val="450"/>
              </a:spcBef>
              <a:buClr>
                <a:schemeClr val="tx2"/>
              </a:buClr>
              <a:buSzPct val="80000"/>
              <a:buFont typeface="Arial"/>
              <a:buChar char="•"/>
              <a:defRPr sz="1800" b="0" i="0">
                <a:solidFill>
                  <a:schemeClr val="tx2"/>
                </a:solidFill>
                <a:latin typeface="Arial Regular" charset="0"/>
                <a:cs typeface="CiscoSans ExtraLight"/>
              </a:defRPr>
            </a:lvl2pPr>
            <a:lvl3pPr marL="747558" indent="-171415">
              <a:buClr>
                <a:schemeClr val="tx2"/>
              </a:buClr>
              <a:buSzPct val="80000"/>
              <a:buFont typeface="Arial"/>
              <a:buChar char="•"/>
              <a:defRPr sz="1600" b="0" i="0">
                <a:solidFill>
                  <a:schemeClr val="tx2"/>
                </a:solidFill>
                <a:latin typeface="Arial Regular" charset="0"/>
                <a:cs typeface="CiscoSans ExtraLight"/>
              </a:defRPr>
            </a:lvl3pPr>
            <a:lvl4pPr marL="911035" indent="-171415">
              <a:buClr>
                <a:schemeClr val="tx2"/>
              </a:buClr>
              <a:buSzPct val="80000"/>
              <a:buFont typeface="Arial"/>
              <a:buChar char="•"/>
              <a:defRPr sz="1400" b="0" i="0">
                <a:solidFill>
                  <a:schemeClr val="tx2"/>
                </a:solidFill>
                <a:latin typeface="Arial Regular" charset="0"/>
                <a:cs typeface="CiscoSans ExtraLight"/>
              </a:defRPr>
            </a:lvl4pPr>
            <a:lvl5pPr marL="1082450" indent="-168240">
              <a:buClr>
                <a:schemeClr val="tx2"/>
              </a:buClr>
              <a:buSzPct val="80000"/>
              <a:buFont typeface="Arial"/>
              <a:buChar char="•"/>
              <a:defRPr sz="1200"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Arial Regular" charset="0"/>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Arial Regular" charset="0"/>
                <a:cs typeface="CiscoSans ExtraLight"/>
              </a:defRPr>
            </a:lvl2pPr>
            <a:lvl3pPr marL="628520" indent="-171415">
              <a:buClr>
                <a:schemeClr val="tx2"/>
              </a:buClr>
              <a:buSzPct val="80000"/>
              <a:buFont typeface="Arial"/>
              <a:buChar char="•"/>
              <a:defRPr sz="1600" b="0" i="0">
                <a:solidFill>
                  <a:schemeClr val="tx2"/>
                </a:solidFill>
                <a:latin typeface="Arial Regular" charset="0"/>
                <a:cs typeface="CiscoSans ExtraLight"/>
              </a:defRPr>
            </a:lvl3pPr>
            <a:lvl4pPr marL="799934" indent="-171415">
              <a:buClr>
                <a:schemeClr val="tx2"/>
              </a:buClr>
              <a:buSzPct val="80000"/>
              <a:buFont typeface="Arial"/>
              <a:buChar char="•"/>
              <a:defRPr sz="1400" b="0" i="0">
                <a:solidFill>
                  <a:schemeClr val="tx2"/>
                </a:solidFill>
                <a:latin typeface="Arial Regular" charset="0"/>
                <a:cs typeface="CiscoSans ExtraLight"/>
              </a:defRPr>
            </a:lvl4pPr>
            <a:lvl5pPr marL="971347" indent="-171415">
              <a:buClr>
                <a:schemeClr val="tx2"/>
              </a:buClr>
              <a:buSzPct val="80000"/>
              <a:buFont typeface="Arial"/>
              <a:buChar char="•"/>
              <a:defRPr sz="1200"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baseline="0">
                <a:solidFill>
                  <a:schemeClr val="tx2"/>
                </a:solidFill>
                <a:latin typeface="Arial Regular" charset="0"/>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Arial Regular" charset="0"/>
                <a:cs typeface="CiscoSans ExtraLight"/>
              </a:defRPr>
            </a:lvl2pPr>
            <a:lvl3pPr marL="628520" indent="-171415">
              <a:buClr>
                <a:schemeClr val="tx2"/>
              </a:buClr>
              <a:buSzPct val="80000"/>
              <a:buFont typeface="Arial"/>
              <a:buChar char="•"/>
              <a:defRPr sz="1600" b="0" i="0">
                <a:solidFill>
                  <a:schemeClr val="tx2"/>
                </a:solidFill>
                <a:latin typeface="Arial Regular" charset="0"/>
                <a:cs typeface="CiscoSans ExtraLight"/>
              </a:defRPr>
            </a:lvl3pPr>
            <a:lvl4pPr marL="799934" indent="-171415">
              <a:buClr>
                <a:schemeClr val="tx2"/>
              </a:buClr>
              <a:buSzPct val="80000"/>
              <a:buFont typeface="Arial"/>
              <a:buChar char="•"/>
              <a:defRPr sz="1400" b="0" i="0">
                <a:solidFill>
                  <a:schemeClr val="tx2"/>
                </a:solidFill>
                <a:latin typeface="Arial Regular" charset="0"/>
                <a:cs typeface="CiscoSans ExtraLight"/>
              </a:defRPr>
            </a:lvl4pPr>
            <a:lvl5pPr marL="971347" indent="-171415">
              <a:buClr>
                <a:schemeClr val="tx2"/>
              </a:buClr>
              <a:buSzPct val="80000"/>
              <a:buFont typeface="Arial"/>
              <a:buChar char="•"/>
              <a:defRPr sz="1200"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302505"/>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3200" b="0" i="0" kern="1200" spc="-75" baseline="0" dirty="0" smtClean="0">
                <a:solidFill>
                  <a:schemeClr val="tx2"/>
                </a:solidFill>
                <a:latin typeface="Arial Regular" charset="0"/>
                <a:ea typeface="+mj-ea"/>
                <a:cs typeface="CiscoSans Thin"/>
              </a:defRPr>
            </a:lvl1pPr>
          </a:lstStyle>
          <a:p>
            <a:r>
              <a:rPr lang="en-US" altLang="zh-CN" dirty="0"/>
              <a:t>Click to edit Master title style</a:t>
            </a:r>
            <a:endParaRPr lang="en-US" dirty="0"/>
          </a:p>
        </p:txBody>
      </p:sp>
      <p:sp>
        <p:nvSpPr>
          <p:cNvPr id="16" name="Text Placeholder 15"/>
          <p:cNvSpPr>
            <a:spLocks noGrp="1"/>
          </p:cNvSpPr>
          <p:nvPr>
            <p:ph type="body" sz="quarter" idx="13"/>
          </p:nvPr>
        </p:nvSpPr>
        <p:spPr>
          <a:xfrm>
            <a:off x="4905964" y="302506"/>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3200" b="0" i="0" kern="1200" spc="-75" baseline="0" dirty="0">
                <a:solidFill>
                  <a:schemeClr val="tx2"/>
                </a:solidFill>
                <a:latin typeface="Arial Regular" charset="0"/>
                <a:ea typeface="+mj-ea"/>
                <a:cs typeface="CiscoSans Thin"/>
              </a:defRPr>
            </a:lvl1pPr>
          </a:lstStyle>
          <a:p>
            <a:pPr lvl="0"/>
            <a:r>
              <a:rPr lang="en-US" altLang="zh-CN" dirty="0"/>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Arial Regular" charset="0"/>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Arial Regular" charset="0"/>
                <a:cs typeface="CiscoSans ExtraLight"/>
              </a:defRPr>
            </a:lvl2pPr>
            <a:lvl3pPr marL="628520" indent="-171415">
              <a:buClr>
                <a:schemeClr val="tx2"/>
              </a:buClr>
              <a:buSzPct val="80000"/>
              <a:buFont typeface="Arial"/>
              <a:buChar char="•"/>
              <a:defRPr sz="1600" b="0" i="0">
                <a:solidFill>
                  <a:schemeClr val="tx2"/>
                </a:solidFill>
                <a:latin typeface="Arial Regular" charset="0"/>
                <a:cs typeface="CiscoSans ExtraLight"/>
              </a:defRPr>
            </a:lvl3pPr>
            <a:lvl4pPr marL="799934" indent="-171415">
              <a:buClr>
                <a:schemeClr val="tx2"/>
              </a:buClr>
              <a:buSzPct val="80000"/>
              <a:buFont typeface="Arial"/>
              <a:buChar char="•"/>
              <a:defRPr sz="1400" b="0" i="0">
                <a:solidFill>
                  <a:schemeClr val="tx2"/>
                </a:solidFill>
                <a:latin typeface="Arial Regular" charset="0"/>
                <a:cs typeface="CiscoSans ExtraLight"/>
              </a:defRPr>
            </a:lvl4pPr>
            <a:lvl5pPr marL="971347" indent="-171415">
              <a:buClr>
                <a:schemeClr val="tx2"/>
              </a:buClr>
              <a:buSzPct val="80000"/>
              <a:buFont typeface="Arial"/>
              <a:buChar char="•"/>
              <a:defRPr sz="1200"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Arial Regular" charset="0"/>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Arial Regular" charset="0"/>
                <a:cs typeface="CiscoSans ExtraLight"/>
              </a:defRPr>
            </a:lvl2pPr>
            <a:lvl3pPr marL="628520" indent="-171415">
              <a:buClr>
                <a:schemeClr val="tx2"/>
              </a:buClr>
              <a:buSzPct val="80000"/>
              <a:buFont typeface="Arial"/>
              <a:buChar char="•"/>
              <a:defRPr sz="1600" b="0" i="0">
                <a:solidFill>
                  <a:schemeClr val="tx2"/>
                </a:solidFill>
                <a:latin typeface="Arial Regular" charset="0"/>
                <a:cs typeface="CiscoSans ExtraLight"/>
              </a:defRPr>
            </a:lvl3pPr>
            <a:lvl4pPr marL="799934" indent="-171415">
              <a:buClr>
                <a:schemeClr val="tx2"/>
              </a:buClr>
              <a:buSzPct val="80000"/>
              <a:buFont typeface="Arial"/>
              <a:buChar char="•"/>
              <a:defRPr sz="1400" b="0" i="0">
                <a:solidFill>
                  <a:schemeClr val="tx2"/>
                </a:solidFill>
                <a:latin typeface="Arial Regular" charset="0"/>
                <a:cs typeface="CiscoSans ExtraLight"/>
              </a:defRPr>
            </a:lvl4pPr>
            <a:lvl5pPr marL="971347" indent="-171415">
              <a:buClr>
                <a:schemeClr val="tx2"/>
              </a:buClr>
              <a:buSzPct val="80000"/>
              <a:buFont typeface="Arial"/>
              <a:buChar char="•"/>
              <a:defRPr sz="1200"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Tree>
    <p:extLst/>
  </p:cSld>
  <p:clrMapOvr>
    <a:masterClrMapping/>
  </p:clrMapOvr>
  <p:transition spd="med">
    <p:fade/>
  </p:transition>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Arial Regular" charset="0"/>
                <a:ea typeface="+mj-ea"/>
                <a:cs typeface="CiscoSans Thin"/>
              </a:defRPr>
            </a:lvl1pPr>
          </a:lstStyle>
          <a:p>
            <a:pPr lvl="0"/>
            <a:r>
              <a:rPr lang="en-US" altLang="zh-CN" dirty="0"/>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Arial Regular" charset="0"/>
                <a:ea typeface="+mj-ea"/>
                <a:cs typeface="CiscoSans Thin"/>
              </a:defRPr>
            </a:lvl1pPr>
          </a:lstStyle>
          <a:p>
            <a:pPr lvl="0"/>
            <a:r>
              <a:rPr lang="en-US" altLang="zh-CN" dirty="0"/>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500" b="0" i="0" u="none" strike="noStrike" kern="1200" cap="none" spc="-75" normalizeH="0" baseline="0" noProof="0" dirty="0" smtClean="0">
                <a:ln>
                  <a:noFill/>
                </a:ln>
                <a:solidFill>
                  <a:schemeClr val="tx2"/>
                </a:solidFill>
                <a:effectLst/>
                <a:uLnTx/>
                <a:uFillTx/>
                <a:latin typeface="Arial Regular" charset="0"/>
                <a:ea typeface="+mj-ea"/>
                <a:cs typeface="CiscoSans Thin"/>
              </a:defRPr>
            </a:lvl1pPr>
          </a:lstStyle>
          <a:p>
            <a:pPr lvl="0"/>
            <a:r>
              <a:rPr lang="en-US" altLang="zh-CN" dirty="0"/>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Arial Regular" charset="0"/>
                <a:cs typeface="CiscoSans ExtraLight"/>
              </a:defRPr>
            </a:lvl1pPr>
            <a:lvl2pPr>
              <a:lnSpc>
                <a:spcPct val="95000"/>
              </a:lnSpc>
              <a:spcBef>
                <a:spcPts val="450"/>
              </a:spcBef>
              <a:buClr>
                <a:schemeClr val="tx2"/>
              </a:buClr>
              <a:buSzPct val="80000"/>
              <a:defRPr b="0" i="0">
                <a:solidFill>
                  <a:schemeClr val="tx2"/>
                </a:solidFill>
                <a:latin typeface="Arial Regular" charset="0"/>
                <a:cs typeface="CiscoSans ExtraLight"/>
              </a:defRPr>
            </a:lvl2pPr>
            <a:lvl3pPr marL="431910" indent="-171415">
              <a:buClr>
                <a:schemeClr val="tx2"/>
              </a:buClr>
              <a:buSzPct val="80000"/>
              <a:buFont typeface="Arial"/>
              <a:buChar char="•"/>
              <a:defRPr sz="1200" b="0" i="0">
                <a:solidFill>
                  <a:schemeClr val="tx2"/>
                </a:solidFill>
                <a:latin typeface="Arial Regular" charset="0"/>
                <a:cs typeface="CiscoSans ExtraLight"/>
              </a:defRPr>
            </a:lvl3pPr>
            <a:lvl4pPr>
              <a:buClr>
                <a:schemeClr val="tx2"/>
              </a:buClr>
              <a:buSzPct val="80000"/>
              <a:defRPr b="0" i="0">
                <a:solidFill>
                  <a:schemeClr val="tx2"/>
                </a:solidFill>
                <a:latin typeface="Arial Regular" charset="0"/>
                <a:cs typeface="CiscoSans ExtraLight"/>
              </a:defRPr>
            </a:lvl4pPr>
            <a:lvl5pPr>
              <a:buClr>
                <a:schemeClr val="tx2"/>
              </a:buClr>
              <a:buSzPct val="80000"/>
              <a:defRPr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Arial Regular" charset="0"/>
                <a:cs typeface="CiscoSans ExtraLight"/>
              </a:defRPr>
            </a:lvl1pPr>
            <a:lvl2pPr>
              <a:lnSpc>
                <a:spcPct val="95000"/>
              </a:lnSpc>
              <a:spcBef>
                <a:spcPts val="450"/>
              </a:spcBef>
              <a:buClr>
                <a:schemeClr val="tx2"/>
              </a:buClr>
              <a:buSzPct val="80000"/>
              <a:defRPr b="0" i="0">
                <a:solidFill>
                  <a:schemeClr val="tx2"/>
                </a:solidFill>
                <a:latin typeface="Arial Regular" charset="0"/>
                <a:cs typeface="CiscoSans ExtraLight"/>
              </a:defRPr>
            </a:lvl2pPr>
            <a:lvl3pPr marL="431910" indent="-171415">
              <a:buClr>
                <a:schemeClr val="tx2"/>
              </a:buClr>
              <a:buSzPct val="80000"/>
              <a:buFont typeface="Arial"/>
              <a:buChar char="•"/>
              <a:defRPr sz="1200" b="0" i="0">
                <a:solidFill>
                  <a:schemeClr val="tx2"/>
                </a:solidFill>
                <a:latin typeface="Arial Regular" charset="0"/>
                <a:cs typeface="CiscoSans ExtraLight"/>
              </a:defRPr>
            </a:lvl3pPr>
            <a:lvl4pPr>
              <a:buClr>
                <a:schemeClr val="tx2"/>
              </a:buClr>
              <a:buSzPct val="80000"/>
              <a:defRPr b="0" i="0">
                <a:solidFill>
                  <a:schemeClr val="tx2"/>
                </a:solidFill>
                <a:latin typeface="Arial Regular" charset="0"/>
                <a:cs typeface="CiscoSans ExtraLight"/>
              </a:defRPr>
            </a:lvl4pPr>
            <a:lvl5pPr>
              <a:buClr>
                <a:schemeClr val="tx2"/>
              </a:buClr>
              <a:buSzPct val="80000"/>
              <a:defRPr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Arial Regular" charset="0"/>
                <a:cs typeface="CiscoSans ExtraLight"/>
              </a:defRPr>
            </a:lvl1pPr>
            <a:lvl2pPr>
              <a:lnSpc>
                <a:spcPct val="95000"/>
              </a:lnSpc>
              <a:spcBef>
                <a:spcPts val="450"/>
              </a:spcBef>
              <a:buClr>
                <a:schemeClr val="tx2"/>
              </a:buClr>
              <a:buSzPct val="80000"/>
              <a:defRPr b="0" i="0">
                <a:solidFill>
                  <a:schemeClr val="tx2"/>
                </a:solidFill>
                <a:latin typeface="Arial Regular" charset="0"/>
                <a:cs typeface="CiscoSans ExtraLight"/>
              </a:defRPr>
            </a:lvl2pPr>
            <a:lvl3pPr marL="431910" indent="-171415">
              <a:buClr>
                <a:schemeClr val="tx2"/>
              </a:buClr>
              <a:buSzPct val="80000"/>
              <a:buFont typeface="Arial"/>
              <a:buChar char="•"/>
              <a:defRPr sz="1200" b="0" i="0">
                <a:solidFill>
                  <a:schemeClr val="tx2"/>
                </a:solidFill>
                <a:latin typeface="Arial Regular" charset="0"/>
                <a:cs typeface="CiscoSans ExtraLight"/>
              </a:defRPr>
            </a:lvl3pPr>
            <a:lvl4pPr>
              <a:buClr>
                <a:schemeClr val="tx2"/>
              </a:buClr>
              <a:buSzPct val="80000"/>
              <a:defRPr b="0" i="0">
                <a:solidFill>
                  <a:schemeClr val="tx2"/>
                </a:solidFill>
                <a:latin typeface="Arial Regular" charset="0"/>
                <a:cs typeface="CiscoSans ExtraLight"/>
              </a:defRPr>
            </a:lvl4pPr>
            <a:lvl5pPr>
              <a:buClr>
                <a:schemeClr val="tx2"/>
              </a:buClr>
              <a:buSzPct val="80000"/>
              <a:defRPr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Tree>
    <p:extLst/>
  </p:cSld>
  <p:clrMapOvr>
    <a:masterClrMapping/>
  </p:clrMapOvr>
  <p:transition spd="med">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Quote Slide Blue">
    <p:bg>
      <p:bgPr>
        <a:solidFill>
          <a:schemeClr val="accent5"/>
        </a:solidFill>
        <a:effectLst/>
      </p:bgPr>
    </p:bg>
    <p:spTree>
      <p:nvGrpSpPr>
        <p:cNvPr id="1" name=""/>
        <p:cNvGrpSpPr/>
        <p:nvPr/>
      </p:nvGrpSpPr>
      <p:grpSpPr>
        <a:xfrm>
          <a:off x="0" y="0"/>
          <a:ext cx="0" cy="0"/>
          <a:chOff x="0" y="0"/>
          <a:chExt cx="0" cy="0"/>
        </a:xfrm>
      </p:grpSpPr>
      <p:sp>
        <p:nvSpPr>
          <p:cNvPr id="5" name="Rectangle 4"/>
          <p:cNvSpPr/>
          <p:nvPr userDrawn="1"/>
        </p:nvSpPr>
        <p:spPr>
          <a:xfrm>
            <a:off x="0" y="0"/>
            <a:ext cx="9144000" cy="51435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latin typeface="Arial" panose="020B0604020202020204" pitchFamily="34" charset="0"/>
              <a:cs typeface="Arial" panose="020B0604020202020204" pitchFamily="34" charset="0"/>
            </a:endParaRPr>
          </a:p>
        </p:txBody>
      </p:sp>
      <p:sp>
        <p:nvSpPr>
          <p:cNvPr id="3" name="Text Placeholder 9"/>
          <p:cNvSpPr>
            <a:spLocks noGrp="1"/>
          </p:cNvSpPr>
          <p:nvPr>
            <p:ph type="body" sz="quarter" idx="11"/>
          </p:nvPr>
        </p:nvSpPr>
        <p:spPr>
          <a:xfrm>
            <a:off x="647363" y="3916058"/>
            <a:ext cx="761280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bg2"/>
                </a:solidFill>
                <a:latin typeface="Arial" panose="020B0604020202020204" pitchFamily="34" charset="0"/>
                <a:cs typeface="Arial" panose="020B0604020202020204" pitchFamily="34" charset="0"/>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3200" b="0" i="1" spc="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109989724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ullet with pull quote">
    <p:spTree>
      <p:nvGrpSpPr>
        <p:cNvPr id="1" name=""/>
        <p:cNvGrpSpPr/>
        <p:nvPr/>
      </p:nvGrpSpPr>
      <p:grpSpPr>
        <a:xfrm>
          <a:off x="0" y="0"/>
          <a:ext cx="0" cy="0"/>
          <a:chOff x="0" y="0"/>
          <a:chExt cx="0" cy="0"/>
        </a:xfrm>
      </p:grpSpPr>
      <p:sp>
        <p:nvSpPr>
          <p:cNvPr id="6" name="Rounded Rectangle 5"/>
          <p:cNvSpPr/>
          <p:nvPr/>
        </p:nvSpPr>
        <p:spPr>
          <a:xfrm>
            <a:off x="5070475" y="1330325"/>
            <a:ext cx="3713163" cy="3101975"/>
          </a:xfrm>
          <a:prstGeom prst="roundRect">
            <a:avLst>
              <a:gd name="adj" fmla="val 0"/>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0" tIns="45710" rIns="91420" bIns="45710" anchor="ctr"/>
          <a:lstStyle/>
          <a:p>
            <a:pPr algn="ctr" fontAlgn="auto">
              <a:spcBef>
                <a:spcPts val="0"/>
              </a:spcBef>
              <a:spcAft>
                <a:spcPts val="0"/>
              </a:spcAft>
              <a:defRPr/>
            </a:pPr>
            <a:endParaRPr lang="en-US" dirty="0">
              <a:solidFill>
                <a:srgbClr val="58585B"/>
              </a:solidFill>
              <a:latin typeface="Arial Regular" charset="0"/>
            </a:endParaRPr>
          </a:p>
        </p:txBody>
      </p:sp>
      <p:sp>
        <p:nvSpPr>
          <p:cNvPr id="12" name="Text Placeholder 11"/>
          <p:cNvSpPr>
            <a:spLocks noGrp="1"/>
          </p:cNvSpPr>
          <p:nvPr>
            <p:ph type="body" sz="quarter" idx="11"/>
          </p:nvPr>
        </p:nvSpPr>
        <p:spPr>
          <a:xfrm>
            <a:off x="5148706" y="1481751"/>
            <a:ext cx="3375912" cy="1659018"/>
          </a:xfrm>
          <a:prstGeom prst="rect">
            <a:avLst/>
          </a:prstGeom>
        </p:spPr>
        <p:txBody>
          <a:bodyPr lIns="91420" tIns="45710" rIns="91420" bIns="45710">
            <a:noAutofit/>
          </a:bodyPr>
          <a:lstStyle>
            <a:lvl1pPr marL="85718" indent="-85718" algn="l" defTabSz="685720" rtl="0" eaLnBrk="1" latinLnBrk="0" hangingPunct="1">
              <a:lnSpc>
                <a:spcPct val="90000"/>
              </a:lnSpc>
              <a:spcBef>
                <a:spcPts val="0"/>
              </a:spcBef>
              <a:buNone/>
              <a:defRPr lang="en-US" sz="1500" b="0" i="0" kern="1200" baseline="0" dirty="0" smtClean="0">
                <a:solidFill>
                  <a:schemeClr val="tx2"/>
                </a:solidFill>
                <a:latin typeface="Arial Regular" charset="0"/>
                <a:ea typeface="+mn-ea"/>
                <a:cs typeface="CiscoSans ExtraLight"/>
              </a:defRPr>
            </a:lvl1pPr>
            <a:lvl2pPr marL="85718" indent="-85718" algn="l" defTabSz="685720" rtl="0" eaLnBrk="1" latinLnBrk="0" hangingPunct="1">
              <a:defRPr lang="en-US" sz="1500" kern="1200" dirty="0" smtClean="0">
                <a:solidFill>
                  <a:schemeClr val="accent2"/>
                </a:solidFill>
                <a:latin typeface="Ciscolight" pitchFamily="2" charset="0"/>
                <a:ea typeface="+mn-ea"/>
                <a:cs typeface="+mn-cs"/>
              </a:defRPr>
            </a:lvl2pPr>
            <a:lvl3pPr marL="85718" indent="-85718" algn="l" defTabSz="685720" rtl="0" eaLnBrk="1" latinLnBrk="0" hangingPunct="1">
              <a:defRPr lang="en-US" sz="1500" kern="1200" dirty="0" smtClean="0">
                <a:solidFill>
                  <a:schemeClr val="accent2"/>
                </a:solidFill>
                <a:latin typeface="Ciscolight" pitchFamily="2" charset="0"/>
                <a:ea typeface="+mn-ea"/>
                <a:cs typeface="+mn-cs"/>
              </a:defRPr>
            </a:lvl3pPr>
            <a:lvl4pPr marL="85718" indent="-85718" algn="l" defTabSz="685720" rtl="0" eaLnBrk="1" latinLnBrk="0" hangingPunct="1">
              <a:defRPr lang="en-US" sz="1500" kern="1200" dirty="0" smtClean="0">
                <a:solidFill>
                  <a:schemeClr val="accent2"/>
                </a:solidFill>
                <a:latin typeface="Ciscolight" pitchFamily="2" charset="0"/>
                <a:ea typeface="+mn-ea"/>
                <a:cs typeface="+mn-cs"/>
              </a:defRPr>
            </a:lvl4pPr>
            <a:lvl5pPr marL="85718" indent="-85718" algn="l" defTabSz="685720" rtl="0" eaLnBrk="1" latinLnBrk="0" hangingPunct="1">
              <a:defRPr lang="en-US" sz="1500" kern="1200" dirty="0" smtClean="0">
                <a:solidFill>
                  <a:schemeClr val="accent2"/>
                </a:solidFill>
                <a:latin typeface="Ciscolight" pitchFamily="2" charset="0"/>
                <a:ea typeface="+mn-ea"/>
                <a:cs typeface="+mn-cs"/>
              </a:defRPr>
            </a:lvl5pPr>
          </a:lstStyle>
          <a:p>
            <a:pPr lvl="0"/>
            <a:r>
              <a:rPr lang="en-US" altLang="zh-CN" dirty="0"/>
              <a:t>Click to edit Master text styles</a:t>
            </a:r>
          </a:p>
        </p:txBody>
      </p:sp>
      <p:sp>
        <p:nvSpPr>
          <p:cNvPr id="19" name="Text Placeholder 18"/>
          <p:cNvSpPr>
            <a:spLocks noGrp="1"/>
          </p:cNvSpPr>
          <p:nvPr>
            <p:ph type="body" sz="quarter" idx="14"/>
          </p:nvPr>
        </p:nvSpPr>
        <p:spPr>
          <a:xfrm>
            <a:off x="5148706" y="3552444"/>
            <a:ext cx="3506245" cy="253746"/>
          </a:xfrm>
          <a:prstGeom prst="rect">
            <a:avLst/>
          </a:prstGeom>
        </p:spPr>
        <p:txBody>
          <a:bodyPr lIns="91420" tIns="45710" rIns="91420" bIns="45710">
            <a:noAutofit/>
          </a:bodyPr>
          <a:lstStyle>
            <a:lvl1pPr marL="0" indent="0">
              <a:buClr>
                <a:schemeClr val="tx2"/>
              </a:buClr>
              <a:buFontTx/>
              <a:buNone/>
              <a:defRPr sz="1200" b="0" i="0">
                <a:solidFill>
                  <a:schemeClr val="tx2"/>
                </a:solidFill>
                <a:latin typeface="Arial Regular" charset="0"/>
                <a:cs typeface="CiscoSans ExtraLight"/>
              </a:defRPr>
            </a:lvl1pPr>
          </a:lstStyle>
          <a:p>
            <a:pPr lvl="0"/>
            <a:r>
              <a:rPr lang="en-US" altLang="zh-CN" dirty="0"/>
              <a:t>Click to edit Master text styles</a:t>
            </a:r>
          </a:p>
        </p:txBody>
      </p:sp>
      <p:sp>
        <p:nvSpPr>
          <p:cNvPr id="9"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Arial Regular" charset="0"/>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Arial Regular" charset="0"/>
                <a:cs typeface="CiscoSans ExtraLight"/>
              </a:defRPr>
            </a:lvl2pPr>
            <a:lvl3pPr marL="628520" indent="-171415">
              <a:buClr>
                <a:schemeClr val="tx2"/>
              </a:buClr>
              <a:buSzPct val="80000"/>
              <a:buFont typeface="Arial"/>
              <a:buChar char="•"/>
              <a:defRPr sz="1600" b="0" i="0">
                <a:solidFill>
                  <a:schemeClr val="tx2"/>
                </a:solidFill>
                <a:latin typeface="Arial Regular" charset="0"/>
                <a:cs typeface="CiscoSans ExtraLight"/>
              </a:defRPr>
            </a:lvl3pPr>
            <a:lvl4pPr marL="799934" indent="-171415">
              <a:buClr>
                <a:schemeClr val="tx2"/>
              </a:buClr>
              <a:buSzPct val="80000"/>
              <a:buFont typeface="Arial"/>
              <a:buChar char="•"/>
              <a:defRPr sz="1400" b="0" i="0">
                <a:solidFill>
                  <a:schemeClr val="tx2"/>
                </a:solidFill>
                <a:latin typeface="Arial Regular" charset="0"/>
                <a:cs typeface="CiscoSans ExtraLight"/>
              </a:defRPr>
            </a:lvl4pPr>
            <a:lvl5pPr marL="971347" indent="-171415">
              <a:buClr>
                <a:schemeClr val="tx2"/>
              </a:buClr>
              <a:buSzPct val="80000"/>
              <a:buFont typeface="Arial"/>
              <a:buChar char="•"/>
              <a:defRPr sz="1200" b="0" i="0">
                <a:solidFill>
                  <a:schemeClr val="tx2"/>
                </a:solidFill>
                <a:latin typeface="Arial Regular" charset="0"/>
                <a:cs typeface="CiscoSans ExtraLight"/>
              </a:defRPr>
            </a:lvl5pPr>
          </a:lstStyle>
          <a:p>
            <a:pPr lvl="0"/>
            <a:r>
              <a:rPr lang="en-US" altLang="zh-CN" dirty="0"/>
              <a:t>Click to 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en-US" dirty="0"/>
          </a:p>
        </p:txBody>
      </p:sp>
      <p:sp>
        <p:nvSpPr>
          <p:cNvPr id="8"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2"/>
                </a:solidFill>
                <a:latin typeface="Arial Regular"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ltLang="zh-CN" dirty="0"/>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0" spc="0" baseline="0">
                <a:solidFill>
                  <a:schemeClr val="accent1"/>
                </a:solidFill>
                <a:latin typeface="Arial Regular" charset="0"/>
                <a:cs typeface="CiscoSans Thin"/>
              </a:defRPr>
            </a:lvl1pPr>
          </a:lstStyle>
          <a:p>
            <a:r>
              <a:rPr lang="en-US" altLang="zh-CN" dirty="0"/>
              <a:t>Click to edit Master title style</a:t>
            </a:r>
            <a:endParaRPr lang="en-US" dirty="0"/>
          </a:p>
        </p:txBody>
      </p:sp>
    </p:spTree>
    <p:extLst/>
  </p:cSld>
  <p:clrMapOvr>
    <a:masterClrMapping/>
  </p:clrMapOvr>
  <p:transition spd="med">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rgbClr val="004BAF"/>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i="0" kern="1200" spc="0" baseline="0" dirty="0">
                <a:solidFill>
                  <a:schemeClr val="accent1"/>
                </a:solidFill>
                <a:latin typeface="Arial Regular" charset="0"/>
                <a:ea typeface="+mj-ea"/>
                <a:cs typeface="+mj-cs"/>
              </a:defRPr>
            </a:lvl1pPr>
          </a:lstStyle>
          <a:p>
            <a:r>
              <a:rPr lang="en-US" altLang="zh-CN" dirty="0"/>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0" i="0" baseline="0">
                <a:solidFill>
                  <a:schemeClr val="tx2"/>
                </a:solidFill>
                <a:latin typeface="Arial Regular" charset="0"/>
              </a:defRPr>
            </a:lvl1pPr>
            <a:lvl2pPr>
              <a:defRPr sz="1500"/>
            </a:lvl2pPr>
            <a:lvl3pPr>
              <a:defRPr sz="1500"/>
            </a:lvl3pPr>
            <a:lvl4pPr>
              <a:defRPr sz="1500"/>
            </a:lvl4pPr>
            <a:lvl5pPr>
              <a:defRPr sz="1500"/>
            </a:lvl5pPr>
          </a:lstStyle>
          <a:p>
            <a:pPr lvl="0"/>
            <a:r>
              <a:rPr lang="en-US" altLang="zh-CN" dirty="0"/>
              <a:t>Click to edit Master text styles</a:t>
            </a:r>
          </a:p>
        </p:txBody>
      </p:sp>
    </p:spTree>
    <p:extLst/>
  </p:cSld>
  <p:clrMapOvr>
    <a:masterClrMapping/>
  </p:clrMapOvr>
  <p:transition spd="slow">
    <p:wip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itle and Table">
    <p:spTree>
      <p:nvGrpSpPr>
        <p:cNvPr id="1" name=""/>
        <p:cNvGrpSpPr/>
        <p:nvPr/>
      </p:nvGrpSpPr>
      <p:grpSpPr>
        <a:xfrm>
          <a:off x="0" y="0"/>
          <a:ext cx="0" cy="0"/>
          <a:chOff x="0" y="0"/>
          <a:chExt cx="0" cy="0"/>
        </a:xfrm>
      </p:grpSpPr>
      <p:sp>
        <p:nvSpPr>
          <p:cNvPr id="12" name="Table Placeholder 11"/>
          <p:cNvSpPr>
            <a:spLocks noGrp="1"/>
          </p:cNvSpPr>
          <p:nvPr>
            <p:ph type="tbl" sz="quarter" idx="12"/>
          </p:nvPr>
        </p:nvSpPr>
        <p:spPr>
          <a:xfrm>
            <a:off x="437766" y="1347788"/>
            <a:ext cx="8345488" cy="2658728"/>
          </a:xfrm>
          <a:prstGeom prst="rect">
            <a:avLst/>
          </a:prstGeom>
        </p:spPr>
        <p:txBody>
          <a:bodyPr lIns="91420" tIns="45710" rIns="91420" bIns="45710">
            <a:noAutofit/>
          </a:bodyPr>
          <a:lstStyle>
            <a:lvl1pPr marL="0" indent="0" algn="ctr">
              <a:buNone/>
              <a:defRPr sz="2000" b="0" i="0" baseline="0">
                <a:solidFill>
                  <a:schemeClr val="tx2"/>
                </a:solidFill>
                <a:latin typeface="Arial Regular" charset="0"/>
              </a:defRPr>
            </a:lvl1pPr>
          </a:lstStyle>
          <a:p>
            <a:pPr lvl="0"/>
            <a:r>
              <a:rPr lang="en-US" altLang="zh-CN" noProof="0" dirty="0"/>
              <a:t>Click icon to add table</a:t>
            </a:r>
            <a:endParaRPr lang="en-GB" noProof="0" dirty="0"/>
          </a:p>
        </p:txBody>
      </p:sp>
      <p:sp>
        <p:nvSpPr>
          <p:cNvPr id="6"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Arial Regular"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ltLang="zh-CN"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2"/>
          <p:cNvSpPr>
            <a:spLocks noGrp="1"/>
          </p:cNvSpPr>
          <p:nvPr>
            <p:ph type="chart" sz="quarter" idx="10"/>
          </p:nvPr>
        </p:nvSpPr>
        <p:spPr>
          <a:xfrm>
            <a:off x="437766" y="1349375"/>
            <a:ext cx="8345488" cy="2660650"/>
          </a:xfrm>
          <a:prstGeom prst="rect">
            <a:avLst/>
          </a:prstGeom>
        </p:spPr>
        <p:txBody>
          <a:bodyPr vert="horz" lIns="91420" tIns="45710" rIns="91420" bIns="45710">
            <a:noAutofit/>
          </a:bodyPr>
          <a:lstStyle>
            <a:lvl1pPr marL="0" indent="0" algn="ctr">
              <a:buNone/>
              <a:defRPr sz="2000" b="0" i="0">
                <a:solidFill>
                  <a:schemeClr val="tx2"/>
                </a:solidFill>
                <a:latin typeface="Arial Regular" charset="0"/>
                <a:cs typeface="CiscoSans ExtraLight"/>
              </a:defRPr>
            </a:lvl1pPr>
          </a:lstStyle>
          <a:p>
            <a:pPr lvl="0"/>
            <a:r>
              <a:rPr lang="en-US" altLang="zh-CN" noProof="0" dirty="0"/>
              <a:t>Click icon to add chart</a:t>
            </a:r>
            <a:endParaRPr lang="en-US" noProof="0" dirty="0"/>
          </a:p>
        </p:txBody>
      </p:sp>
      <p:sp>
        <p:nvSpPr>
          <p:cNvPr id="7" name="Text Placeholder 9"/>
          <p:cNvSpPr>
            <a:spLocks noGrp="1"/>
          </p:cNvSpPr>
          <p:nvPr>
            <p:ph type="body" sz="quarter" idx="11"/>
          </p:nvPr>
        </p:nvSpPr>
        <p:spPr>
          <a:xfrm>
            <a:off x="437767" y="4148220"/>
            <a:ext cx="7180312" cy="326233"/>
          </a:xfrm>
          <a:prstGeom prst="rect">
            <a:avLst/>
          </a:prstGeom>
        </p:spPr>
        <p:txBody>
          <a:bodyPr wrap="square" lIns="91420" tIns="45710" rIns="91420" bIns="45710" anchor="b" anchorCtr="0">
            <a:noAutofit/>
          </a:bodyPr>
          <a:lstStyle>
            <a:lvl1pPr algn="l" defTabSz="603575">
              <a:lnSpc>
                <a:spcPct val="100000"/>
              </a:lnSpc>
              <a:spcBef>
                <a:spcPct val="50000"/>
              </a:spcBef>
              <a:buNone/>
              <a:defRPr sz="1600" b="0" i="0">
                <a:solidFill>
                  <a:schemeClr val="tx2"/>
                </a:solidFill>
                <a:latin typeface="Arial Regular" charset="0"/>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ltLang="zh-CN" dirty="0"/>
              <a:t>Click to edit Master text styles</a:t>
            </a:r>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_Chart_and_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456"/>
            <a:ext cx="4007001" cy="3040773"/>
          </a:xfrm>
          <a:prstGeom prst="rect">
            <a:avLst/>
          </a:prstGeom>
        </p:spPr>
        <p:txBody>
          <a:bodyPr lIns="91420" tIns="45710" rIns="91420" bIns="45710" anchor="ctr" anchorCtr="0">
            <a:noAutofit/>
          </a:bodyPr>
          <a:lstStyle>
            <a:lvl1pPr marL="0" indent="0">
              <a:buNone/>
              <a:defRPr sz="24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3" name="Chart Placeholder 2"/>
          <p:cNvSpPr>
            <a:spLocks noGrp="1"/>
          </p:cNvSpPr>
          <p:nvPr>
            <p:ph type="chart" sz="quarter" idx="12"/>
          </p:nvPr>
        </p:nvSpPr>
        <p:spPr>
          <a:xfrm>
            <a:off x="4709908" y="1349374"/>
            <a:ext cx="4073346" cy="3039397"/>
          </a:xfrm>
          <a:prstGeom prst="rect">
            <a:avLst/>
          </a:prstGeom>
        </p:spPr>
        <p:txBody>
          <a:bodyPr vert="horz" lIns="91420" tIns="45710" rIns="91420" bIns="45710">
            <a:noAutofit/>
          </a:bodyPr>
          <a:lstStyle>
            <a:lvl1pPr marL="0" indent="0" algn="ctr">
              <a:buNone/>
              <a:defRPr sz="2000" b="0" i="0">
                <a:solidFill>
                  <a:schemeClr val="tx2"/>
                </a:solidFill>
                <a:latin typeface="Arial Regular" charset="0"/>
                <a:cs typeface="CiscoSans ExtraLight"/>
              </a:defRPr>
            </a:lvl1pPr>
          </a:lstStyle>
          <a:p>
            <a:pPr lvl="0"/>
            <a:r>
              <a:rPr lang="en-US" altLang="zh-CN" noProof="0" dirty="0"/>
              <a:t>Click icon to add chart</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ottom title_photo and text">
    <p:spTree>
      <p:nvGrpSpPr>
        <p:cNvPr id="1" name=""/>
        <p:cNvGrpSpPr/>
        <p:nvPr/>
      </p:nvGrpSpPr>
      <p:grpSpPr>
        <a:xfrm>
          <a:off x="0" y="0"/>
          <a:ext cx="0" cy="0"/>
          <a:chOff x="0" y="0"/>
          <a:chExt cx="0" cy="0"/>
        </a:xfrm>
      </p:grpSpPr>
      <p:sp>
        <p:nvSpPr>
          <p:cNvPr id="10" name="Text Placeholder 17"/>
          <p:cNvSpPr>
            <a:spLocks noGrp="1"/>
          </p:cNvSpPr>
          <p:nvPr>
            <p:ph type="body" sz="quarter" idx="11"/>
          </p:nvPr>
        </p:nvSpPr>
        <p:spPr>
          <a:xfrm>
            <a:off x="437766" y="1349354"/>
            <a:ext cx="4003995" cy="3040875"/>
          </a:xfrm>
          <a:prstGeom prst="rect">
            <a:avLst/>
          </a:prstGeom>
        </p:spPr>
        <p:txBody>
          <a:bodyPr lIns="91420" tIns="45710" rIns="91420" bIns="45710" anchor="ctr" anchorCtr="0">
            <a:noAutofit/>
          </a:bodyPr>
          <a:lstStyle>
            <a:lvl1pPr marL="0" indent="0">
              <a:buNone/>
              <a:defRPr sz="24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1" name="Picture Placeholder 2"/>
          <p:cNvSpPr>
            <a:spLocks noGrp="1"/>
          </p:cNvSpPr>
          <p:nvPr>
            <p:ph type="pic" sz="quarter" idx="10"/>
          </p:nvPr>
        </p:nvSpPr>
        <p:spPr>
          <a:xfrm>
            <a:off x="4708110" y="1349375"/>
            <a:ext cx="4075144" cy="3041208"/>
          </a:xfrm>
          <a:prstGeom prst="rect">
            <a:avLst/>
          </a:prstGeom>
        </p:spPr>
        <p:txBody>
          <a:bodyPr vert="horz" lIns="91420" tIns="45710" rIns="91420" bIns="45710">
            <a:noAutofit/>
          </a:bodyPr>
          <a:lstStyle>
            <a:lvl1pPr marL="0" indent="0" algn="ctr">
              <a:buNone/>
              <a:defRPr sz="2000" b="0" i="0">
                <a:solidFill>
                  <a:schemeClr val="tx2"/>
                </a:solidFill>
                <a:latin typeface="Arial Regular" charset="0"/>
                <a:cs typeface="CiscoSans ExtraLight"/>
              </a:defRPr>
            </a:lvl1pPr>
          </a:lstStyle>
          <a:p>
            <a:pPr lvl="0"/>
            <a:r>
              <a:rPr lang="en-US" altLang="zh-CN" noProof="0" dirty="0"/>
              <a:t>Drag picture to placeholder or click icon to add</a:t>
            </a:r>
            <a:endParaRPr lang="en-US" noProof="0" dirty="0"/>
          </a:p>
        </p:txBody>
      </p:sp>
      <p:sp>
        <p:nvSpPr>
          <p:cNvPr id="5"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2"/>
                </a:solidFill>
              </a:defRPr>
            </a:lvl1pPr>
          </a:lstStyle>
          <a:p>
            <a:pPr lvl="0"/>
            <a:r>
              <a:rPr lang="en-US" altLang="zh-CN"/>
              <a:t>Click to edit Master title style</a:t>
            </a:r>
            <a:endParaRPr lang="en-GB" dirty="0"/>
          </a:p>
        </p:txBody>
      </p:sp>
    </p:spTree>
    <p:extLst/>
  </p:cSld>
  <p:clrMapOvr>
    <a:masterClrMapping/>
  </p:clrMapOvr>
  <p:transition spd="med">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9" name="Oval 8"/>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Arial Regular" charset="0"/>
              <a:cs typeface="Arial Regular" charset="0"/>
            </a:endParaRPr>
          </a:p>
        </p:txBody>
      </p:sp>
      <p:sp>
        <p:nvSpPr>
          <p:cNvPr id="10" name="Oval 9"/>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Arial Regular" charset="0"/>
              <a:cs typeface="Arial Regular" charset="0"/>
            </a:endParaRPr>
          </a:p>
        </p:txBody>
      </p:sp>
      <p:sp>
        <p:nvSpPr>
          <p:cNvPr id="11" name="Oval 10"/>
          <p:cNvSpPr/>
          <p:nvPr/>
        </p:nvSpPr>
        <p:spPr>
          <a:xfrm>
            <a:off x="763588" y="1622425"/>
            <a:ext cx="2319337" cy="231775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Arial Regular" charset="0"/>
              <a:cs typeface="Arial Regular" charset="0"/>
            </a:endParaRPr>
          </a:p>
        </p:txBody>
      </p:sp>
      <p:sp>
        <p:nvSpPr>
          <p:cNvPr id="2" name="Title 1"/>
          <p:cNvSpPr>
            <a:spLocks noGrp="1"/>
          </p:cNvSpPr>
          <p:nvPr>
            <p:ph type="title"/>
          </p:nvPr>
        </p:nvSpPr>
        <p:spPr/>
        <p:txBody>
          <a:bodyPr/>
          <a:lstStyle/>
          <a:p>
            <a:r>
              <a:rPr lang="en-US" altLang="zh-CN"/>
              <a:t>Click to edit Master title style</a:t>
            </a:r>
            <a:endParaRPr lang="en-US"/>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b="0" i="0">
                <a:solidFill>
                  <a:schemeClr val="bg1"/>
                </a:solidFill>
                <a:latin typeface="Arial Regular" charset="0"/>
              </a:defRPr>
            </a:lvl1pPr>
          </a:lstStyle>
          <a:p>
            <a:pPr lvl="0"/>
            <a:r>
              <a:rPr lang="en-US" altLang="zh-CN" noProof="0" dirty="0"/>
              <a:t>Drag picture to placeholder or click icon to add</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b="0" i="0">
                <a:solidFill>
                  <a:schemeClr val="bg1"/>
                </a:solidFill>
                <a:latin typeface="Arial Regular" charset="0"/>
              </a:defRPr>
            </a:lvl1pPr>
          </a:lstStyle>
          <a:p>
            <a:pPr lvl="0"/>
            <a:r>
              <a:rPr lang="en-US" altLang="zh-CN" noProof="0" dirty="0"/>
              <a:t>Drag picture to placeholder or click icon to add</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b="0" i="0">
                <a:solidFill>
                  <a:schemeClr val="bg1"/>
                </a:solidFill>
                <a:latin typeface="Arial Regular" charset="0"/>
              </a:defRPr>
            </a:lvl1pPr>
          </a:lstStyle>
          <a:p>
            <a:pPr lvl="0"/>
            <a:r>
              <a:rPr lang="en-US" altLang="zh-CN" noProof="0" dirty="0"/>
              <a:t>Drag picture to placeholder or click icon to add</a:t>
            </a:r>
            <a:endParaRPr lang="en-US" noProof="0" dirty="0"/>
          </a:p>
        </p:txBody>
      </p:sp>
    </p:spTree>
    <p:extLst/>
  </p:cSld>
  <p:clrMapOvr>
    <a:masterClrMapping/>
  </p:clrMapOvr>
  <p:transition spd="slow">
    <p:wip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dirty="0">
              <a:solidFill>
                <a:srgbClr val="FFFFFF"/>
              </a:solidFill>
              <a:latin typeface="Arial Regular" charset="0"/>
              <a:cs typeface=""/>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dirty="0">
              <a:solidFill>
                <a:srgbClr val="FFFFFF"/>
              </a:solidFill>
              <a:latin typeface="Arial Regular" charset="0"/>
              <a:cs typeface=""/>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a14="http://schemas.microsoft.com/office/drawing/2010/main" xmlns=""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endParaRPr lang="en-US" altLang="en-US" dirty="0">
              <a:solidFill>
                <a:srgbClr val="FFFFFF"/>
              </a:solidFill>
              <a:latin typeface="Arial Regular" charset="0"/>
              <a:cs typeface=""/>
            </a:endParaRPr>
          </a:p>
        </p:txBody>
      </p:sp>
      <p:sp>
        <p:nvSpPr>
          <p:cNvPr id="3"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lvl="0"/>
            <a:r>
              <a:rPr lang="en-US" altLang="zh-CN"/>
              <a:t>Click to edit Master title style</a:t>
            </a:r>
            <a:endParaRPr lang="en-GB" dirty="0"/>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0" i="0" baseline="0">
                <a:solidFill>
                  <a:schemeClr val="tx1"/>
                </a:solidFill>
                <a:latin typeface="Arial Regular" charset="0"/>
              </a:defRPr>
            </a:lvl1pPr>
          </a:lstStyle>
          <a:p>
            <a:pPr lvl="0"/>
            <a:r>
              <a:rPr lang="en-US" altLang="zh-CN" noProof="0" dirty="0"/>
              <a:t>Drag picture to placeholder or click icon to add</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0" i="0">
                <a:solidFill>
                  <a:schemeClr val="tx1"/>
                </a:solidFill>
                <a:latin typeface="Arial Regular" charset="0"/>
              </a:defRPr>
            </a:lvl1pPr>
          </a:lstStyle>
          <a:p>
            <a:pPr lvl="0"/>
            <a:r>
              <a:rPr lang="en-US" altLang="zh-CN" noProof="0" dirty="0"/>
              <a:t>Drag picture to placeholder or click icon to add</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0" i="0">
                <a:solidFill>
                  <a:schemeClr val="tx1"/>
                </a:solidFill>
                <a:latin typeface="Arial Regular" charset="0"/>
              </a:defRPr>
            </a:lvl1pPr>
          </a:lstStyle>
          <a:p>
            <a:pPr lvl="0"/>
            <a:r>
              <a:rPr lang="en-US" altLang="zh-CN" noProof="0" dirty="0"/>
              <a:t>Drag picture to placeholder or click icon to add</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Tree>
    <p:extLst/>
  </p:cSld>
  <p:clrMapOvr>
    <a:masterClrMapping/>
  </p:clrMapOvr>
  <p:transition spd="slow">
    <p:wip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cSld name="SNAP Prime Agenda Slide">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chemeClr val="accent1"/>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3200" b="0" kern="1200" spc="0" baseline="0" dirty="0">
                <a:solidFill>
                  <a:schemeClr val="bg1"/>
                </a:solidFill>
                <a:latin typeface="Arial" panose="020B0604020202020204" pitchFamily="34" charset="0"/>
                <a:ea typeface="+mj-ea"/>
                <a:cs typeface="Arial" panose="020B0604020202020204" pitchFamily="34" charset="0"/>
              </a:defRPr>
            </a:lvl1pPr>
          </a:lstStyle>
          <a:p>
            <a:r>
              <a:rPr lang="en-US" dirty="0"/>
              <a:t>Click to edit Master title style</a:t>
            </a:r>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Arial" panose="020B0604020202020204" pitchFamily="34" charset="0"/>
                <a:cs typeface="Arial" panose="020B0604020202020204" pitchFamily="34" charset="0"/>
              </a:defRPr>
            </a:lvl1pPr>
            <a:lvl2pPr>
              <a:defRPr sz="1500"/>
            </a:lvl2pPr>
            <a:lvl3pPr>
              <a:defRPr sz="1500"/>
            </a:lvl3pPr>
            <a:lvl4pPr>
              <a:defRPr sz="1500"/>
            </a:lvl4pPr>
            <a:lvl5pPr>
              <a:defRPr sz="1500"/>
            </a:lvl5pPr>
          </a:lstStyle>
          <a:p>
            <a:pPr lvl="0"/>
            <a:r>
              <a:rPr lang="en-US" dirty="0"/>
              <a:t>Edit Master text styles</a:t>
            </a:r>
          </a:p>
        </p:txBody>
      </p:sp>
    </p:spTree>
    <p:extLst>
      <p:ext uri="{BB962C8B-B14F-4D97-AF65-F5344CB8AC3E}">
        <p14:creationId xmlns:p14="http://schemas.microsoft.com/office/powerpoint/2010/main" val="809113397"/>
      </p:ext>
    </p:extLst>
  </p:cSld>
  <p:clrMapOvr>
    <a:masterClrMapping/>
  </p:clrMapOvr>
  <p:transition spd="slow">
    <p:wip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ltLang="zh-CN"/>
              <a:t>Click to edit Master title style</a:t>
            </a:r>
            <a:endParaRPr lang="en-US" dirty="0"/>
          </a:p>
        </p:txBody>
      </p:sp>
      <p:sp>
        <p:nvSpPr>
          <p:cNvPr id="12" name="Oval 11"/>
          <p:cNvSpPr/>
          <p:nvPr userDrawn="1"/>
        </p:nvSpPr>
        <p:spPr>
          <a:xfrm>
            <a:off x="575610" y="2552550"/>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latin typeface="Arial Regular" charset="0"/>
              <a:cs typeface="Arial Regular" charset="0"/>
            </a:endParaRPr>
          </a:p>
        </p:txBody>
      </p:sp>
      <p:sp>
        <p:nvSpPr>
          <p:cNvPr id="15" name="Oval 14"/>
          <p:cNvSpPr/>
          <p:nvPr userDrawn="1"/>
        </p:nvSpPr>
        <p:spPr>
          <a:xfrm>
            <a:off x="575610" y="1426607"/>
            <a:ext cx="698624" cy="698624"/>
          </a:xfrm>
          <a:prstGeom prst="ellipse">
            <a:avLst/>
          </a:prstGeom>
          <a:no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22" name="Oval 21"/>
          <p:cNvSpPr/>
          <p:nvPr userDrawn="1"/>
        </p:nvSpPr>
        <p:spPr>
          <a:xfrm>
            <a:off x="575610" y="3653093"/>
            <a:ext cx="698624" cy="698624"/>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latin typeface="Arial Regular" charset="0"/>
              <a:cs typeface="Arial Regular" charset="0"/>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7" name="Text Placeholder 17"/>
          <p:cNvSpPr>
            <a:spLocks noGrp="1"/>
          </p:cNvSpPr>
          <p:nvPr>
            <p:ph type="body" sz="quarter" idx="16" hasCustomPrompt="1"/>
          </p:nvPr>
        </p:nvSpPr>
        <p:spPr>
          <a:xfrm>
            <a:off x="575611" y="1425201"/>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13" name="Text Placeholder 17"/>
          <p:cNvSpPr>
            <a:spLocks noGrp="1"/>
          </p:cNvSpPr>
          <p:nvPr>
            <p:ph type="body" sz="quarter" idx="17" hasCustomPrompt="1"/>
          </p:nvPr>
        </p:nvSpPr>
        <p:spPr>
          <a:xfrm>
            <a:off x="575610" y="2541687"/>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14" name="Text Placeholder 17"/>
          <p:cNvSpPr>
            <a:spLocks noGrp="1"/>
          </p:cNvSpPr>
          <p:nvPr>
            <p:ph type="body" sz="quarter" idx="18" hasCustomPrompt="1"/>
          </p:nvPr>
        </p:nvSpPr>
        <p:spPr>
          <a:xfrm>
            <a:off x="575611" y="3658336"/>
            <a:ext cx="698624" cy="693381"/>
          </a:xfrm>
          <a:prstGeom prst="rect">
            <a:avLst/>
          </a:prstGeom>
        </p:spPr>
        <p:txBody>
          <a:bodyPr lIns="91420" tIns="45710" rIns="91420" bIns="45710" anchor="ctr" anchorCtr="0">
            <a:noAutofit/>
          </a:bodyPr>
          <a:lstStyle>
            <a:lvl1pPr marL="0" indent="0" algn="ctr">
              <a:buNone/>
              <a:defRPr sz="4000" b="0" i="0" baseline="0">
                <a:ln>
                  <a:solidFill>
                    <a:schemeClr val="bg2"/>
                  </a:solidFill>
                </a:ln>
                <a:solidFill>
                  <a:schemeClr val="bg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Tree>
    <p:extLst/>
  </p:cSld>
  <p:clrMapOvr>
    <a:masterClrMapping/>
  </p:clrMapOvr>
  <p:transition spd="slow">
    <p:wip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ltLang="zh-CN"/>
              <a:t>Click to edit Master title style</a:t>
            </a:r>
            <a:endParaRPr lang="en-US"/>
          </a:p>
        </p:txBody>
      </p:sp>
      <p:sp>
        <p:nvSpPr>
          <p:cNvPr id="12" name="Oval 11"/>
          <p:cNvSpPr/>
          <p:nvPr userDrawn="1"/>
        </p:nvSpPr>
        <p:spPr>
          <a:xfrm>
            <a:off x="575610" y="2552550"/>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FFFFFF"/>
              </a:solidFill>
              <a:latin typeface="Arial Regular" charset="0"/>
              <a:cs typeface="Arial Regular" charset="0"/>
            </a:endParaRPr>
          </a:p>
        </p:txBody>
      </p:sp>
      <p:sp>
        <p:nvSpPr>
          <p:cNvPr id="15" name="Oval 14"/>
          <p:cNvSpPr/>
          <p:nvPr userDrawn="1"/>
        </p:nvSpPr>
        <p:spPr>
          <a:xfrm>
            <a:off x="575610" y="1426607"/>
            <a:ext cx="698624" cy="698624"/>
          </a:xfrm>
          <a:prstGeom prst="ellipse">
            <a:avLst/>
          </a:prstGeom>
          <a:solidFill>
            <a:schemeClr val="bg2"/>
          </a:solidFill>
          <a:ln w="19050">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FFFFFF"/>
              </a:solidFill>
              <a:latin typeface="Arial Regular" charset="0"/>
              <a:cs typeface="Arial Regular" charset="0"/>
            </a:endParaRPr>
          </a:p>
        </p:txBody>
      </p:sp>
      <p:sp>
        <p:nvSpPr>
          <p:cNvPr id="22" name="Oval 21"/>
          <p:cNvSpPr/>
          <p:nvPr userDrawn="1"/>
        </p:nvSpPr>
        <p:spPr>
          <a:xfrm>
            <a:off x="575610" y="3653093"/>
            <a:ext cx="698624" cy="698624"/>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solidFill>
                <a:srgbClr val="049FD9"/>
              </a:solidFill>
              <a:latin typeface="Arial Regular" charset="0"/>
              <a:cs typeface="Arial Regular" charset="0"/>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8" name="Text Placeholder 17"/>
          <p:cNvSpPr>
            <a:spLocks noGrp="1"/>
          </p:cNvSpPr>
          <p:nvPr>
            <p:ph type="body" sz="quarter" idx="17" hasCustomPrompt="1"/>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Text Placeholder 17"/>
          <p:cNvSpPr>
            <a:spLocks noGrp="1"/>
          </p:cNvSpPr>
          <p:nvPr>
            <p:ph type="body" sz="quarter" idx="19" hasCustomPrompt="1"/>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Tree>
    <p:extLst/>
  </p:cSld>
  <p:clrMapOvr>
    <a:masterClrMapping/>
  </p:clrMapOvr>
  <p:transition spd="slow">
    <p:wip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3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ltLang="zh-CN"/>
              <a:t>Click to edit Master title style</a:t>
            </a:r>
            <a:endParaRPr lang="en-US" dirty="0"/>
          </a:p>
        </p:txBody>
      </p:sp>
      <p:sp>
        <p:nvSpPr>
          <p:cNvPr id="12" name="Oval 11"/>
          <p:cNvSpPr/>
          <p:nvPr userDrawn="1"/>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15" name="Oval 14"/>
          <p:cNvSpPr/>
          <p:nvPr userDrawn="1"/>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22" name="Oval 21"/>
          <p:cNvSpPr/>
          <p:nvPr userDrawn="1"/>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chemeClr val="bg2"/>
                  </a:solidFill>
                </a:ln>
                <a:solidFill>
                  <a:schemeClr val="bg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cSld>
  <p:clrMapOvr>
    <a:masterClrMapping/>
  </p:clrMapOvr>
  <p:transition spd="slow">
    <p:wip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5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ltLang="zh-CN"/>
              <a:t>Click to edit Master title style</a:t>
            </a:r>
            <a:endParaRPr lang="en-US"/>
          </a:p>
        </p:txBody>
      </p:sp>
      <p:sp>
        <p:nvSpPr>
          <p:cNvPr id="12" name="Oval 11"/>
          <p:cNvSpPr/>
          <p:nvPr userDrawn="1"/>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15" name="Oval 14"/>
          <p:cNvSpPr/>
          <p:nvPr userDrawn="1"/>
        </p:nvSpPr>
        <p:spPr>
          <a:xfrm>
            <a:off x="575610" y="132892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22" name="Oval 21"/>
          <p:cNvSpPr/>
          <p:nvPr userDrawn="1"/>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24" name="Text Placeholder 17"/>
          <p:cNvSpPr>
            <a:spLocks noGrp="1"/>
          </p:cNvSpPr>
          <p:nvPr>
            <p:ph type="body" sz="quarter" idx="13"/>
          </p:nvPr>
        </p:nvSpPr>
        <p:spPr>
          <a:xfrm>
            <a:off x="1172384" y="1334842"/>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5" name="Text Placeholder 17"/>
          <p:cNvSpPr>
            <a:spLocks noGrp="1"/>
          </p:cNvSpPr>
          <p:nvPr>
            <p:ph type="body" sz="quarter" idx="14"/>
          </p:nvPr>
        </p:nvSpPr>
        <p:spPr>
          <a:xfrm>
            <a:off x="1172385" y="198456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6" name="Text Placeholder 17"/>
          <p:cNvSpPr>
            <a:spLocks noGrp="1"/>
          </p:cNvSpPr>
          <p:nvPr>
            <p:ph type="body" sz="quarter" idx="15"/>
          </p:nvPr>
        </p:nvSpPr>
        <p:spPr>
          <a:xfrm>
            <a:off x="1172385" y="262744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14" name="Text Placeholder 17"/>
          <p:cNvSpPr>
            <a:spLocks noGrp="1"/>
          </p:cNvSpPr>
          <p:nvPr>
            <p:ph type="body" sz="quarter" idx="19"/>
          </p:nvPr>
        </p:nvSpPr>
        <p:spPr>
          <a:xfrm>
            <a:off x="1172386" y="3274581"/>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4000" dirty="0">
              <a:ln>
                <a:solidFill>
                  <a:srgbClr val="049FD9"/>
                </a:solidFill>
              </a:ln>
              <a:solidFill>
                <a:srgbClr val="049FD9"/>
              </a:solidFill>
              <a:latin typeface="Arial Regular" charset="0"/>
              <a:cs typeface="Arial Regular" charset="0"/>
            </a:endParaRPr>
          </a:p>
        </p:txBody>
      </p:sp>
      <p:sp>
        <p:nvSpPr>
          <p:cNvPr id="18" name="Text Placeholder 17"/>
          <p:cNvSpPr>
            <a:spLocks noGrp="1"/>
          </p:cNvSpPr>
          <p:nvPr>
            <p:ph type="body" sz="quarter" idx="21"/>
          </p:nvPr>
        </p:nvSpPr>
        <p:spPr>
          <a:xfrm>
            <a:off x="1172387" y="3921716"/>
            <a:ext cx="5678748" cy="461327"/>
          </a:xfrm>
          <a:prstGeom prst="rect">
            <a:avLst/>
          </a:prstGeom>
        </p:spPr>
        <p:txBody>
          <a:bodyPr lIns="91420" tIns="45710" rIns="91420" bIns="45710" anchor="ctr" anchorCtr="0">
            <a:noAutofit/>
          </a:bodyPr>
          <a:lstStyle>
            <a:lvl1pPr marL="0" indent="0" algn="l">
              <a:buNone/>
              <a:defRPr sz="20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Tree>
    <p:extLst/>
  </p:cSld>
  <p:clrMapOvr>
    <a:masterClrMapping/>
  </p:clrMapOvr>
  <p:transition spd="slow">
    <p:wip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ltLang="zh-CN"/>
              <a:t>Click to edit Master title style</a:t>
            </a:r>
            <a:endParaRPr lang="en-US"/>
          </a:p>
        </p:txBody>
      </p:sp>
      <p:sp>
        <p:nvSpPr>
          <p:cNvPr id="12" name="Oval 11"/>
          <p:cNvSpPr/>
          <p:nvPr userDrawn="1"/>
        </p:nvSpPr>
        <p:spPr>
          <a:xfrm>
            <a:off x="575611" y="1979318"/>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15" name="Oval 14"/>
          <p:cNvSpPr/>
          <p:nvPr userDrawn="1"/>
        </p:nvSpPr>
        <p:spPr>
          <a:xfrm>
            <a:off x="575610" y="132892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22" name="Oval 21"/>
          <p:cNvSpPr/>
          <p:nvPr userDrawn="1"/>
        </p:nvSpPr>
        <p:spPr>
          <a:xfrm>
            <a:off x="575611" y="262744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24"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5"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6"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27"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28"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29"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13" name="Oval 12"/>
          <p:cNvSpPr/>
          <p:nvPr userDrawn="1"/>
        </p:nvSpPr>
        <p:spPr>
          <a:xfrm>
            <a:off x="575612" y="3274581"/>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14"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6"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17" name="Oval 16"/>
          <p:cNvSpPr/>
          <p:nvPr userDrawn="1"/>
        </p:nvSpPr>
        <p:spPr>
          <a:xfrm>
            <a:off x="575613" y="3921716"/>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18"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19"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chemeClr val="accent5"/>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20" name="Oval 19"/>
          <p:cNvSpPr/>
          <p:nvPr userDrawn="1"/>
        </p:nvSpPr>
        <p:spPr>
          <a:xfrm>
            <a:off x="4414576" y="1983084"/>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21" name="Oval 20"/>
          <p:cNvSpPr/>
          <p:nvPr userDrawn="1"/>
        </p:nvSpPr>
        <p:spPr>
          <a:xfrm>
            <a:off x="4414575" y="1332693"/>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23" name="Oval 22"/>
          <p:cNvSpPr/>
          <p:nvPr userDrawn="1"/>
        </p:nvSpPr>
        <p:spPr>
          <a:xfrm>
            <a:off x="4414576" y="263121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3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3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3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3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3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3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36" name="Oval 35"/>
          <p:cNvSpPr/>
          <p:nvPr userDrawn="1"/>
        </p:nvSpPr>
        <p:spPr>
          <a:xfrm>
            <a:off x="4414577" y="3278347"/>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3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3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39" name="Oval 38"/>
          <p:cNvSpPr/>
          <p:nvPr userDrawn="1"/>
        </p:nvSpPr>
        <p:spPr>
          <a:xfrm>
            <a:off x="4414578" y="3925482"/>
            <a:ext cx="464815" cy="464815"/>
          </a:xfrm>
          <a:prstGeom prst="ellipse">
            <a:avLst/>
          </a:prstGeom>
          <a:no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4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4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chemeClr val="bg2"/>
                  </a:solidFill>
                </a:ln>
                <a:solidFill>
                  <a:srgbClr val="049FD9"/>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cSld>
  <p:clrMapOvr>
    <a:masterClrMapping/>
  </p:clrMapOvr>
  <p:transition spd="slow">
    <p:wip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6_Circled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altLang="zh-CN"/>
              <a:t>Click to edit Master title style</a:t>
            </a:r>
            <a:endParaRPr lang="en-US"/>
          </a:p>
        </p:txBody>
      </p:sp>
      <p:sp>
        <p:nvSpPr>
          <p:cNvPr id="42" name="Oval 41"/>
          <p:cNvSpPr/>
          <p:nvPr userDrawn="1"/>
        </p:nvSpPr>
        <p:spPr>
          <a:xfrm>
            <a:off x="575611" y="1979318"/>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43" name="Oval 42"/>
          <p:cNvSpPr/>
          <p:nvPr userDrawn="1"/>
        </p:nvSpPr>
        <p:spPr>
          <a:xfrm>
            <a:off x="575610" y="1328927"/>
            <a:ext cx="464815" cy="464815"/>
          </a:xfrm>
          <a:prstGeom prst="ellipse">
            <a:avLst/>
          </a:prstGeom>
          <a:solidFill>
            <a:schemeClr val="bg2"/>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FFFFFF"/>
              </a:solidFill>
              <a:latin typeface="Arial Regular" charset="0"/>
              <a:cs typeface="Arial Regular" charset="0"/>
            </a:endParaRPr>
          </a:p>
        </p:txBody>
      </p:sp>
      <p:sp>
        <p:nvSpPr>
          <p:cNvPr id="44" name="Oval 43"/>
          <p:cNvSpPr/>
          <p:nvPr userDrawn="1"/>
        </p:nvSpPr>
        <p:spPr>
          <a:xfrm>
            <a:off x="575611" y="262744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45" name="Text Placeholder 17"/>
          <p:cNvSpPr>
            <a:spLocks noGrp="1"/>
          </p:cNvSpPr>
          <p:nvPr>
            <p:ph type="body" sz="quarter" idx="13"/>
          </p:nvPr>
        </p:nvSpPr>
        <p:spPr>
          <a:xfrm>
            <a:off x="1172384" y="133484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46" name="Text Placeholder 17"/>
          <p:cNvSpPr>
            <a:spLocks noGrp="1"/>
          </p:cNvSpPr>
          <p:nvPr>
            <p:ph type="body" sz="quarter" idx="14"/>
          </p:nvPr>
        </p:nvSpPr>
        <p:spPr>
          <a:xfrm>
            <a:off x="1172385" y="198456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47" name="Text Placeholder 17"/>
          <p:cNvSpPr>
            <a:spLocks noGrp="1"/>
          </p:cNvSpPr>
          <p:nvPr>
            <p:ph type="body" sz="quarter" idx="15"/>
          </p:nvPr>
        </p:nvSpPr>
        <p:spPr>
          <a:xfrm>
            <a:off x="1172385" y="262744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48" name="Text Placeholder 17"/>
          <p:cNvSpPr>
            <a:spLocks noGrp="1"/>
          </p:cNvSpPr>
          <p:nvPr>
            <p:ph type="body" sz="quarter" idx="16" hasCustomPrompt="1"/>
          </p:nvPr>
        </p:nvSpPr>
        <p:spPr>
          <a:xfrm>
            <a:off x="575611" y="1327521"/>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a:t>
            </a:r>
          </a:p>
        </p:txBody>
      </p:sp>
      <p:sp>
        <p:nvSpPr>
          <p:cNvPr id="49" name="Text Placeholder 17"/>
          <p:cNvSpPr>
            <a:spLocks noGrp="1"/>
          </p:cNvSpPr>
          <p:nvPr>
            <p:ph type="body" sz="quarter" idx="17" hasCustomPrompt="1"/>
          </p:nvPr>
        </p:nvSpPr>
        <p:spPr>
          <a:xfrm>
            <a:off x="575611" y="197931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2</a:t>
            </a:r>
          </a:p>
        </p:txBody>
      </p:sp>
      <p:sp>
        <p:nvSpPr>
          <p:cNvPr id="50" name="Text Placeholder 17"/>
          <p:cNvSpPr>
            <a:spLocks noGrp="1"/>
          </p:cNvSpPr>
          <p:nvPr>
            <p:ph type="body" sz="quarter" idx="18" hasCustomPrompt="1"/>
          </p:nvPr>
        </p:nvSpPr>
        <p:spPr>
          <a:xfrm>
            <a:off x="575612" y="262549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3</a:t>
            </a:r>
          </a:p>
        </p:txBody>
      </p:sp>
      <p:sp>
        <p:nvSpPr>
          <p:cNvPr id="51" name="Oval 50"/>
          <p:cNvSpPr/>
          <p:nvPr userDrawn="1"/>
        </p:nvSpPr>
        <p:spPr>
          <a:xfrm>
            <a:off x="575612" y="3274581"/>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52" name="Text Placeholder 17"/>
          <p:cNvSpPr>
            <a:spLocks noGrp="1"/>
          </p:cNvSpPr>
          <p:nvPr>
            <p:ph type="body" sz="quarter" idx="19"/>
          </p:nvPr>
        </p:nvSpPr>
        <p:spPr>
          <a:xfrm>
            <a:off x="1172386" y="3274581"/>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53" name="Text Placeholder 17"/>
          <p:cNvSpPr>
            <a:spLocks noGrp="1"/>
          </p:cNvSpPr>
          <p:nvPr>
            <p:ph type="body" sz="quarter" idx="20" hasCustomPrompt="1"/>
          </p:nvPr>
        </p:nvSpPr>
        <p:spPr>
          <a:xfrm>
            <a:off x="575613" y="3272628"/>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4</a:t>
            </a:r>
          </a:p>
        </p:txBody>
      </p:sp>
      <p:sp>
        <p:nvSpPr>
          <p:cNvPr id="54" name="Oval 53"/>
          <p:cNvSpPr/>
          <p:nvPr userDrawn="1"/>
        </p:nvSpPr>
        <p:spPr>
          <a:xfrm>
            <a:off x="575613" y="3921716"/>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55" name="Text Placeholder 17"/>
          <p:cNvSpPr>
            <a:spLocks noGrp="1"/>
          </p:cNvSpPr>
          <p:nvPr>
            <p:ph type="body" sz="quarter" idx="21"/>
          </p:nvPr>
        </p:nvSpPr>
        <p:spPr>
          <a:xfrm>
            <a:off x="1172387" y="3921716"/>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56" name="Text Placeholder 17"/>
          <p:cNvSpPr>
            <a:spLocks noGrp="1"/>
          </p:cNvSpPr>
          <p:nvPr>
            <p:ph type="body" sz="quarter" idx="22" hasCustomPrompt="1"/>
          </p:nvPr>
        </p:nvSpPr>
        <p:spPr>
          <a:xfrm>
            <a:off x="575614" y="3919763"/>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5</a:t>
            </a:r>
          </a:p>
        </p:txBody>
      </p:sp>
      <p:sp>
        <p:nvSpPr>
          <p:cNvPr id="57" name="Oval 56"/>
          <p:cNvSpPr/>
          <p:nvPr userDrawn="1"/>
        </p:nvSpPr>
        <p:spPr>
          <a:xfrm>
            <a:off x="4414576" y="1983084"/>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58" name="Oval 57"/>
          <p:cNvSpPr/>
          <p:nvPr userDrawn="1"/>
        </p:nvSpPr>
        <p:spPr>
          <a:xfrm>
            <a:off x="4414575" y="1332693"/>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59" name="Oval 58"/>
          <p:cNvSpPr/>
          <p:nvPr userDrawn="1"/>
        </p:nvSpPr>
        <p:spPr>
          <a:xfrm>
            <a:off x="4414576" y="263121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60" name="Text Placeholder 17"/>
          <p:cNvSpPr>
            <a:spLocks noGrp="1"/>
          </p:cNvSpPr>
          <p:nvPr>
            <p:ph type="body" sz="quarter" idx="23"/>
          </p:nvPr>
        </p:nvSpPr>
        <p:spPr>
          <a:xfrm>
            <a:off x="5011349" y="1338608"/>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61" name="Text Placeholder 17"/>
          <p:cNvSpPr>
            <a:spLocks noGrp="1"/>
          </p:cNvSpPr>
          <p:nvPr>
            <p:ph type="body" sz="quarter" idx="24"/>
          </p:nvPr>
        </p:nvSpPr>
        <p:spPr>
          <a:xfrm>
            <a:off x="5011350" y="198832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62" name="Text Placeholder 17"/>
          <p:cNvSpPr>
            <a:spLocks noGrp="1"/>
          </p:cNvSpPr>
          <p:nvPr>
            <p:ph type="body" sz="quarter" idx="25"/>
          </p:nvPr>
        </p:nvSpPr>
        <p:spPr>
          <a:xfrm>
            <a:off x="5011350" y="263121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63" name="Text Placeholder 17"/>
          <p:cNvSpPr>
            <a:spLocks noGrp="1"/>
          </p:cNvSpPr>
          <p:nvPr>
            <p:ph type="body" sz="quarter" idx="26" hasCustomPrompt="1"/>
          </p:nvPr>
        </p:nvSpPr>
        <p:spPr>
          <a:xfrm>
            <a:off x="4414576" y="1331287"/>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6</a:t>
            </a:r>
          </a:p>
        </p:txBody>
      </p:sp>
      <p:sp>
        <p:nvSpPr>
          <p:cNvPr id="64" name="Text Placeholder 17"/>
          <p:cNvSpPr>
            <a:spLocks noGrp="1"/>
          </p:cNvSpPr>
          <p:nvPr>
            <p:ph type="body" sz="quarter" idx="27" hasCustomPrompt="1"/>
          </p:nvPr>
        </p:nvSpPr>
        <p:spPr>
          <a:xfrm>
            <a:off x="4414576" y="198308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7</a:t>
            </a:r>
          </a:p>
        </p:txBody>
      </p:sp>
      <p:sp>
        <p:nvSpPr>
          <p:cNvPr id="65" name="Text Placeholder 17"/>
          <p:cNvSpPr>
            <a:spLocks noGrp="1"/>
          </p:cNvSpPr>
          <p:nvPr>
            <p:ph type="body" sz="quarter" idx="28" hasCustomPrompt="1"/>
          </p:nvPr>
        </p:nvSpPr>
        <p:spPr>
          <a:xfrm>
            <a:off x="4414577" y="262925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8</a:t>
            </a:r>
          </a:p>
        </p:txBody>
      </p:sp>
      <p:sp>
        <p:nvSpPr>
          <p:cNvPr id="66" name="Oval 65"/>
          <p:cNvSpPr/>
          <p:nvPr userDrawn="1"/>
        </p:nvSpPr>
        <p:spPr>
          <a:xfrm>
            <a:off x="4414577" y="3278347"/>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67" name="Text Placeholder 17"/>
          <p:cNvSpPr>
            <a:spLocks noGrp="1"/>
          </p:cNvSpPr>
          <p:nvPr>
            <p:ph type="body" sz="quarter" idx="29"/>
          </p:nvPr>
        </p:nvSpPr>
        <p:spPr>
          <a:xfrm>
            <a:off x="5011351" y="3278347"/>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68" name="Text Placeholder 17"/>
          <p:cNvSpPr>
            <a:spLocks noGrp="1"/>
          </p:cNvSpPr>
          <p:nvPr>
            <p:ph type="body" sz="quarter" idx="30" hasCustomPrompt="1"/>
          </p:nvPr>
        </p:nvSpPr>
        <p:spPr>
          <a:xfrm>
            <a:off x="4414578" y="3276394"/>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9</a:t>
            </a:r>
          </a:p>
        </p:txBody>
      </p:sp>
      <p:sp>
        <p:nvSpPr>
          <p:cNvPr id="69" name="Oval 68"/>
          <p:cNvSpPr/>
          <p:nvPr userDrawn="1"/>
        </p:nvSpPr>
        <p:spPr>
          <a:xfrm>
            <a:off x="4414578" y="3925482"/>
            <a:ext cx="464815" cy="464815"/>
          </a:xfrm>
          <a:prstGeom prst="ellipse">
            <a:avLst/>
          </a:prstGeom>
          <a:solidFill>
            <a:srgbClr val="049FD9"/>
          </a:solidFill>
          <a:ln w="19050">
            <a:solidFill>
              <a:srgbClr val="049FD9"/>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rtlCol="0" anchor="ctr" anchorCtr="0"/>
          <a:lstStyle/>
          <a:p>
            <a:pPr algn="ctr"/>
            <a:endParaRPr lang="en-US" sz="2000" dirty="0">
              <a:ln>
                <a:solidFill>
                  <a:srgbClr val="049FD9"/>
                </a:solidFill>
              </a:ln>
              <a:solidFill>
                <a:srgbClr val="049FD9"/>
              </a:solidFill>
              <a:latin typeface="Arial Regular" charset="0"/>
              <a:cs typeface="Arial Regular" charset="0"/>
            </a:endParaRPr>
          </a:p>
        </p:txBody>
      </p:sp>
      <p:sp>
        <p:nvSpPr>
          <p:cNvPr id="70" name="Text Placeholder 17"/>
          <p:cNvSpPr>
            <a:spLocks noGrp="1"/>
          </p:cNvSpPr>
          <p:nvPr>
            <p:ph type="body" sz="quarter" idx="31"/>
          </p:nvPr>
        </p:nvSpPr>
        <p:spPr>
          <a:xfrm>
            <a:off x="5011352" y="3925482"/>
            <a:ext cx="2175886" cy="461327"/>
          </a:xfrm>
          <a:prstGeom prst="rect">
            <a:avLst/>
          </a:prstGeom>
        </p:spPr>
        <p:txBody>
          <a:bodyPr lIns="91420" tIns="45710" rIns="91420" bIns="45710" anchor="ctr" anchorCtr="0">
            <a:noAutofit/>
          </a:bodyPr>
          <a:lstStyle>
            <a:lvl1pPr marL="0" indent="0" algn="l">
              <a:buNone/>
              <a:defRPr sz="1800" b="0" i="0" baseline="0">
                <a:solidFill>
                  <a:schemeClr val="tx2"/>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ltLang="zh-CN" dirty="0"/>
              <a:t>Click to edit Master text styles</a:t>
            </a:r>
          </a:p>
        </p:txBody>
      </p:sp>
      <p:sp>
        <p:nvSpPr>
          <p:cNvPr id="71" name="Text Placeholder 17"/>
          <p:cNvSpPr>
            <a:spLocks noGrp="1"/>
          </p:cNvSpPr>
          <p:nvPr>
            <p:ph type="body" sz="quarter" idx="32" hasCustomPrompt="1"/>
          </p:nvPr>
        </p:nvSpPr>
        <p:spPr>
          <a:xfrm>
            <a:off x="4414579" y="3923529"/>
            <a:ext cx="464815" cy="461327"/>
          </a:xfrm>
          <a:prstGeom prst="rect">
            <a:avLst/>
          </a:prstGeom>
          <a:noFill/>
          <a:ln>
            <a:noFill/>
          </a:ln>
        </p:spPr>
        <p:txBody>
          <a:bodyPr lIns="91420" tIns="45710" rIns="91420" bIns="45710" anchor="ctr" anchorCtr="0">
            <a:noAutofit/>
          </a:bodyPr>
          <a:lstStyle>
            <a:lvl1pPr marL="0" indent="0" algn="ctr">
              <a:buNone/>
              <a:defRPr sz="2000" b="0" i="0" baseline="0">
                <a:ln>
                  <a:solidFill>
                    <a:srgbClr val="FFFFFF"/>
                  </a:solidFill>
                </a:ln>
                <a:solidFill>
                  <a:srgbClr val="FFFFFF"/>
                </a:solidFill>
                <a:latin typeface="Arial Regular" charset="0"/>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dirty="0"/>
              <a:t>10</a:t>
            </a:r>
          </a:p>
        </p:txBody>
      </p:sp>
    </p:spTree>
    <p:extLst/>
  </p:cSld>
  <p:clrMapOvr>
    <a:masterClrMapping/>
  </p:clrMapOvr>
  <p:transition spd="slow">
    <p:wip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ull Bleed Photo With Text">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4000" cy="5143500"/>
          </a:xfrm>
          <a:prstGeom prst="rect">
            <a:avLst/>
          </a:prstGeom>
        </p:spPr>
        <p:txBody>
          <a:bodyPr vert="horz" lIns="91420" tIns="45710" rIns="91420" bIns="45710"/>
          <a:lstStyle>
            <a:lvl1pPr marL="0" indent="0" algn="ctr">
              <a:buNone/>
              <a:defRPr sz="2200" b="0" i="0" baseline="0">
                <a:solidFill>
                  <a:schemeClr val="tx2"/>
                </a:solidFill>
                <a:latin typeface="Arial Regular" charset="0"/>
                <a:cs typeface="CiscoSans ExtraLight"/>
              </a:defRPr>
            </a:lvl1pPr>
          </a:lstStyle>
          <a:p>
            <a:pPr lvl="0"/>
            <a:r>
              <a:rPr lang="en-US" altLang="zh-CN" noProof="0" dirty="0"/>
              <a:t>Drag picture to placeholder or click icon to add</a:t>
            </a:r>
            <a:endParaRPr lang="en-US" noProof="0" dirty="0"/>
          </a:p>
        </p:txBody>
      </p:sp>
      <p:sp>
        <p:nvSpPr>
          <p:cNvPr id="6" name="Text Placeholder 2"/>
          <p:cNvSpPr>
            <a:spLocks noGrp="1"/>
          </p:cNvSpPr>
          <p:nvPr>
            <p:ph type="body" sz="quarter" idx="11"/>
          </p:nvPr>
        </p:nvSpPr>
        <p:spPr bwMode="auto">
          <a:xfrm>
            <a:off x="500063" y="3476647"/>
            <a:ext cx="8139112" cy="520655"/>
          </a:xfrm>
          <a:prstGeom prst="rect">
            <a:avLst/>
          </a:prstGeom>
          <a:solidFill>
            <a:schemeClr val="bg1">
              <a:alpha val="70000"/>
            </a:schemeClr>
          </a:solidFill>
          <a:extLst/>
        </p:spPr>
        <p:txBody>
          <a:bodyPr wrap="square" lIns="108000" tIns="0" rIns="91440" bIns="45720" numCol="1" anchor="ctr" anchorCtr="0" compatLnSpc="1">
            <a:prstTxWarp prst="textNoShape">
              <a:avLst/>
            </a:prstTxWarp>
            <a:spAutoFit/>
          </a:bodyPr>
          <a:lstStyle>
            <a:lvl1pPr marL="172800" indent="0">
              <a:lnSpc>
                <a:spcPts val="3680"/>
              </a:lnSpc>
              <a:spcBef>
                <a:spcPts val="0"/>
              </a:spcBef>
              <a:buNone/>
              <a:defRPr sz="2400" b="0" i="0">
                <a:solidFill>
                  <a:srgbClr val="58585B"/>
                </a:solidFill>
                <a:latin typeface="Arial Regular" charset="0"/>
              </a:defRPr>
            </a:lvl1pPr>
          </a:lstStyle>
          <a:p>
            <a:pPr lvl="0"/>
            <a:r>
              <a:rPr lang="en-US" altLang="zh-CN" dirty="0"/>
              <a:t>Click to edit Master text styles</a:t>
            </a:r>
          </a:p>
        </p:txBody>
      </p:sp>
    </p:spTree>
    <p:extLst/>
  </p:cSld>
  <p:clrMapOvr>
    <a:masterClrMapping/>
  </p:clrMapOvr>
  <p:transition spd="med">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alf Page Photo With Text">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3" y="301037"/>
            <a:ext cx="8563172" cy="2542175"/>
          </a:xfrm>
          <a:prstGeom prst="rect">
            <a:avLst/>
          </a:prstGeom>
        </p:spPr>
        <p:txBody>
          <a:bodyPr vert="horz" lIns="91420" tIns="45710" rIns="91420" bIns="45710"/>
          <a:lstStyle>
            <a:lvl1pPr marL="0" indent="0" algn="ctr">
              <a:buNone/>
              <a:defRPr sz="2200" b="0" i="0" baseline="0">
                <a:solidFill>
                  <a:schemeClr val="tx2"/>
                </a:solidFill>
                <a:latin typeface="Arial Regular" charset="0"/>
                <a:cs typeface="CiscoSans ExtraLight"/>
              </a:defRPr>
            </a:lvl1pPr>
          </a:lstStyle>
          <a:p>
            <a:pPr lvl="0"/>
            <a:r>
              <a:rPr lang="en-US" altLang="zh-CN" noProof="0" dirty="0"/>
              <a:t>Drag picture to placeholder or click icon to add</a:t>
            </a:r>
            <a:endParaRPr lang="en-US" noProof="0" dirty="0"/>
          </a:p>
        </p:txBody>
      </p:sp>
      <p:sp>
        <p:nvSpPr>
          <p:cNvPr id="4" name="Text Placeholder 3"/>
          <p:cNvSpPr>
            <a:spLocks noGrp="1"/>
          </p:cNvSpPr>
          <p:nvPr>
            <p:ph type="body" sz="quarter" idx="11"/>
          </p:nvPr>
        </p:nvSpPr>
        <p:spPr>
          <a:xfrm>
            <a:off x="448785" y="3054518"/>
            <a:ext cx="8364236" cy="564257"/>
          </a:xfrm>
          <a:prstGeom prst="rect">
            <a:avLst/>
          </a:prstGeom>
        </p:spPr>
        <p:txBody>
          <a:bodyPr vert="horz" wrap="square">
            <a:spAutoFit/>
          </a:bodyPr>
          <a:lstStyle>
            <a:lvl1pPr marL="0" indent="0">
              <a:buNone/>
              <a:defRPr sz="3200" b="0" i="0" baseline="0">
                <a:solidFill>
                  <a:srgbClr val="58585B"/>
                </a:solidFill>
                <a:latin typeface="Arial Regular" charset="0"/>
              </a:defRPr>
            </a:lvl1pPr>
          </a:lstStyle>
          <a:p>
            <a:pPr lvl="0"/>
            <a:r>
              <a:rPr lang="en-US" altLang="zh-CN" dirty="0"/>
              <a:t>Click to edit Master text styles</a:t>
            </a:r>
          </a:p>
        </p:txBody>
      </p:sp>
    </p:spTree>
    <p:extLst/>
  </p:cSld>
  <p:clrMapOvr>
    <a:masterClrMapping/>
  </p:clrMapOvr>
  <p:transition spd="med">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 bleed photo">
    <p:spTree>
      <p:nvGrpSpPr>
        <p:cNvPr id="1" name=""/>
        <p:cNvGrpSpPr/>
        <p:nvPr/>
      </p:nvGrpSpPr>
      <p:grpSpPr>
        <a:xfrm>
          <a:off x="0" y="0"/>
          <a:ext cx="0" cy="0"/>
          <a:chOff x="0" y="0"/>
          <a:chExt cx="0" cy="0"/>
        </a:xfrm>
      </p:grpSpPr>
      <p:pic>
        <p:nvPicPr>
          <p:cNvPr id="4"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50813" y="4629150"/>
            <a:ext cx="733425" cy="3651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Picture Placeholder 2"/>
          <p:cNvSpPr>
            <a:spLocks noGrp="1"/>
          </p:cNvSpPr>
          <p:nvPr>
            <p:ph type="pic" sz="quarter" idx="10"/>
          </p:nvPr>
        </p:nvSpPr>
        <p:spPr>
          <a:xfrm>
            <a:off x="0" y="0"/>
            <a:ext cx="9147348" cy="5143500"/>
          </a:xfrm>
          <a:prstGeom prst="rect">
            <a:avLst/>
          </a:prstGeom>
        </p:spPr>
        <p:txBody>
          <a:bodyPr vert="horz" lIns="91420" tIns="45710" rIns="91420" bIns="45710"/>
          <a:lstStyle>
            <a:lvl1pPr marL="0" indent="0" algn="ctr">
              <a:buNone/>
              <a:defRPr sz="2200" b="0" i="0" baseline="0">
                <a:solidFill>
                  <a:schemeClr val="tx2"/>
                </a:solidFill>
                <a:latin typeface="Arial Regular" charset="0"/>
                <a:cs typeface="CiscoSans ExtraLight"/>
              </a:defRPr>
            </a:lvl1pPr>
          </a:lstStyle>
          <a:p>
            <a:pPr lvl="0"/>
            <a:r>
              <a:rPr lang="en-US" altLang="zh-CN" noProof="0" dirty="0"/>
              <a:t>Drag picture to placeholder or click icon to add</a:t>
            </a:r>
            <a:endParaRPr lang="en-US" noProof="0" dirty="0"/>
          </a:p>
        </p:txBody>
      </p:sp>
    </p:spTree>
    <p:extLst/>
  </p:cSld>
  <p:clrMapOvr>
    <a:masterClrMapping/>
  </p:clrMapOvr>
  <p:transition spd="med">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p:nvPr>
        </p:nvSpPr>
        <p:spPr>
          <a:xfrm>
            <a:off x="308012" y="240631"/>
            <a:ext cx="8480388" cy="4266646"/>
          </a:xfrm>
          <a:prstGeom prst="rect">
            <a:avLst/>
          </a:prstGeom>
        </p:spPr>
        <p:txBody>
          <a:bodyPr vert="horz" lIns="91424" tIns="45712" rIns="91424" bIns="45712"/>
          <a:lstStyle>
            <a:lvl1pPr marL="0" indent="0" algn="ctr">
              <a:buNone/>
              <a:defRPr sz="1500" b="0" i="0" baseline="0">
                <a:solidFill>
                  <a:schemeClr val="tx2"/>
                </a:solidFill>
                <a:latin typeface="Arial Regular" charset="0"/>
                <a:cs typeface="CiscoSans ExtraLight"/>
              </a:defRPr>
            </a:lvl1pPr>
          </a:lstStyle>
          <a:p>
            <a:pPr lvl="0"/>
            <a:r>
              <a:rPr lang="en-US" altLang="zh-CN" noProof="0" dirty="0"/>
              <a:t>Drag picture to placeholder or click icon to add</a:t>
            </a:r>
            <a:endParaRPr lang="en-US" noProof="0" dirty="0"/>
          </a:p>
        </p:txBody>
      </p:sp>
    </p:spTree>
    <p:extLst/>
  </p:cSld>
  <p:clrMapOvr>
    <a:masterClrMapping/>
  </p:clrMapOvr>
  <p:transition spd="med">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1_SNAP Prime Bullet_Title only">
    <p:spTree>
      <p:nvGrpSpPr>
        <p:cNvPr id="1" name=""/>
        <p:cNvGrpSpPr/>
        <p:nvPr/>
      </p:nvGrpSpPr>
      <p:grpSpPr>
        <a:xfrm>
          <a:off x="0" y="0"/>
          <a:ext cx="0" cy="0"/>
          <a:chOff x="0" y="0"/>
          <a:chExt cx="0" cy="0"/>
        </a:xfrm>
      </p:grpSpPr>
      <p:sp>
        <p:nvSpPr>
          <p:cNvPr id="3" name="Title Placeholder 5"/>
          <p:cNvSpPr>
            <a:spLocks noGrp="1"/>
          </p:cNvSpPr>
          <p:nvPr>
            <p:ph type="title"/>
          </p:nvPr>
        </p:nvSpPr>
        <p:spPr bwMode="auto">
          <a:xfrm>
            <a:off x="18288" y="27432"/>
            <a:ext cx="8345488"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defRPr sz="2800">
                <a:solidFill>
                  <a:schemeClr val="tx2"/>
                </a:solidFill>
                <a:latin typeface="Arial" panose="020B0604020202020204" pitchFamily="34" charset="0"/>
                <a:cs typeface="Arial" panose="020B0604020202020204" pitchFamily="34" charset="0"/>
              </a:defRPr>
            </a:lvl1pPr>
          </a:lstStyle>
          <a:p>
            <a:pPr lvl="0"/>
            <a:r>
              <a:rPr lang="en-US"/>
              <a:t>Click to edit Master title style</a:t>
            </a:r>
            <a:endParaRPr lang="en-GB" dirty="0"/>
          </a:p>
        </p:txBody>
      </p:sp>
    </p:spTree>
    <p:extLst>
      <p:ext uri="{BB962C8B-B14F-4D97-AF65-F5344CB8AC3E}">
        <p14:creationId xmlns:p14="http://schemas.microsoft.com/office/powerpoint/2010/main" val="37748621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ingle photo with caption">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1892300" y="596900"/>
            <a:ext cx="5348288" cy="300355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solidFill>
                <a:srgbClr val="FFFFFF"/>
              </a:solidFill>
              <a:latin typeface="Arial Regular" charset="0"/>
            </a:endParaRPr>
          </a:p>
        </p:txBody>
      </p:sp>
      <p:sp>
        <p:nvSpPr>
          <p:cNvPr id="5" name="Rectangle 4"/>
          <p:cNvSpPr/>
          <p:nvPr/>
        </p:nvSpPr>
        <p:spPr>
          <a:xfrm>
            <a:off x="1892300" y="3595688"/>
            <a:ext cx="5346700" cy="747712"/>
          </a:xfrm>
          <a:prstGeom prst="rect">
            <a:avLst/>
          </a:prstGeom>
          <a:no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solidFill>
                <a:srgbClr val="FFFFFF"/>
              </a:solidFill>
              <a:latin typeface="Arial Regular" charset="0"/>
            </a:endParaRPr>
          </a:p>
        </p:txBody>
      </p:sp>
      <p:sp>
        <p:nvSpPr>
          <p:cNvPr id="26" name="Picture Placeholder 25"/>
          <p:cNvSpPr>
            <a:spLocks noGrp="1"/>
          </p:cNvSpPr>
          <p:nvPr>
            <p:ph type="pic" sz="quarter" idx="10"/>
          </p:nvPr>
        </p:nvSpPr>
        <p:spPr>
          <a:xfrm>
            <a:off x="1900238" y="596646"/>
            <a:ext cx="5329238" cy="3003804"/>
          </a:xfrm>
          <a:prstGeom prst="rect">
            <a:avLst/>
          </a:prstGeom>
          <a:solidFill>
            <a:schemeClr val="bg1">
              <a:alpha val="30000"/>
            </a:schemeClr>
          </a:solidFill>
          <a:ln>
            <a:solidFill>
              <a:srgbClr val="676767"/>
            </a:solidFill>
          </a:ln>
          <a:effectLst/>
        </p:spPr>
        <p:txBody>
          <a:bodyPr lIns="91424" tIns="45712" rIns="91424" bIns="45712" anchor="ctr" anchorCtr="0"/>
          <a:lstStyle>
            <a:lvl1pPr algn="ctr">
              <a:buFontTx/>
              <a:buNone/>
              <a:defRPr b="0" i="0">
                <a:solidFill>
                  <a:schemeClr val="tx1"/>
                </a:solidFill>
                <a:latin typeface="Arial Regular" charset="0"/>
              </a:defRPr>
            </a:lvl1pPr>
          </a:lstStyle>
          <a:p>
            <a:pPr lvl="0"/>
            <a:r>
              <a:rPr lang="en-US" altLang="zh-CN" noProof="0" dirty="0"/>
              <a:t>Drag picture to placeholder or click icon to add</a:t>
            </a:r>
            <a:endParaRPr lang="en-US" noProof="0" dirty="0"/>
          </a:p>
        </p:txBody>
      </p:sp>
      <p:sp>
        <p:nvSpPr>
          <p:cNvPr id="11" name="Title 10"/>
          <p:cNvSpPr>
            <a:spLocks noGrp="1"/>
          </p:cNvSpPr>
          <p:nvPr>
            <p:ph type="title"/>
          </p:nvPr>
        </p:nvSpPr>
        <p:spPr>
          <a:xfrm>
            <a:off x="2065871" y="3655079"/>
            <a:ext cx="5074070" cy="628650"/>
          </a:xfrm>
        </p:spPr>
        <p:txBody>
          <a:bodyPr/>
          <a:lstStyle>
            <a:lvl1pPr>
              <a:defRPr sz="2000" b="0" i="0">
                <a:solidFill>
                  <a:srgbClr val="58585B"/>
                </a:solidFill>
                <a:latin typeface="Arial Regular" charset="0"/>
              </a:defRPr>
            </a:lvl1pPr>
          </a:lstStyle>
          <a:p>
            <a:r>
              <a:rPr lang="en-US" altLang="zh-CN" dirty="0"/>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Small photo_top left">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549275" y="233363"/>
            <a:ext cx="3273425" cy="18446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solidFill>
                <a:srgbClr val="FFFFFF"/>
              </a:solidFill>
              <a:latin typeface="Arial Regular" charset="0"/>
            </a:endParaRPr>
          </a:p>
        </p:txBody>
      </p:sp>
      <p:sp>
        <p:nvSpPr>
          <p:cNvPr id="26" name="Picture Placeholder 25"/>
          <p:cNvSpPr>
            <a:spLocks noGrp="1"/>
          </p:cNvSpPr>
          <p:nvPr>
            <p:ph type="pic" sz="quarter" idx="10"/>
          </p:nvPr>
        </p:nvSpPr>
        <p:spPr>
          <a:xfrm>
            <a:off x="549991" y="233172"/>
            <a:ext cx="3273552" cy="1844802"/>
          </a:xfrm>
          <a:prstGeom prst="rect">
            <a:avLst/>
          </a:prstGeom>
          <a:solidFill>
            <a:schemeClr val="bg1">
              <a:alpha val="30000"/>
            </a:schemeClr>
          </a:solidFill>
          <a:ln>
            <a:solidFill>
              <a:srgbClr val="676767"/>
            </a:solidFill>
          </a:ln>
          <a:effectLst/>
        </p:spPr>
        <p:txBody>
          <a:bodyPr vert="horz" lIns="68577" tIns="34289" rIns="68577" bIns="34289" rtlCol="0" anchor="ctr" anchorCtr="0">
            <a:normAutofit/>
          </a:bodyPr>
          <a:lstStyle>
            <a:lvl1pPr marL="0" indent="0" algn="ctr" defTabSz="685777"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Arial Regular" charset="0"/>
                <a:ea typeface="+mn-ea"/>
                <a:cs typeface="+mn-cs"/>
              </a:defRPr>
            </a:lvl1pPr>
          </a:lstStyle>
          <a:p>
            <a:pPr lvl="0"/>
            <a:r>
              <a:rPr lang="en-US" altLang="zh-CN" noProof="0" dirty="0"/>
              <a:t>Drag picture to placeholder or click icon to add</a:t>
            </a:r>
            <a:endParaRPr lang="en-US" noProof="0" dirty="0"/>
          </a:p>
        </p:txBody>
      </p:sp>
      <p:sp>
        <p:nvSpPr>
          <p:cNvPr id="9" name="Title 8"/>
          <p:cNvSpPr>
            <a:spLocks noGrp="1"/>
          </p:cNvSpPr>
          <p:nvPr>
            <p:ph type="title"/>
          </p:nvPr>
        </p:nvSpPr>
        <p:spPr>
          <a:xfrm>
            <a:off x="430935" y="2480693"/>
            <a:ext cx="6729865" cy="1614419"/>
          </a:xfrm>
        </p:spPr>
        <p:txBody>
          <a:bodyPr>
            <a:noAutofit/>
          </a:bodyPr>
          <a:lstStyle>
            <a:lvl1pPr marL="0" marR="0" indent="0" algn="l" defTabSz="685777" rtl="0" eaLnBrk="1" fontAlgn="auto" latinLnBrk="0" hangingPunct="1">
              <a:lnSpc>
                <a:spcPct val="80000"/>
              </a:lnSpc>
              <a:spcBef>
                <a:spcPct val="0"/>
              </a:spcBef>
              <a:spcAft>
                <a:spcPts val="0"/>
              </a:spcAft>
              <a:buClrTx/>
              <a:buSzTx/>
              <a:buFontTx/>
              <a:buNone/>
              <a:tabLst/>
              <a:defRPr sz="4500" b="0" i="0">
                <a:solidFill>
                  <a:srgbClr val="58585B"/>
                </a:solidFill>
                <a:latin typeface="Arial Regular" charset="0"/>
              </a:defRPr>
            </a:lvl1pPr>
          </a:lstStyle>
          <a:p>
            <a:r>
              <a:rPr lang="en-US" altLang="zh-CN" dirty="0"/>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spd="slow">
    <p:wip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Portrait photo_right side">
    <p:bg>
      <p:bgPr>
        <a:solidFill>
          <a:schemeClr val="tx1"/>
        </a:solidFill>
        <a:effectLst/>
      </p:bgPr>
    </p:bg>
    <p:spTree>
      <p:nvGrpSpPr>
        <p:cNvPr id="1" name=""/>
        <p:cNvGrpSpPr/>
        <p:nvPr/>
      </p:nvGrpSpPr>
      <p:grpSpPr>
        <a:xfrm>
          <a:off x="0" y="0"/>
          <a:ext cx="0" cy="0"/>
          <a:chOff x="0" y="0"/>
          <a:chExt cx="0" cy="0"/>
        </a:xfrm>
      </p:grpSpPr>
      <p:sp>
        <p:nvSpPr>
          <p:cNvPr id="4" name="Rectangle 3"/>
          <p:cNvSpPr/>
          <p:nvPr/>
        </p:nvSpPr>
        <p:spPr>
          <a:xfrm>
            <a:off x="4992688" y="546100"/>
            <a:ext cx="3630612" cy="38703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9" rIns="68577" bIns="34289" anchor="ctr"/>
          <a:lstStyle/>
          <a:p>
            <a:pPr algn="ctr" fontAlgn="auto">
              <a:spcBef>
                <a:spcPts val="0"/>
              </a:spcBef>
              <a:spcAft>
                <a:spcPts val="0"/>
              </a:spcAft>
              <a:defRPr/>
            </a:pPr>
            <a:endParaRPr lang="en-US" dirty="0">
              <a:solidFill>
                <a:srgbClr val="FFFFFF"/>
              </a:solidFill>
              <a:latin typeface="Arial Regular" charset="0"/>
            </a:endParaRPr>
          </a:p>
        </p:txBody>
      </p:sp>
      <p:sp>
        <p:nvSpPr>
          <p:cNvPr id="26" name="Picture Placeholder 25"/>
          <p:cNvSpPr>
            <a:spLocks noGrp="1"/>
          </p:cNvSpPr>
          <p:nvPr>
            <p:ph type="pic" sz="quarter" idx="10"/>
          </p:nvPr>
        </p:nvSpPr>
        <p:spPr>
          <a:xfrm>
            <a:off x="4992624" y="546734"/>
            <a:ext cx="3630168" cy="3869818"/>
          </a:xfrm>
          <a:prstGeom prst="rect">
            <a:avLst/>
          </a:prstGeom>
          <a:solidFill>
            <a:schemeClr val="bg1">
              <a:alpha val="30000"/>
            </a:schemeClr>
          </a:solidFill>
          <a:ln>
            <a:solidFill>
              <a:srgbClr val="2968AF"/>
            </a:solidFill>
          </a:ln>
          <a:effectLst/>
        </p:spPr>
        <p:txBody>
          <a:bodyPr lIns="91424" tIns="45712" rIns="91424" bIns="45712" anchor="ctr" anchorCtr="0"/>
          <a:lstStyle>
            <a:lvl1pPr algn="ctr">
              <a:buFontTx/>
              <a:buNone/>
              <a:defRPr b="0" i="0">
                <a:solidFill>
                  <a:schemeClr val="tx1"/>
                </a:solidFill>
                <a:latin typeface="Arial Regular" charset="0"/>
              </a:defRPr>
            </a:lvl1pPr>
          </a:lstStyle>
          <a:p>
            <a:pPr lvl="0"/>
            <a:r>
              <a:rPr lang="en-US" altLang="zh-CN" noProof="0" dirty="0"/>
              <a:t>Drag picture to placeholder or click icon to add</a:t>
            </a:r>
            <a:endParaRPr lang="en-US" noProof="0" dirty="0"/>
          </a:p>
        </p:txBody>
      </p:sp>
      <p:sp>
        <p:nvSpPr>
          <p:cNvPr id="9" name="Title 8"/>
          <p:cNvSpPr>
            <a:spLocks noGrp="1"/>
          </p:cNvSpPr>
          <p:nvPr>
            <p:ph type="title"/>
          </p:nvPr>
        </p:nvSpPr>
        <p:spPr>
          <a:xfrm>
            <a:off x="437669" y="546734"/>
            <a:ext cx="4349918" cy="813985"/>
          </a:xfrm>
        </p:spPr>
        <p:txBody>
          <a:bodyPr wrap="none" anchor="t">
            <a:noAutofit/>
          </a:bodyPr>
          <a:lstStyle>
            <a:lvl1pPr>
              <a:lnSpc>
                <a:spcPct val="90000"/>
              </a:lnSpc>
              <a:defRPr sz="2500" b="0" i="0">
                <a:solidFill>
                  <a:srgbClr val="58585B"/>
                </a:solidFill>
                <a:latin typeface="Arial Regular" charset="0"/>
              </a:defRPr>
            </a:lvl1pPr>
          </a:lstStyle>
          <a:p>
            <a:r>
              <a:rPr lang="en-US" altLang="zh-CN" dirty="0"/>
              <a:t>Click to edit Master title style</a:t>
            </a:r>
            <a:endParaRPr lang="en-US"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Multiple photo">
    <p:bg>
      <p:bgPr>
        <a:solidFill>
          <a:schemeClr val="tx1"/>
        </a:solidFill>
        <a:effectLst/>
      </p:bgPr>
    </p:bg>
    <p:spTree>
      <p:nvGrpSpPr>
        <p:cNvPr id="1" name=""/>
        <p:cNvGrpSpPr/>
        <p:nvPr/>
      </p:nvGrpSpPr>
      <p:grpSpPr>
        <a:xfrm>
          <a:off x="0" y="0"/>
          <a:ext cx="0" cy="0"/>
          <a:chOff x="0" y="0"/>
          <a:chExt cx="0" cy="0"/>
        </a:xfrm>
      </p:grpSpPr>
      <p:sp>
        <p:nvSpPr>
          <p:cNvPr id="9" name="Rectangle 8"/>
          <p:cNvSpPr/>
          <p:nvPr/>
        </p:nvSpPr>
        <p:spPr>
          <a:xfrm>
            <a:off x="3668713" y="233363"/>
            <a:ext cx="326866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0" name="Rectangle 9"/>
          <p:cNvSpPr/>
          <p:nvPr/>
        </p:nvSpPr>
        <p:spPr>
          <a:xfrm>
            <a:off x="334963" y="233363"/>
            <a:ext cx="3287712" cy="1995487"/>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1" name="Rectangle 10"/>
          <p:cNvSpPr/>
          <p:nvPr/>
        </p:nvSpPr>
        <p:spPr>
          <a:xfrm>
            <a:off x="6980238" y="233363"/>
            <a:ext cx="1838325" cy="9810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2" name="Rectangle 11"/>
          <p:cNvSpPr/>
          <p:nvPr/>
        </p:nvSpPr>
        <p:spPr>
          <a:xfrm>
            <a:off x="334963" y="2271713"/>
            <a:ext cx="2522537"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3" name="Rectangle 12"/>
          <p:cNvSpPr/>
          <p:nvPr/>
        </p:nvSpPr>
        <p:spPr>
          <a:xfrm>
            <a:off x="2911475" y="2271713"/>
            <a:ext cx="4025900" cy="259397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4" name="Rectangle 13"/>
          <p:cNvSpPr/>
          <p:nvPr/>
        </p:nvSpPr>
        <p:spPr>
          <a:xfrm>
            <a:off x="6980238" y="1262063"/>
            <a:ext cx="1838325" cy="258286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15" name="Rectangle 14"/>
          <p:cNvSpPr/>
          <p:nvPr/>
        </p:nvSpPr>
        <p:spPr>
          <a:xfrm>
            <a:off x="6980238" y="3887788"/>
            <a:ext cx="1838325" cy="9779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68574" tIns="34288" rIns="68574" bIns="34288" anchor="ctr"/>
          <a:lstStyle/>
          <a:p>
            <a:pPr algn="ctr" fontAlgn="auto">
              <a:spcBef>
                <a:spcPts val="0"/>
              </a:spcBef>
              <a:spcAft>
                <a:spcPts val="0"/>
              </a:spcAft>
              <a:defRPr/>
            </a:pPr>
            <a:endParaRPr lang="en-US">
              <a:solidFill>
                <a:srgbClr val="FFFFFF"/>
              </a:solidFill>
              <a:latin typeface="CiscoSans"/>
              <a:cs typeface="CiscoSans"/>
            </a:endParaRPr>
          </a:p>
        </p:txBody>
      </p:sp>
      <p:sp>
        <p:nvSpPr>
          <p:cNvPr id="49" name="Picture Placeholder 25"/>
          <p:cNvSpPr>
            <a:spLocks noGrp="1"/>
          </p:cNvSpPr>
          <p:nvPr>
            <p:ph type="pic" sz="quarter" idx="11"/>
          </p:nvPr>
        </p:nvSpPr>
        <p:spPr>
          <a:xfrm>
            <a:off x="3668995" y="233363"/>
            <a:ext cx="326786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baseline="0" dirty="0">
                <a:solidFill>
                  <a:schemeClr val="tx1"/>
                </a:solidFill>
                <a:latin typeface="Arial Regular" charset="0"/>
                <a:ea typeface="+mn-ea"/>
                <a:cs typeface="Broadway" panose="04040905080B02020502" pitchFamily="82" charset="0"/>
              </a:defRPr>
            </a:lvl1pPr>
          </a:lstStyle>
          <a:p>
            <a:pPr lvl="0"/>
            <a:r>
              <a:rPr lang="en-US" altLang="zh-CN" noProof="0" dirty="0"/>
              <a:t>Drag picture to placeholder or click icon to add</a:t>
            </a:r>
            <a:endParaRPr lang="en-US" noProof="0" dirty="0"/>
          </a:p>
        </p:txBody>
      </p:sp>
      <p:sp>
        <p:nvSpPr>
          <p:cNvPr id="26" name="Picture Placeholder 25"/>
          <p:cNvSpPr>
            <a:spLocks noGrp="1"/>
          </p:cNvSpPr>
          <p:nvPr>
            <p:ph type="pic" sz="quarter" idx="10"/>
          </p:nvPr>
        </p:nvSpPr>
        <p:spPr>
          <a:xfrm>
            <a:off x="320828" y="233363"/>
            <a:ext cx="3302001" cy="1995489"/>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Arial Regular" charset="0"/>
                <a:ea typeface="+mn-ea"/>
                <a:cs typeface="Broadway" panose="04040905080B02020502" pitchFamily="82" charset="0"/>
              </a:defRPr>
            </a:lvl1pPr>
          </a:lstStyle>
          <a:p>
            <a:pPr lvl="0"/>
            <a:r>
              <a:rPr lang="en-US" altLang="zh-CN" noProof="0" dirty="0"/>
              <a:t>Drag picture to placeholder or click icon to add</a:t>
            </a:r>
            <a:endParaRPr lang="en-US" noProof="0" dirty="0"/>
          </a:p>
        </p:txBody>
      </p:sp>
      <p:sp>
        <p:nvSpPr>
          <p:cNvPr id="51" name="Picture Placeholder 25"/>
          <p:cNvSpPr>
            <a:spLocks noGrp="1"/>
          </p:cNvSpPr>
          <p:nvPr>
            <p:ph type="pic" sz="quarter" idx="12"/>
          </p:nvPr>
        </p:nvSpPr>
        <p:spPr>
          <a:xfrm>
            <a:off x="6979833" y="233363"/>
            <a:ext cx="1838730" cy="981076"/>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Arial Regular" charset="0"/>
                <a:ea typeface="+mn-ea"/>
                <a:cs typeface="Broadway" panose="04040905080B02020502" pitchFamily="82" charset="0"/>
              </a:defRPr>
            </a:lvl1pPr>
          </a:lstStyle>
          <a:p>
            <a:pPr lvl="0"/>
            <a:r>
              <a:rPr lang="en-US" altLang="zh-CN" noProof="0" dirty="0"/>
              <a:t>Drag picture to placeholder or click icon to add</a:t>
            </a:r>
            <a:endParaRPr lang="en-US" noProof="0" dirty="0"/>
          </a:p>
        </p:txBody>
      </p:sp>
      <p:sp>
        <p:nvSpPr>
          <p:cNvPr id="53" name="Picture Placeholder 25"/>
          <p:cNvSpPr>
            <a:spLocks noGrp="1"/>
          </p:cNvSpPr>
          <p:nvPr>
            <p:ph type="pic" sz="quarter" idx="13"/>
          </p:nvPr>
        </p:nvSpPr>
        <p:spPr>
          <a:xfrm>
            <a:off x="320824" y="2271718"/>
            <a:ext cx="2537420"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Arial Regular" charset="0"/>
                <a:ea typeface="+mn-ea"/>
                <a:cs typeface="Broadway" panose="04040905080B02020502" pitchFamily="82" charset="0"/>
              </a:defRPr>
            </a:lvl1pPr>
          </a:lstStyle>
          <a:p>
            <a:pPr lvl="0"/>
            <a:r>
              <a:rPr lang="en-US" altLang="zh-CN" noProof="0" dirty="0"/>
              <a:t>Drag picture to placeholder or click icon to add</a:t>
            </a:r>
            <a:endParaRPr lang="en-US" noProof="0" dirty="0"/>
          </a:p>
        </p:txBody>
      </p:sp>
      <p:sp>
        <p:nvSpPr>
          <p:cNvPr id="55" name="Picture Placeholder 25"/>
          <p:cNvSpPr>
            <a:spLocks noGrp="1"/>
          </p:cNvSpPr>
          <p:nvPr>
            <p:ph type="pic" sz="quarter" idx="14"/>
          </p:nvPr>
        </p:nvSpPr>
        <p:spPr>
          <a:xfrm>
            <a:off x="2908334" y="2271718"/>
            <a:ext cx="4028516" cy="2594201"/>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Arial Regular" charset="0"/>
                <a:ea typeface="+mn-ea"/>
                <a:cs typeface="Broadway" panose="04040905080B02020502" pitchFamily="82" charset="0"/>
              </a:defRPr>
            </a:lvl1pPr>
          </a:lstStyle>
          <a:p>
            <a:pPr lvl="0"/>
            <a:r>
              <a:rPr lang="en-US" altLang="zh-CN" noProof="0" dirty="0"/>
              <a:t>Drag picture to placeholder or click icon to add</a:t>
            </a:r>
            <a:endParaRPr lang="en-US" noProof="0" dirty="0"/>
          </a:p>
        </p:txBody>
      </p:sp>
      <p:sp>
        <p:nvSpPr>
          <p:cNvPr id="57" name="Picture Placeholder 25"/>
          <p:cNvSpPr>
            <a:spLocks noGrp="1"/>
          </p:cNvSpPr>
          <p:nvPr>
            <p:ph type="pic" sz="quarter" idx="15"/>
          </p:nvPr>
        </p:nvSpPr>
        <p:spPr>
          <a:xfrm>
            <a:off x="6979833" y="1257301"/>
            <a:ext cx="1838730" cy="2587058"/>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Arial Regular" charset="0"/>
                <a:ea typeface="+mn-ea"/>
                <a:cs typeface="Broadway" panose="04040905080B02020502" pitchFamily="82" charset="0"/>
              </a:defRPr>
            </a:lvl1pPr>
          </a:lstStyle>
          <a:p>
            <a:pPr lvl="0"/>
            <a:r>
              <a:rPr lang="en-US" altLang="zh-CN" noProof="0" dirty="0"/>
              <a:t>Drag picture to placeholder or click icon to add</a:t>
            </a:r>
            <a:endParaRPr lang="en-US" noProof="0" dirty="0"/>
          </a:p>
        </p:txBody>
      </p:sp>
      <p:sp>
        <p:nvSpPr>
          <p:cNvPr id="59" name="Picture Placeholder 25"/>
          <p:cNvSpPr>
            <a:spLocks noGrp="1"/>
          </p:cNvSpPr>
          <p:nvPr>
            <p:ph type="pic" sz="quarter" idx="16"/>
          </p:nvPr>
        </p:nvSpPr>
        <p:spPr>
          <a:xfrm>
            <a:off x="6979833" y="3887223"/>
            <a:ext cx="1838730" cy="978694"/>
          </a:xfrm>
          <a:prstGeom prst="rect">
            <a:avLst/>
          </a:prstGeom>
          <a:solidFill>
            <a:schemeClr val="bg1">
              <a:alpha val="30000"/>
            </a:schemeClr>
          </a:solidFill>
          <a:ln>
            <a:solidFill>
              <a:schemeClr val="bg2"/>
            </a:solidFill>
          </a:ln>
          <a:effectLst/>
        </p:spPr>
        <p:txBody>
          <a:bodyPr vert="horz" lIns="68574" tIns="34288" rIns="68574" bIns="34288" rtlCol="0" anchor="ctr" anchorCtr="0">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500" b="0" i="0" kern="1200" dirty="0">
                <a:solidFill>
                  <a:schemeClr val="tx1"/>
                </a:solidFill>
                <a:latin typeface="Arial Regular" charset="0"/>
                <a:ea typeface="+mn-ea"/>
                <a:cs typeface="Broadway" panose="04040905080B02020502" pitchFamily="82" charset="0"/>
              </a:defRPr>
            </a:lvl1pPr>
          </a:lstStyle>
          <a:p>
            <a:pPr lvl="0"/>
            <a:r>
              <a:rPr lang="en-US" altLang="zh-CN" noProof="0" dirty="0"/>
              <a:t>Drag picture to placeholder or click icon to add</a:t>
            </a:r>
            <a:endParaRPr lang="en-US" noProof="0"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Wide screen video">
    <p:bg>
      <p:bgPr>
        <a:solidFill>
          <a:schemeClr val="tx1"/>
        </a:solidFill>
        <a:effectLst/>
      </p:bgPr>
    </p:bg>
    <p:spTree>
      <p:nvGrpSpPr>
        <p:cNvPr id="1" name=""/>
        <p:cNvGrpSpPr/>
        <p:nvPr/>
      </p:nvGrpSpPr>
      <p:grpSpPr>
        <a:xfrm>
          <a:off x="0" y="0"/>
          <a:ext cx="0" cy="0"/>
          <a:chOff x="0" y="0"/>
          <a:chExt cx="0" cy="0"/>
        </a:xfrm>
      </p:grpSpPr>
      <p:sp>
        <p:nvSpPr>
          <p:cNvPr id="40" name="Media Placeholder 39"/>
          <p:cNvSpPr>
            <a:spLocks noGrp="1"/>
          </p:cNvSpPr>
          <p:nvPr>
            <p:ph type="media" sz="quarter" idx="11"/>
          </p:nvPr>
        </p:nvSpPr>
        <p:spPr>
          <a:xfrm>
            <a:off x="528638" y="582930"/>
            <a:ext cx="8164931"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b="0" i="0" kern="1200" baseline="0" smtClean="0">
                <a:solidFill>
                  <a:schemeClr val="lt1"/>
                </a:solidFill>
                <a:latin typeface="Arial Regular" charset="0"/>
                <a:ea typeface="+mn-ea"/>
                <a:cs typeface="CiscoSans"/>
              </a:defRPr>
            </a:lvl1pPr>
          </a:lstStyle>
          <a:p>
            <a:pPr lvl="0"/>
            <a:r>
              <a:rPr lang="en-US" altLang="zh-CN" noProof="0" dirty="0"/>
              <a:t>Click icon to add media</a:t>
            </a:r>
            <a:endParaRPr lang="en-US" noProof="0"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tandard video">
    <p:bg>
      <p:bgPr>
        <a:solidFill>
          <a:schemeClr val="tx1"/>
        </a:solidFill>
        <a:effectLst/>
      </p:bgPr>
    </p:bg>
    <p:spTree>
      <p:nvGrpSpPr>
        <p:cNvPr id="1" name=""/>
        <p:cNvGrpSpPr/>
        <p:nvPr/>
      </p:nvGrpSpPr>
      <p:grpSpPr>
        <a:xfrm>
          <a:off x="0" y="0"/>
          <a:ext cx="0" cy="0"/>
          <a:chOff x="0" y="0"/>
          <a:chExt cx="0" cy="0"/>
        </a:xfrm>
      </p:grpSpPr>
      <p:sp>
        <p:nvSpPr>
          <p:cNvPr id="21" name="Media Placeholder 20"/>
          <p:cNvSpPr>
            <a:spLocks noGrp="1"/>
          </p:cNvSpPr>
          <p:nvPr>
            <p:ph type="media" sz="quarter" idx="10"/>
          </p:nvPr>
        </p:nvSpPr>
        <p:spPr>
          <a:xfrm>
            <a:off x="2179339" y="584002"/>
            <a:ext cx="4424562" cy="3319272"/>
          </a:xfrm>
          <a:prstGeom prst="rect">
            <a:avLst/>
          </a:prstGeom>
          <a:solidFill>
            <a:schemeClr val="tx1">
              <a:lumMod val="50000"/>
            </a:schemeClr>
          </a:solidFill>
          <a:ln>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vert="horz" lIns="68574" tIns="34288" rIns="68574" bIns="34288" rtlCol="0" anchor="ctr">
            <a:normAutofit/>
          </a:bodyPr>
          <a:lstStyle>
            <a:lvl1pPr marL="0" indent="0" algn="ctr" defTabSz="685748" rtl="0" eaLnBrk="1" latinLnBrk="0" hangingPunct="1">
              <a:lnSpc>
                <a:spcPct val="95000"/>
              </a:lnSpc>
              <a:spcBef>
                <a:spcPts val="1080"/>
              </a:spcBef>
              <a:buClr>
                <a:srgbClr val="92D050"/>
              </a:buClr>
              <a:buSzPct val="90000"/>
              <a:buFont typeface="Arial" pitchFamily="34" charset="0"/>
              <a:buNone/>
              <a:tabLst/>
              <a:defRPr lang="en-US" sz="1400" b="0" i="0" kern="1200">
                <a:solidFill>
                  <a:schemeClr val="lt1"/>
                </a:solidFill>
                <a:latin typeface="Arial Regular" charset="0"/>
                <a:ea typeface="+mn-ea"/>
                <a:cs typeface="CiscoSans"/>
              </a:defRPr>
            </a:lvl1pPr>
          </a:lstStyle>
          <a:p>
            <a:pPr lvl="0"/>
            <a:r>
              <a:rPr lang="en-US" altLang="zh-CN" noProof="0" dirty="0"/>
              <a:t>Click icon to add media</a:t>
            </a:r>
            <a:endParaRPr lang="en-US" noProof="0" dirty="0"/>
          </a:p>
        </p:txBody>
      </p:sp>
    </p:spTree>
    <p:extLst/>
  </p:cSld>
  <p:clrMapOvr>
    <a:overrideClrMapping bg1="dk1" tx1="lt1" bg2="dk2" tx2="lt2" accent1="accent1" accent2="accent2" accent3="accent3" accent4="accent4" accent5="accent5" accent6="accent6" hlink="hlink" folHlink="folHlink"/>
  </p:clrMapOvr>
  <p:transition spd="med">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gradFill rotWithShape="1">
          <a:gsLst>
            <a:gs pos="0">
              <a:schemeClr val="bg2"/>
            </a:gs>
            <a:gs pos="100000">
              <a:schemeClr val="accent1"/>
            </a:gs>
          </a:gsLst>
          <a:lin ang="5400000"/>
        </a:gradFill>
        <a:effectLst/>
      </p:bgPr>
    </p:bg>
    <p:spTree>
      <p:nvGrpSpPr>
        <p:cNvPr id="1" name=""/>
        <p:cNvGrpSpPr/>
        <p:nvPr/>
      </p:nvGrpSpPr>
      <p:grpSpPr>
        <a:xfrm>
          <a:off x="0" y="0"/>
          <a:ext cx="0" cy="0"/>
          <a:chOff x="0" y="0"/>
          <a:chExt cx="0" cy="0"/>
        </a:xfrm>
      </p:grpSpPr>
      <p:pic>
        <p:nvPicPr>
          <p:cNvPr id="3"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cSld>
  <p:clrMapOvr>
    <a:masterClrMapping/>
  </p:clrMapOvr>
  <p:transition spd="slow">
    <p:wip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Bullet Slide">
    <p:spTree>
      <p:nvGrpSpPr>
        <p:cNvPr id="1" name=""/>
        <p:cNvGrpSpPr/>
        <p:nvPr/>
      </p:nvGrpSpPr>
      <p:grpSpPr>
        <a:xfrm>
          <a:off x="0" y="0"/>
          <a:ext cx="0" cy="0"/>
          <a:chOff x="0" y="0"/>
          <a:chExt cx="0" cy="0"/>
        </a:xfrm>
      </p:grpSpPr>
      <p:sp>
        <p:nvSpPr>
          <p:cNvPr id="11" name="Title 1"/>
          <p:cNvSpPr>
            <a:spLocks noGrp="1"/>
          </p:cNvSpPr>
          <p:nvPr>
            <p:ph type="title"/>
          </p:nvPr>
        </p:nvSpPr>
        <p:spPr>
          <a:xfrm>
            <a:off x="219518" y="329565"/>
            <a:ext cx="8711929" cy="628650"/>
          </a:xfrm>
        </p:spPr>
        <p:txBody>
          <a:bodyPr/>
          <a:lstStyle>
            <a:lvl1pPr algn="l" defTabSz="914240" rtl="0" eaLnBrk="1" latinLnBrk="0" hangingPunct="1">
              <a:lnSpc>
                <a:spcPct val="80000"/>
              </a:lnSpc>
              <a:spcBef>
                <a:spcPct val="0"/>
              </a:spcBef>
              <a:buNone/>
              <a:defRPr lang="en-US" sz="3600" b="0" i="0" kern="1200" spc="-100" baseline="0" dirty="0">
                <a:solidFill>
                  <a:schemeClr val="tx2"/>
                </a:solidFill>
                <a:latin typeface="Arial Regular" charset="0"/>
                <a:ea typeface="+mj-ea"/>
                <a:cs typeface="+mj-cs"/>
              </a:defRPr>
            </a:lvl1pPr>
          </a:lstStyle>
          <a:p>
            <a:r>
              <a:rPr lang="en-US" dirty="0"/>
              <a:t>Click to edit Master title style</a:t>
            </a:r>
          </a:p>
        </p:txBody>
      </p:sp>
      <p:sp>
        <p:nvSpPr>
          <p:cNvPr id="12" name="Text Placeholder 7"/>
          <p:cNvSpPr>
            <a:spLocks noGrp="1"/>
          </p:cNvSpPr>
          <p:nvPr>
            <p:ph type="body" sz="quarter" idx="11" hasCustomPrompt="1"/>
          </p:nvPr>
        </p:nvSpPr>
        <p:spPr>
          <a:xfrm>
            <a:off x="219518" y="912495"/>
            <a:ext cx="8711929" cy="342900"/>
          </a:xfrm>
          <a:prstGeom prst="rect">
            <a:avLst/>
          </a:prstGeom>
        </p:spPr>
        <p:txBody>
          <a:bodyPr>
            <a:noAutofit/>
          </a:bodyPr>
          <a:lstStyle>
            <a:lvl1pPr marL="0" indent="0">
              <a:buNone/>
              <a:defRPr lang="en-US" sz="2775" b="0" i="0" kern="1200" spc="-50" baseline="0" dirty="0">
                <a:solidFill>
                  <a:schemeClr val="bg1">
                    <a:lumMod val="20000"/>
                    <a:lumOff val="80000"/>
                  </a:schemeClr>
                </a:solidFill>
                <a:latin typeface="Arial Regular" charset="0"/>
                <a:ea typeface="+mn-ea"/>
                <a:cs typeface="+mn-cs"/>
              </a:defRPr>
            </a:lvl1pPr>
          </a:lstStyle>
          <a:p>
            <a:pPr marL="0" lvl="0" indent="0" algn="l" defTabSz="914240" rtl="0" eaLnBrk="1" latinLnBrk="0" hangingPunct="1">
              <a:lnSpc>
                <a:spcPct val="95000"/>
              </a:lnSpc>
              <a:spcBef>
                <a:spcPts val="1440"/>
              </a:spcBef>
              <a:buClr>
                <a:schemeClr val="accent1">
                  <a:lumMod val="40000"/>
                  <a:lumOff val="60000"/>
                </a:schemeClr>
              </a:buClr>
              <a:buSzPct val="90000"/>
              <a:buFont typeface="Arial" pitchFamily="34" charset="0"/>
              <a:buNone/>
              <a:tabLst/>
            </a:pPr>
            <a:r>
              <a:rPr lang="en-US" dirty="0"/>
              <a:t>Slide Subtitle</a:t>
            </a:r>
          </a:p>
        </p:txBody>
      </p:sp>
      <p:sp>
        <p:nvSpPr>
          <p:cNvPr id="7" name="Text Placeholder 6"/>
          <p:cNvSpPr>
            <a:spLocks noGrp="1"/>
          </p:cNvSpPr>
          <p:nvPr>
            <p:ph type="body" sz="quarter" idx="13" hasCustomPrompt="1"/>
          </p:nvPr>
        </p:nvSpPr>
        <p:spPr>
          <a:xfrm>
            <a:off x="219513" y="1257300"/>
            <a:ext cx="8697018" cy="3543300"/>
          </a:xfrm>
          <a:prstGeom prst="rect">
            <a:avLst/>
          </a:prstGeom>
        </p:spPr>
        <p:txBody>
          <a:bodyPr/>
          <a:lstStyle>
            <a:lvl1pPr marL="228560" indent="-228560" algn="l" defTabSz="914240" rtl="0" eaLnBrk="1" latinLnBrk="0" hangingPunct="1">
              <a:lnSpc>
                <a:spcPct val="95000"/>
              </a:lnSpc>
              <a:spcBef>
                <a:spcPts val="1440"/>
              </a:spcBef>
              <a:buClr>
                <a:schemeClr val="accent3">
                  <a:lumMod val="40000"/>
                  <a:lumOff val="60000"/>
                </a:schemeClr>
              </a:buClr>
              <a:buSzPct val="90000"/>
              <a:buFont typeface="Arial" pitchFamily="34" charset="0"/>
              <a:buChar char="•"/>
              <a:tabLst/>
              <a:defRPr b="0" i="0">
                <a:latin typeface="Arial Regular" charset="0"/>
              </a:defRPr>
            </a:lvl1pPr>
            <a:lvl2pPr marL="406329" indent="0" algn="l" defTabSz="914240" rtl="0" eaLnBrk="1" latinLnBrk="0" hangingPunct="1">
              <a:lnSpc>
                <a:spcPct val="95000"/>
              </a:lnSpc>
              <a:spcBef>
                <a:spcPts val="600"/>
              </a:spcBef>
              <a:buClr>
                <a:schemeClr val="tx2"/>
              </a:buClr>
              <a:buSzPct val="90000"/>
              <a:buFontTx/>
              <a:buNone/>
              <a:tabLst/>
              <a:defRPr b="0" i="0">
                <a:latin typeface="Arial Regular" charset="0"/>
              </a:defRPr>
            </a:lvl2pPr>
            <a:lvl3pPr marL="571400" indent="-1588" algn="l" defTabSz="914240" rtl="0" eaLnBrk="1" latinLnBrk="0" hangingPunct="1">
              <a:lnSpc>
                <a:spcPct val="95000"/>
              </a:lnSpc>
              <a:spcBef>
                <a:spcPts val="840"/>
              </a:spcBef>
              <a:buClr>
                <a:schemeClr val="tx2"/>
              </a:buClr>
              <a:buSzPct val="90000"/>
              <a:buFont typeface="Arial" pitchFamily="34" charset="0"/>
              <a:buNone/>
              <a:tabLst/>
              <a:defRPr b="0" i="0">
                <a:latin typeface="Arial Regular" charset="0"/>
              </a:defRPr>
            </a:lvl3pPr>
            <a:lvl4pPr>
              <a:defRPr b="0" i="0">
                <a:latin typeface="Arial Regular" charset="0"/>
              </a:defRPr>
            </a:lvl4pPr>
            <a:lvl5pPr>
              <a:defRPr b="0" i="0">
                <a:latin typeface="Arial Regular" charset="0"/>
              </a:defRPr>
            </a:lvl5pPr>
          </a:lstStyle>
          <a:p>
            <a:pPr marL="228560" lvl="0" indent="-228560" algn="l" defTabSz="914240" rtl="0" eaLnBrk="1" latinLnBrk="0" hangingPunct="1">
              <a:lnSpc>
                <a:spcPct val="95000"/>
              </a:lnSpc>
              <a:spcBef>
                <a:spcPts val="1440"/>
              </a:spcBef>
              <a:buClr>
                <a:schemeClr val="accent3">
                  <a:lumMod val="40000"/>
                  <a:lumOff val="60000"/>
                </a:schemeClr>
              </a:buClr>
              <a:buSzPct val="90000"/>
              <a:buFont typeface="Arial" pitchFamily="34" charset="0"/>
              <a:buChar char="•"/>
              <a:tabLst/>
            </a:pPr>
            <a:r>
              <a:rPr lang="en-US" dirty="0"/>
              <a:t>Body Text</a:t>
            </a:r>
          </a:p>
          <a:p>
            <a:pPr marL="406329" lvl="1" indent="0" algn="l" defTabSz="914240" rtl="0" eaLnBrk="1" latinLnBrk="0" hangingPunct="1">
              <a:lnSpc>
                <a:spcPct val="95000"/>
              </a:lnSpc>
              <a:spcBef>
                <a:spcPts val="600"/>
              </a:spcBef>
              <a:buClr>
                <a:schemeClr val="tx2"/>
              </a:buClr>
              <a:buSzPct val="90000"/>
              <a:buFontTx/>
              <a:buNone/>
              <a:tabLst/>
            </a:pPr>
            <a:r>
              <a:rPr lang="en-US" dirty="0"/>
              <a:t>Second level</a:t>
            </a:r>
          </a:p>
          <a:p>
            <a:pPr marL="571400" lvl="2" indent="-1588" algn="l" defTabSz="914240" rtl="0" eaLnBrk="1" latinLnBrk="0" hangingPunct="1">
              <a:lnSpc>
                <a:spcPct val="95000"/>
              </a:lnSpc>
              <a:spcBef>
                <a:spcPts val="840"/>
              </a:spcBef>
              <a:buClr>
                <a:schemeClr val="tx2"/>
              </a:buClr>
              <a:buSzPct val="90000"/>
              <a:buFont typeface="Arial" pitchFamily="34" charset="0"/>
              <a:buNone/>
              <a:tabLst/>
            </a:pPr>
            <a:r>
              <a:rPr lang="en-US" dirty="0"/>
              <a:t>Third level</a:t>
            </a:r>
          </a:p>
          <a:p>
            <a:pPr lvl="3"/>
            <a:r>
              <a:rPr lang="en-US" dirty="0"/>
              <a:t>Fourth level</a:t>
            </a:r>
          </a:p>
          <a:p>
            <a:pPr lvl="4"/>
            <a:r>
              <a:rPr lang="en-US" dirty="0"/>
              <a:t>Fifth level</a:t>
            </a:r>
          </a:p>
        </p:txBody>
      </p:sp>
    </p:spTree>
    <p:extLst/>
  </p:cSld>
  <p:clrMapOvr>
    <a:masterClrMapping/>
  </p:clrMapOvr>
  <p:transition>
    <p:wipe dir="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1" indent="-223787">
              <a:lnSpc>
                <a:spcPct val="95000"/>
              </a:lnSpc>
              <a:spcBef>
                <a:spcPts val="1110"/>
              </a:spcBef>
              <a:buClr>
                <a:schemeClr val="tx2"/>
              </a:buClr>
              <a:buSzPct val="80000"/>
              <a:buFont typeface="Wingdings" panose="05000000000000000000" pitchFamily="2" charset="2"/>
              <a:buChar char="§"/>
              <a:defRPr sz="2000" b="0" i="0">
                <a:solidFill>
                  <a:schemeClr val="tx2"/>
                </a:solidFill>
                <a:latin typeface="Arial Regular" charset="0"/>
                <a:cs typeface="CiscoSans ExtraLight"/>
              </a:defRPr>
            </a:lvl1pPr>
            <a:lvl2pPr marL="507882" indent="-215849">
              <a:lnSpc>
                <a:spcPct val="95000"/>
              </a:lnSpc>
              <a:spcBef>
                <a:spcPts val="450"/>
              </a:spcBef>
              <a:buClr>
                <a:schemeClr val="tx2"/>
              </a:buClr>
              <a:buSzPct val="80000"/>
              <a:buFont typeface="Wingdings" panose="05000000000000000000" pitchFamily="2" charset="2"/>
              <a:buChar char="§"/>
              <a:defRPr sz="1800" b="0" i="0">
                <a:solidFill>
                  <a:schemeClr val="tx2"/>
                </a:solidFill>
                <a:latin typeface="Arial Regular" charset="0"/>
                <a:cs typeface="CiscoSans ExtraLight"/>
              </a:defRPr>
            </a:lvl2pPr>
            <a:lvl3pPr marL="747539" indent="-171411">
              <a:buClr>
                <a:schemeClr val="tx2"/>
              </a:buClr>
              <a:buSzPct val="80000"/>
              <a:buFont typeface="Wingdings" panose="05000000000000000000" pitchFamily="2" charset="2"/>
              <a:buChar char="§"/>
              <a:defRPr sz="1600" b="0" i="0">
                <a:solidFill>
                  <a:schemeClr val="tx2"/>
                </a:solidFill>
                <a:latin typeface="Arial Regular" charset="0"/>
                <a:cs typeface="CiscoSans ExtraLight"/>
              </a:defRPr>
            </a:lvl3pPr>
            <a:lvl4pPr marL="911012" indent="-171411">
              <a:buClr>
                <a:schemeClr val="tx2"/>
              </a:buClr>
              <a:buSzPct val="80000"/>
              <a:buFont typeface="Wingdings" panose="05000000000000000000" pitchFamily="2" charset="2"/>
              <a:buChar char="§"/>
              <a:defRPr sz="1400" b="0" i="0">
                <a:solidFill>
                  <a:schemeClr val="tx2"/>
                </a:solidFill>
                <a:latin typeface="Arial Regular" charset="0"/>
                <a:cs typeface="CiscoSans ExtraLight"/>
              </a:defRPr>
            </a:lvl4pPr>
            <a:lvl5pPr marL="1082423" indent="-168236">
              <a:buClr>
                <a:schemeClr val="tx2"/>
              </a:buClr>
              <a:buSzPct val="80000"/>
              <a:buFont typeface="Wingdings" panose="05000000000000000000" pitchFamily="2" charset="2"/>
              <a:buChar char="§"/>
              <a:defRPr sz="1200" b="0" i="0">
                <a:solidFill>
                  <a:schemeClr val="tx2"/>
                </a:solidFill>
                <a:latin typeface="Arial Regular" charset="0"/>
                <a:cs typeface="CiscoSans ExtraLight"/>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
          <p:cNvSpPr>
            <a:spLocks noGrp="1"/>
          </p:cNvSpPr>
          <p:nvPr>
            <p:ph type="body" sz="quarter" idx="13"/>
          </p:nvPr>
        </p:nvSpPr>
        <p:spPr>
          <a:xfrm>
            <a:off x="54462" y="637598"/>
            <a:ext cx="8302625" cy="299001"/>
          </a:xfrm>
          <a:prstGeom prst="rect">
            <a:avLst/>
          </a:prstGeom>
        </p:spPr>
        <p:txBody>
          <a:bodyPr lIns="91420" tIns="45710" rIns="91420" bIns="45710" anchor="ctr"/>
          <a:lstStyle>
            <a:lvl1pPr marL="0" indent="0">
              <a:buFont typeface="Arial" panose="020B0604020202020204" pitchFamily="34" charset="0"/>
              <a:buNone/>
              <a:defRPr sz="2200" b="0" i="0" baseline="0">
                <a:solidFill>
                  <a:schemeClr val="tx1"/>
                </a:solidFill>
                <a:latin typeface="Arial Regular" charset="0"/>
              </a:defRPr>
            </a:lvl1pPr>
            <a:lvl2pPr marL="304774" indent="0">
              <a:buNone/>
              <a:defRPr/>
            </a:lvl2pPr>
            <a:lvl3pPr marL="427391" indent="0">
              <a:buNone/>
              <a:defRPr/>
            </a:lvl3pPr>
            <a:lvl4pPr marL="516681" indent="0">
              <a:buNone/>
              <a:defRPr/>
            </a:lvl4pPr>
            <a:lvl5pPr marL="601206" indent="0">
              <a:buNone/>
              <a:defRPr/>
            </a:lvl5pPr>
          </a:lstStyle>
          <a:p>
            <a:pPr lvl="0"/>
            <a:r>
              <a:rPr lang="en-US" dirty="0"/>
              <a:t>Click to edit Master text styles</a:t>
            </a:r>
          </a:p>
        </p:txBody>
      </p:sp>
      <p:sp>
        <p:nvSpPr>
          <p:cNvPr id="7" name="Title 1"/>
          <p:cNvSpPr>
            <a:spLocks noGrp="1"/>
          </p:cNvSpPr>
          <p:nvPr>
            <p:ph type="ctrTitle"/>
          </p:nvPr>
        </p:nvSpPr>
        <p:spPr>
          <a:xfrm>
            <a:off x="16935"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Arial Regular" charset="0"/>
                <a:cs typeface="CiscoSans Thin"/>
              </a:defRPr>
            </a:lvl1pPr>
          </a:lstStyle>
          <a:p>
            <a:r>
              <a:rPr lang="en-US" dirty="0"/>
              <a:t>Click to edit Master title style</a:t>
            </a:r>
          </a:p>
        </p:txBody>
      </p:sp>
    </p:spTree>
    <p:extLst/>
  </p:cSld>
  <p:clrMapOvr>
    <a:masterClrMapping/>
  </p:clrMapOvr>
  <p:transition spd="med">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rgbClr val="049FD9"/>
        </a:solidFill>
        <a:effectLst/>
      </p:bgPr>
    </p:bg>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Freeform 6"/>
          <p:cNvSpPr>
            <a:spLocks noChangeAspect="1" noEditPoints="1"/>
          </p:cNvSpPr>
          <p:nvPr/>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99423" y="4659331"/>
            <a:ext cx="1347219" cy="426721"/>
          </a:xfrm>
          <a:prstGeom prst="rect">
            <a:avLst/>
          </a:prstGeom>
        </p:spPr>
      </p:pic>
      <p:sp>
        <p:nvSpPr>
          <p:cNvPr id="7" name="Rectangle 6"/>
          <p:cNvSpPr/>
          <p:nvPr userDrawn="1"/>
        </p:nvSpPr>
        <p:spPr>
          <a:xfrm>
            <a:off x="0" y="0"/>
            <a:ext cx="9144000" cy="5143500"/>
          </a:xfrm>
          <a:prstGeom prst="rect">
            <a:avLst/>
          </a:prstGeom>
          <a:solidFill>
            <a:srgbClr val="049FD9"/>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Freeform 6"/>
          <p:cNvSpPr>
            <a:spLocks noChangeAspect="1" noEditPoints="1"/>
          </p:cNvSpPr>
          <p:nvPr userDrawn="1"/>
        </p:nvSpPr>
        <p:spPr bwMode="auto">
          <a:xfrm>
            <a:off x="3762994" y="2129076"/>
            <a:ext cx="1618012" cy="859571"/>
          </a:xfrm>
          <a:custGeom>
            <a:avLst/>
            <a:gdLst>
              <a:gd name="T0" fmla="*/ 2671 w 3456"/>
              <a:gd name="T1" fmla="*/ 1521 h 1834"/>
              <a:gd name="T2" fmla="*/ 2857 w 3456"/>
              <a:gd name="T3" fmla="*/ 1677 h 1834"/>
              <a:gd name="T4" fmla="*/ 2975 w 3456"/>
              <a:gd name="T5" fmla="*/ 1465 h 1834"/>
              <a:gd name="T6" fmla="*/ 1129 w 3456"/>
              <a:gd name="T7" fmla="*/ 1823 h 1834"/>
              <a:gd name="T8" fmla="*/ 3082 w 3456"/>
              <a:gd name="T9" fmla="*/ 1330 h 1834"/>
              <a:gd name="T10" fmla="*/ 3082 w 3456"/>
              <a:gd name="T11" fmla="*/ 1712 h 1834"/>
              <a:gd name="T12" fmla="*/ 2700 w 3456"/>
              <a:gd name="T13" fmla="*/ 1809 h 1834"/>
              <a:gd name="T14" fmla="*/ 2513 w 3456"/>
              <a:gd name="T15" fmla="*/ 1479 h 1834"/>
              <a:gd name="T16" fmla="*/ 2783 w 3456"/>
              <a:gd name="T17" fmla="*/ 1211 h 1834"/>
              <a:gd name="T18" fmla="*/ 2351 w 3456"/>
              <a:gd name="T19" fmla="*/ 1392 h 1834"/>
              <a:gd name="T20" fmla="*/ 2136 w 3456"/>
              <a:gd name="T21" fmla="*/ 1381 h 1834"/>
              <a:gd name="T22" fmla="*/ 2093 w 3456"/>
              <a:gd name="T23" fmla="*/ 1625 h 1834"/>
              <a:gd name="T24" fmla="*/ 2335 w 3456"/>
              <a:gd name="T25" fmla="*/ 1658 h 1834"/>
              <a:gd name="T26" fmla="*/ 2174 w 3456"/>
              <a:gd name="T27" fmla="*/ 1832 h 1834"/>
              <a:gd name="T28" fmla="*/ 1903 w 3456"/>
              <a:gd name="T29" fmla="*/ 1605 h 1834"/>
              <a:gd name="T30" fmla="*/ 2047 w 3456"/>
              <a:gd name="T31" fmla="*/ 1249 h 1834"/>
              <a:gd name="T32" fmla="*/ 748 w 3456"/>
              <a:gd name="T33" fmla="*/ 1223 h 1834"/>
              <a:gd name="T34" fmla="*/ 642 w 3456"/>
              <a:gd name="T35" fmla="*/ 1359 h 1834"/>
              <a:gd name="T36" fmla="*/ 479 w 3456"/>
              <a:gd name="T37" fmla="*/ 1550 h 1834"/>
              <a:gd name="T38" fmla="*/ 697 w 3456"/>
              <a:gd name="T39" fmla="*/ 1676 h 1834"/>
              <a:gd name="T40" fmla="*/ 692 w 3456"/>
              <a:gd name="T41" fmla="*/ 1830 h 1834"/>
              <a:gd name="T42" fmla="*/ 370 w 3456"/>
              <a:gd name="T43" fmla="*/ 1710 h 1834"/>
              <a:gd name="T44" fmla="*/ 375 w 3456"/>
              <a:gd name="T45" fmla="*/ 1326 h 1834"/>
              <a:gd name="T46" fmla="*/ 1610 w 3456"/>
              <a:gd name="T47" fmla="*/ 1211 h 1834"/>
              <a:gd name="T48" fmla="*/ 1679 w 3456"/>
              <a:gd name="T49" fmla="*/ 1350 h 1834"/>
              <a:gd name="T50" fmla="*/ 1494 w 3456"/>
              <a:gd name="T51" fmla="*/ 1373 h 1834"/>
              <a:gd name="T52" fmla="*/ 1634 w 3456"/>
              <a:gd name="T53" fmla="*/ 1470 h 1834"/>
              <a:gd name="T54" fmla="*/ 1737 w 3456"/>
              <a:gd name="T55" fmla="*/ 1694 h 1834"/>
              <a:gd name="T56" fmla="*/ 1524 w 3456"/>
              <a:gd name="T57" fmla="*/ 1833 h 1834"/>
              <a:gd name="T58" fmla="*/ 1334 w 3456"/>
              <a:gd name="T59" fmla="*/ 1678 h 1834"/>
              <a:gd name="T60" fmla="*/ 1552 w 3456"/>
              <a:gd name="T61" fmla="*/ 1690 h 1834"/>
              <a:gd name="T62" fmla="*/ 1520 w 3456"/>
              <a:gd name="T63" fmla="*/ 1584 h 1834"/>
              <a:gd name="T64" fmla="*/ 1350 w 3456"/>
              <a:gd name="T65" fmla="*/ 1473 h 1834"/>
              <a:gd name="T66" fmla="*/ 1446 w 3456"/>
              <a:gd name="T67" fmla="*/ 1227 h 1834"/>
              <a:gd name="T68" fmla="*/ 3456 w 3456"/>
              <a:gd name="T69" fmla="*/ 569 h 1834"/>
              <a:gd name="T70" fmla="*/ 3328 w 3456"/>
              <a:gd name="T71" fmla="*/ 780 h 1834"/>
              <a:gd name="T72" fmla="*/ 3381 w 3456"/>
              <a:gd name="T73" fmla="*/ 493 h 1834"/>
              <a:gd name="T74" fmla="*/ 1793 w 3456"/>
              <a:gd name="T75" fmla="*/ 766 h 1834"/>
              <a:gd name="T76" fmla="*/ 1653 w 3456"/>
              <a:gd name="T77" fmla="*/ 727 h 1834"/>
              <a:gd name="T78" fmla="*/ 113 w 3456"/>
              <a:gd name="T79" fmla="*/ 503 h 1834"/>
              <a:gd name="T80" fmla="*/ 95 w 3456"/>
              <a:gd name="T81" fmla="*/ 801 h 1834"/>
              <a:gd name="T82" fmla="*/ 10 w 3456"/>
              <a:gd name="T83" fmla="*/ 531 h 1834"/>
              <a:gd name="T84" fmla="*/ 3040 w 3456"/>
              <a:gd name="T85" fmla="*/ 340 h 1834"/>
              <a:gd name="T86" fmla="*/ 2929 w 3456"/>
              <a:gd name="T87" fmla="*/ 793 h 1834"/>
              <a:gd name="T88" fmla="*/ 2947 w 3456"/>
              <a:gd name="T89" fmla="*/ 287 h 1834"/>
              <a:gd name="T90" fmla="*/ 2214 w 3456"/>
              <a:gd name="T91" fmla="*/ 748 h 1834"/>
              <a:gd name="T92" fmla="*/ 2069 w 3456"/>
              <a:gd name="T93" fmla="*/ 748 h 1834"/>
              <a:gd name="T94" fmla="*/ 1335 w 3456"/>
              <a:gd name="T95" fmla="*/ 287 h 1834"/>
              <a:gd name="T96" fmla="*/ 1353 w 3456"/>
              <a:gd name="T97" fmla="*/ 793 h 1834"/>
              <a:gd name="T98" fmla="*/ 1242 w 3456"/>
              <a:gd name="T99" fmla="*/ 340 h 1834"/>
              <a:gd name="T100" fmla="*/ 553 w 3456"/>
              <a:gd name="T101" fmla="*/ 322 h 1834"/>
              <a:gd name="T102" fmla="*/ 468 w 3456"/>
              <a:gd name="T103" fmla="*/ 801 h 1834"/>
              <a:gd name="T104" fmla="*/ 450 w 3456"/>
              <a:gd name="T105" fmla="*/ 295 h 1834"/>
              <a:gd name="T106" fmla="*/ 2630 w 3456"/>
              <a:gd name="T107" fmla="*/ 879 h 1834"/>
              <a:gd name="T108" fmla="*/ 2490 w 3456"/>
              <a:gd name="T109" fmla="*/ 917 h 1834"/>
              <a:gd name="T110" fmla="*/ 902 w 3456"/>
              <a:gd name="T111" fmla="*/ 0 h 1834"/>
              <a:gd name="T112" fmla="*/ 955 w 3456"/>
              <a:gd name="T113" fmla="*/ 931 h 1834"/>
              <a:gd name="T114" fmla="*/ 826 w 3456"/>
              <a:gd name="T115" fmla="*/ 75 h 1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56" h="1834">
                <a:moveTo>
                  <a:pt x="2828" y="1362"/>
                </a:moveTo>
                <a:lnTo>
                  <a:pt x="2798" y="1364"/>
                </a:lnTo>
                <a:lnTo>
                  <a:pt x="2771" y="1371"/>
                </a:lnTo>
                <a:lnTo>
                  <a:pt x="2747" y="1384"/>
                </a:lnTo>
                <a:lnTo>
                  <a:pt x="2725" y="1400"/>
                </a:lnTo>
                <a:lnTo>
                  <a:pt x="2706" y="1419"/>
                </a:lnTo>
                <a:lnTo>
                  <a:pt x="2691" y="1441"/>
                </a:lnTo>
                <a:lnTo>
                  <a:pt x="2680" y="1465"/>
                </a:lnTo>
                <a:lnTo>
                  <a:pt x="2674" y="1492"/>
                </a:lnTo>
                <a:lnTo>
                  <a:pt x="2671" y="1521"/>
                </a:lnTo>
                <a:lnTo>
                  <a:pt x="2674" y="1549"/>
                </a:lnTo>
                <a:lnTo>
                  <a:pt x="2680" y="1577"/>
                </a:lnTo>
                <a:lnTo>
                  <a:pt x="2691" y="1601"/>
                </a:lnTo>
                <a:lnTo>
                  <a:pt x="2706" y="1623"/>
                </a:lnTo>
                <a:lnTo>
                  <a:pt x="2725" y="1642"/>
                </a:lnTo>
                <a:lnTo>
                  <a:pt x="2747" y="1658"/>
                </a:lnTo>
                <a:lnTo>
                  <a:pt x="2771" y="1669"/>
                </a:lnTo>
                <a:lnTo>
                  <a:pt x="2798" y="1677"/>
                </a:lnTo>
                <a:lnTo>
                  <a:pt x="2828" y="1680"/>
                </a:lnTo>
                <a:lnTo>
                  <a:pt x="2857" y="1677"/>
                </a:lnTo>
                <a:lnTo>
                  <a:pt x="2883" y="1669"/>
                </a:lnTo>
                <a:lnTo>
                  <a:pt x="2908" y="1658"/>
                </a:lnTo>
                <a:lnTo>
                  <a:pt x="2930" y="1642"/>
                </a:lnTo>
                <a:lnTo>
                  <a:pt x="2948" y="1623"/>
                </a:lnTo>
                <a:lnTo>
                  <a:pt x="2964" y="1601"/>
                </a:lnTo>
                <a:lnTo>
                  <a:pt x="2975" y="1577"/>
                </a:lnTo>
                <a:lnTo>
                  <a:pt x="2982" y="1549"/>
                </a:lnTo>
                <a:lnTo>
                  <a:pt x="2985" y="1521"/>
                </a:lnTo>
                <a:lnTo>
                  <a:pt x="2982" y="1492"/>
                </a:lnTo>
                <a:lnTo>
                  <a:pt x="2975" y="1465"/>
                </a:lnTo>
                <a:lnTo>
                  <a:pt x="2964" y="1441"/>
                </a:lnTo>
                <a:lnTo>
                  <a:pt x="2948" y="1419"/>
                </a:lnTo>
                <a:lnTo>
                  <a:pt x="2930" y="1400"/>
                </a:lnTo>
                <a:lnTo>
                  <a:pt x="2908" y="1384"/>
                </a:lnTo>
                <a:lnTo>
                  <a:pt x="2883" y="1371"/>
                </a:lnTo>
                <a:lnTo>
                  <a:pt x="2857" y="1364"/>
                </a:lnTo>
                <a:lnTo>
                  <a:pt x="2828" y="1362"/>
                </a:lnTo>
                <a:close/>
                <a:moveTo>
                  <a:pt x="977" y="1218"/>
                </a:moveTo>
                <a:lnTo>
                  <a:pt x="1129" y="1218"/>
                </a:lnTo>
                <a:lnTo>
                  <a:pt x="1129" y="1823"/>
                </a:lnTo>
                <a:lnTo>
                  <a:pt x="977" y="1823"/>
                </a:lnTo>
                <a:lnTo>
                  <a:pt x="977" y="1218"/>
                </a:lnTo>
                <a:close/>
                <a:moveTo>
                  <a:pt x="2828" y="1208"/>
                </a:moveTo>
                <a:lnTo>
                  <a:pt x="2873" y="1211"/>
                </a:lnTo>
                <a:lnTo>
                  <a:pt x="2916" y="1219"/>
                </a:lnTo>
                <a:lnTo>
                  <a:pt x="2955" y="1232"/>
                </a:lnTo>
                <a:lnTo>
                  <a:pt x="2992" y="1251"/>
                </a:lnTo>
                <a:lnTo>
                  <a:pt x="3026" y="1273"/>
                </a:lnTo>
                <a:lnTo>
                  <a:pt x="3056" y="1299"/>
                </a:lnTo>
                <a:lnTo>
                  <a:pt x="3082" y="1330"/>
                </a:lnTo>
                <a:lnTo>
                  <a:pt x="3104" y="1363"/>
                </a:lnTo>
                <a:lnTo>
                  <a:pt x="3121" y="1398"/>
                </a:lnTo>
                <a:lnTo>
                  <a:pt x="3134" y="1437"/>
                </a:lnTo>
                <a:lnTo>
                  <a:pt x="3142" y="1479"/>
                </a:lnTo>
                <a:lnTo>
                  <a:pt x="3145" y="1521"/>
                </a:lnTo>
                <a:lnTo>
                  <a:pt x="3142" y="1563"/>
                </a:lnTo>
                <a:lnTo>
                  <a:pt x="3134" y="1604"/>
                </a:lnTo>
                <a:lnTo>
                  <a:pt x="3121" y="1642"/>
                </a:lnTo>
                <a:lnTo>
                  <a:pt x="3104" y="1679"/>
                </a:lnTo>
                <a:lnTo>
                  <a:pt x="3082" y="1712"/>
                </a:lnTo>
                <a:lnTo>
                  <a:pt x="3056" y="1742"/>
                </a:lnTo>
                <a:lnTo>
                  <a:pt x="3026" y="1769"/>
                </a:lnTo>
                <a:lnTo>
                  <a:pt x="2992" y="1791"/>
                </a:lnTo>
                <a:lnTo>
                  <a:pt x="2955" y="1809"/>
                </a:lnTo>
                <a:lnTo>
                  <a:pt x="2916" y="1822"/>
                </a:lnTo>
                <a:lnTo>
                  <a:pt x="2873" y="1831"/>
                </a:lnTo>
                <a:lnTo>
                  <a:pt x="2828" y="1834"/>
                </a:lnTo>
                <a:lnTo>
                  <a:pt x="2783" y="1831"/>
                </a:lnTo>
                <a:lnTo>
                  <a:pt x="2740" y="1822"/>
                </a:lnTo>
                <a:lnTo>
                  <a:pt x="2700" y="1809"/>
                </a:lnTo>
                <a:lnTo>
                  <a:pt x="2663" y="1791"/>
                </a:lnTo>
                <a:lnTo>
                  <a:pt x="2630" y="1769"/>
                </a:lnTo>
                <a:lnTo>
                  <a:pt x="2599" y="1742"/>
                </a:lnTo>
                <a:lnTo>
                  <a:pt x="2573" y="1712"/>
                </a:lnTo>
                <a:lnTo>
                  <a:pt x="2551" y="1679"/>
                </a:lnTo>
                <a:lnTo>
                  <a:pt x="2534" y="1642"/>
                </a:lnTo>
                <a:lnTo>
                  <a:pt x="2521" y="1604"/>
                </a:lnTo>
                <a:lnTo>
                  <a:pt x="2513" y="1563"/>
                </a:lnTo>
                <a:lnTo>
                  <a:pt x="2510" y="1521"/>
                </a:lnTo>
                <a:lnTo>
                  <a:pt x="2513" y="1479"/>
                </a:lnTo>
                <a:lnTo>
                  <a:pt x="2521" y="1437"/>
                </a:lnTo>
                <a:lnTo>
                  <a:pt x="2534" y="1398"/>
                </a:lnTo>
                <a:lnTo>
                  <a:pt x="2551" y="1363"/>
                </a:lnTo>
                <a:lnTo>
                  <a:pt x="2573" y="1330"/>
                </a:lnTo>
                <a:lnTo>
                  <a:pt x="2599" y="1299"/>
                </a:lnTo>
                <a:lnTo>
                  <a:pt x="2630" y="1273"/>
                </a:lnTo>
                <a:lnTo>
                  <a:pt x="2663" y="1251"/>
                </a:lnTo>
                <a:lnTo>
                  <a:pt x="2700" y="1232"/>
                </a:lnTo>
                <a:lnTo>
                  <a:pt x="2740" y="1219"/>
                </a:lnTo>
                <a:lnTo>
                  <a:pt x="2783" y="1211"/>
                </a:lnTo>
                <a:lnTo>
                  <a:pt x="2828" y="1208"/>
                </a:lnTo>
                <a:close/>
                <a:moveTo>
                  <a:pt x="2213" y="1208"/>
                </a:moveTo>
                <a:lnTo>
                  <a:pt x="2242" y="1209"/>
                </a:lnTo>
                <a:lnTo>
                  <a:pt x="2268" y="1211"/>
                </a:lnTo>
                <a:lnTo>
                  <a:pt x="2292" y="1215"/>
                </a:lnTo>
                <a:lnTo>
                  <a:pt x="2312" y="1219"/>
                </a:lnTo>
                <a:lnTo>
                  <a:pt x="2329" y="1223"/>
                </a:lnTo>
                <a:lnTo>
                  <a:pt x="2343" y="1227"/>
                </a:lnTo>
                <a:lnTo>
                  <a:pt x="2351" y="1230"/>
                </a:lnTo>
                <a:lnTo>
                  <a:pt x="2351" y="1392"/>
                </a:lnTo>
                <a:lnTo>
                  <a:pt x="2346" y="1389"/>
                </a:lnTo>
                <a:lnTo>
                  <a:pt x="2335" y="1384"/>
                </a:lnTo>
                <a:lnTo>
                  <a:pt x="2321" y="1377"/>
                </a:lnTo>
                <a:lnTo>
                  <a:pt x="2302" y="1371"/>
                </a:lnTo>
                <a:lnTo>
                  <a:pt x="2279" y="1365"/>
                </a:lnTo>
                <a:lnTo>
                  <a:pt x="2253" y="1360"/>
                </a:lnTo>
                <a:lnTo>
                  <a:pt x="2223" y="1359"/>
                </a:lnTo>
                <a:lnTo>
                  <a:pt x="2192" y="1362"/>
                </a:lnTo>
                <a:lnTo>
                  <a:pt x="2163" y="1369"/>
                </a:lnTo>
                <a:lnTo>
                  <a:pt x="2136" y="1381"/>
                </a:lnTo>
                <a:lnTo>
                  <a:pt x="2113" y="1396"/>
                </a:lnTo>
                <a:lnTo>
                  <a:pt x="2095" y="1415"/>
                </a:lnTo>
                <a:lnTo>
                  <a:pt x="2079" y="1437"/>
                </a:lnTo>
                <a:lnTo>
                  <a:pt x="2067" y="1463"/>
                </a:lnTo>
                <a:lnTo>
                  <a:pt x="2060" y="1490"/>
                </a:lnTo>
                <a:lnTo>
                  <a:pt x="2058" y="1521"/>
                </a:lnTo>
                <a:lnTo>
                  <a:pt x="2060" y="1550"/>
                </a:lnTo>
                <a:lnTo>
                  <a:pt x="2066" y="1578"/>
                </a:lnTo>
                <a:lnTo>
                  <a:pt x="2078" y="1602"/>
                </a:lnTo>
                <a:lnTo>
                  <a:pt x="2093" y="1625"/>
                </a:lnTo>
                <a:lnTo>
                  <a:pt x="2112" y="1644"/>
                </a:lnTo>
                <a:lnTo>
                  <a:pt x="2135" y="1660"/>
                </a:lnTo>
                <a:lnTo>
                  <a:pt x="2162" y="1672"/>
                </a:lnTo>
                <a:lnTo>
                  <a:pt x="2191" y="1679"/>
                </a:lnTo>
                <a:lnTo>
                  <a:pt x="2223" y="1682"/>
                </a:lnTo>
                <a:lnTo>
                  <a:pt x="2253" y="1680"/>
                </a:lnTo>
                <a:lnTo>
                  <a:pt x="2279" y="1676"/>
                </a:lnTo>
                <a:lnTo>
                  <a:pt x="2301" y="1671"/>
                </a:lnTo>
                <a:lnTo>
                  <a:pt x="2321" y="1664"/>
                </a:lnTo>
                <a:lnTo>
                  <a:pt x="2335" y="1658"/>
                </a:lnTo>
                <a:lnTo>
                  <a:pt x="2346" y="1653"/>
                </a:lnTo>
                <a:lnTo>
                  <a:pt x="2351" y="1649"/>
                </a:lnTo>
                <a:lnTo>
                  <a:pt x="2351" y="1812"/>
                </a:lnTo>
                <a:lnTo>
                  <a:pt x="2339" y="1816"/>
                </a:lnTo>
                <a:lnTo>
                  <a:pt x="2322" y="1820"/>
                </a:lnTo>
                <a:lnTo>
                  <a:pt x="2300" y="1826"/>
                </a:lnTo>
                <a:lnTo>
                  <a:pt x="2275" y="1830"/>
                </a:lnTo>
                <a:lnTo>
                  <a:pt x="2245" y="1833"/>
                </a:lnTo>
                <a:lnTo>
                  <a:pt x="2213" y="1834"/>
                </a:lnTo>
                <a:lnTo>
                  <a:pt x="2174" y="1832"/>
                </a:lnTo>
                <a:lnTo>
                  <a:pt x="2136" y="1826"/>
                </a:lnTo>
                <a:lnTo>
                  <a:pt x="2100" y="1815"/>
                </a:lnTo>
                <a:lnTo>
                  <a:pt x="2065" y="1801"/>
                </a:lnTo>
                <a:lnTo>
                  <a:pt x="2033" y="1783"/>
                </a:lnTo>
                <a:lnTo>
                  <a:pt x="2002" y="1762"/>
                </a:lnTo>
                <a:lnTo>
                  <a:pt x="1975" y="1737"/>
                </a:lnTo>
                <a:lnTo>
                  <a:pt x="1952" y="1710"/>
                </a:lnTo>
                <a:lnTo>
                  <a:pt x="1931" y="1678"/>
                </a:lnTo>
                <a:lnTo>
                  <a:pt x="1915" y="1643"/>
                </a:lnTo>
                <a:lnTo>
                  <a:pt x="1903" y="1605"/>
                </a:lnTo>
                <a:lnTo>
                  <a:pt x="1896" y="1564"/>
                </a:lnTo>
                <a:lnTo>
                  <a:pt x="1892" y="1521"/>
                </a:lnTo>
                <a:lnTo>
                  <a:pt x="1896" y="1477"/>
                </a:lnTo>
                <a:lnTo>
                  <a:pt x="1904" y="1434"/>
                </a:lnTo>
                <a:lnTo>
                  <a:pt x="1917" y="1395"/>
                </a:lnTo>
                <a:lnTo>
                  <a:pt x="1934" y="1359"/>
                </a:lnTo>
                <a:lnTo>
                  <a:pt x="1957" y="1326"/>
                </a:lnTo>
                <a:lnTo>
                  <a:pt x="1984" y="1296"/>
                </a:lnTo>
                <a:lnTo>
                  <a:pt x="2014" y="1271"/>
                </a:lnTo>
                <a:lnTo>
                  <a:pt x="2047" y="1249"/>
                </a:lnTo>
                <a:lnTo>
                  <a:pt x="2085" y="1231"/>
                </a:lnTo>
                <a:lnTo>
                  <a:pt x="2125" y="1218"/>
                </a:lnTo>
                <a:lnTo>
                  <a:pt x="2168" y="1211"/>
                </a:lnTo>
                <a:lnTo>
                  <a:pt x="2213" y="1208"/>
                </a:lnTo>
                <a:close/>
                <a:moveTo>
                  <a:pt x="630" y="1208"/>
                </a:moveTo>
                <a:lnTo>
                  <a:pt x="660" y="1209"/>
                </a:lnTo>
                <a:lnTo>
                  <a:pt x="687" y="1211"/>
                </a:lnTo>
                <a:lnTo>
                  <a:pt x="711" y="1215"/>
                </a:lnTo>
                <a:lnTo>
                  <a:pt x="731" y="1219"/>
                </a:lnTo>
                <a:lnTo>
                  <a:pt x="748" y="1223"/>
                </a:lnTo>
                <a:lnTo>
                  <a:pt x="760" y="1227"/>
                </a:lnTo>
                <a:lnTo>
                  <a:pt x="769" y="1230"/>
                </a:lnTo>
                <a:lnTo>
                  <a:pt x="769" y="1392"/>
                </a:lnTo>
                <a:lnTo>
                  <a:pt x="763" y="1389"/>
                </a:lnTo>
                <a:lnTo>
                  <a:pt x="754" y="1384"/>
                </a:lnTo>
                <a:lnTo>
                  <a:pt x="739" y="1377"/>
                </a:lnTo>
                <a:lnTo>
                  <a:pt x="721" y="1371"/>
                </a:lnTo>
                <a:lnTo>
                  <a:pt x="697" y="1365"/>
                </a:lnTo>
                <a:lnTo>
                  <a:pt x="671" y="1360"/>
                </a:lnTo>
                <a:lnTo>
                  <a:pt x="642" y="1359"/>
                </a:lnTo>
                <a:lnTo>
                  <a:pt x="611" y="1362"/>
                </a:lnTo>
                <a:lnTo>
                  <a:pt x="581" y="1369"/>
                </a:lnTo>
                <a:lnTo>
                  <a:pt x="555" y="1381"/>
                </a:lnTo>
                <a:lnTo>
                  <a:pt x="532" y="1396"/>
                </a:lnTo>
                <a:lnTo>
                  <a:pt x="513" y="1415"/>
                </a:lnTo>
                <a:lnTo>
                  <a:pt x="497" y="1437"/>
                </a:lnTo>
                <a:lnTo>
                  <a:pt x="485" y="1463"/>
                </a:lnTo>
                <a:lnTo>
                  <a:pt x="479" y="1490"/>
                </a:lnTo>
                <a:lnTo>
                  <a:pt x="475" y="1521"/>
                </a:lnTo>
                <a:lnTo>
                  <a:pt x="479" y="1550"/>
                </a:lnTo>
                <a:lnTo>
                  <a:pt x="485" y="1578"/>
                </a:lnTo>
                <a:lnTo>
                  <a:pt x="496" y="1602"/>
                </a:lnTo>
                <a:lnTo>
                  <a:pt x="512" y="1625"/>
                </a:lnTo>
                <a:lnTo>
                  <a:pt x="531" y="1644"/>
                </a:lnTo>
                <a:lnTo>
                  <a:pt x="554" y="1660"/>
                </a:lnTo>
                <a:lnTo>
                  <a:pt x="580" y="1672"/>
                </a:lnTo>
                <a:lnTo>
                  <a:pt x="610" y="1679"/>
                </a:lnTo>
                <a:lnTo>
                  <a:pt x="642" y="1682"/>
                </a:lnTo>
                <a:lnTo>
                  <a:pt x="671" y="1680"/>
                </a:lnTo>
                <a:lnTo>
                  <a:pt x="697" y="1676"/>
                </a:lnTo>
                <a:lnTo>
                  <a:pt x="719" y="1671"/>
                </a:lnTo>
                <a:lnTo>
                  <a:pt x="738" y="1664"/>
                </a:lnTo>
                <a:lnTo>
                  <a:pt x="753" y="1658"/>
                </a:lnTo>
                <a:lnTo>
                  <a:pt x="763" y="1653"/>
                </a:lnTo>
                <a:lnTo>
                  <a:pt x="769" y="1649"/>
                </a:lnTo>
                <a:lnTo>
                  <a:pt x="769" y="1812"/>
                </a:lnTo>
                <a:lnTo>
                  <a:pt x="757" y="1816"/>
                </a:lnTo>
                <a:lnTo>
                  <a:pt x="740" y="1820"/>
                </a:lnTo>
                <a:lnTo>
                  <a:pt x="718" y="1826"/>
                </a:lnTo>
                <a:lnTo>
                  <a:pt x="692" y="1830"/>
                </a:lnTo>
                <a:lnTo>
                  <a:pt x="663" y="1833"/>
                </a:lnTo>
                <a:lnTo>
                  <a:pt x="630" y="1834"/>
                </a:lnTo>
                <a:lnTo>
                  <a:pt x="592" y="1832"/>
                </a:lnTo>
                <a:lnTo>
                  <a:pt x="554" y="1826"/>
                </a:lnTo>
                <a:lnTo>
                  <a:pt x="518" y="1815"/>
                </a:lnTo>
                <a:lnTo>
                  <a:pt x="484" y="1801"/>
                </a:lnTo>
                <a:lnTo>
                  <a:pt x="451" y="1783"/>
                </a:lnTo>
                <a:lnTo>
                  <a:pt x="421" y="1762"/>
                </a:lnTo>
                <a:lnTo>
                  <a:pt x="394" y="1737"/>
                </a:lnTo>
                <a:lnTo>
                  <a:pt x="370" y="1710"/>
                </a:lnTo>
                <a:lnTo>
                  <a:pt x="350" y="1678"/>
                </a:lnTo>
                <a:lnTo>
                  <a:pt x="333" y="1643"/>
                </a:lnTo>
                <a:lnTo>
                  <a:pt x="322" y="1605"/>
                </a:lnTo>
                <a:lnTo>
                  <a:pt x="314" y="1564"/>
                </a:lnTo>
                <a:lnTo>
                  <a:pt x="311" y="1521"/>
                </a:lnTo>
                <a:lnTo>
                  <a:pt x="314" y="1477"/>
                </a:lnTo>
                <a:lnTo>
                  <a:pt x="323" y="1434"/>
                </a:lnTo>
                <a:lnTo>
                  <a:pt x="335" y="1395"/>
                </a:lnTo>
                <a:lnTo>
                  <a:pt x="353" y="1359"/>
                </a:lnTo>
                <a:lnTo>
                  <a:pt x="375" y="1326"/>
                </a:lnTo>
                <a:lnTo>
                  <a:pt x="402" y="1296"/>
                </a:lnTo>
                <a:lnTo>
                  <a:pt x="433" y="1271"/>
                </a:lnTo>
                <a:lnTo>
                  <a:pt x="466" y="1249"/>
                </a:lnTo>
                <a:lnTo>
                  <a:pt x="503" y="1231"/>
                </a:lnTo>
                <a:lnTo>
                  <a:pt x="544" y="1218"/>
                </a:lnTo>
                <a:lnTo>
                  <a:pt x="585" y="1211"/>
                </a:lnTo>
                <a:lnTo>
                  <a:pt x="630" y="1208"/>
                </a:lnTo>
                <a:close/>
                <a:moveTo>
                  <a:pt x="1556" y="1208"/>
                </a:moveTo>
                <a:lnTo>
                  <a:pt x="1583" y="1209"/>
                </a:lnTo>
                <a:lnTo>
                  <a:pt x="1610" y="1211"/>
                </a:lnTo>
                <a:lnTo>
                  <a:pt x="1634" y="1213"/>
                </a:lnTo>
                <a:lnTo>
                  <a:pt x="1656" y="1217"/>
                </a:lnTo>
                <a:lnTo>
                  <a:pt x="1675" y="1220"/>
                </a:lnTo>
                <a:lnTo>
                  <a:pt x="1689" y="1223"/>
                </a:lnTo>
                <a:lnTo>
                  <a:pt x="1699" y="1226"/>
                </a:lnTo>
                <a:lnTo>
                  <a:pt x="1704" y="1227"/>
                </a:lnTo>
                <a:lnTo>
                  <a:pt x="1704" y="1356"/>
                </a:lnTo>
                <a:lnTo>
                  <a:pt x="1700" y="1355"/>
                </a:lnTo>
                <a:lnTo>
                  <a:pt x="1691" y="1353"/>
                </a:lnTo>
                <a:lnTo>
                  <a:pt x="1679" y="1350"/>
                </a:lnTo>
                <a:lnTo>
                  <a:pt x="1663" y="1347"/>
                </a:lnTo>
                <a:lnTo>
                  <a:pt x="1645" y="1343"/>
                </a:lnTo>
                <a:lnTo>
                  <a:pt x="1625" y="1340"/>
                </a:lnTo>
                <a:lnTo>
                  <a:pt x="1605" y="1338"/>
                </a:lnTo>
                <a:lnTo>
                  <a:pt x="1586" y="1337"/>
                </a:lnTo>
                <a:lnTo>
                  <a:pt x="1557" y="1339"/>
                </a:lnTo>
                <a:lnTo>
                  <a:pt x="1534" y="1344"/>
                </a:lnTo>
                <a:lnTo>
                  <a:pt x="1515" y="1351"/>
                </a:lnTo>
                <a:lnTo>
                  <a:pt x="1502" y="1362"/>
                </a:lnTo>
                <a:lnTo>
                  <a:pt x="1494" y="1373"/>
                </a:lnTo>
                <a:lnTo>
                  <a:pt x="1491" y="1387"/>
                </a:lnTo>
                <a:lnTo>
                  <a:pt x="1494" y="1402"/>
                </a:lnTo>
                <a:lnTo>
                  <a:pt x="1501" y="1413"/>
                </a:lnTo>
                <a:lnTo>
                  <a:pt x="1511" y="1423"/>
                </a:lnTo>
                <a:lnTo>
                  <a:pt x="1523" y="1430"/>
                </a:lnTo>
                <a:lnTo>
                  <a:pt x="1536" y="1436"/>
                </a:lnTo>
                <a:lnTo>
                  <a:pt x="1549" y="1441"/>
                </a:lnTo>
                <a:lnTo>
                  <a:pt x="1560" y="1445"/>
                </a:lnTo>
                <a:lnTo>
                  <a:pt x="1602" y="1458"/>
                </a:lnTo>
                <a:lnTo>
                  <a:pt x="1634" y="1470"/>
                </a:lnTo>
                <a:lnTo>
                  <a:pt x="1661" y="1484"/>
                </a:lnTo>
                <a:lnTo>
                  <a:pt x="1684" y="1501"/>
                </a:lnTo>
                <a:lnTo>
                  <a:pt x="1703" y="1519"/>
                </a:lnTo>
                <a:lnTo>
                  <a:pt x="1719" y="1539"/>
                </a:lnTo>
                <a:lnTo>
                  <a:pt x="1731" y="1560"/>
                </a:lnTo>
                <a:lnTo>
                  <a:pt x="1740" y="1583"/>
                </a:lnTo>
                <a:lnTo>
                  <a:pt x="1745" y="1606"/>
                </a:lnTo>
                <a:lnTo>
                  <a:pt x="1746" y="1630"/>
                </a:lnTo>
                <a:lnTo>
                  <a:pt x="1744" y="1664"/>
                </a:lnTo>
                <a:lnTo>
                  <a:pt x="1737" y="1694"/>
                </a:lnTo>
                <a:lnTo>
                  <a:pt x="1727" y="1720"/>
                </a:lnTo>
                <a:lnTo>
                  <a:pt x="1712" y="1744"/>
                </a:lnTo>
                <a:lnTo>
                  <a:pt x="1696" y="1764"/>
                </a:lnTo>
                <a:lnTo>
                  <a:pt x="1676" y="1781"/>
                </a:lnTo>
                <a:lnTo>
                  <a:pt x="1654" y="1796"/>
                </a:lnTo>
                <a:lnTo>
                  <a:pt x="1630" y="1809"/>
                </a:lnTo>
                <a:lnTo>
                  <a:pt x="1604" y="1818"/>
                </a:lnTo>
                <a:lnTo>
                  <a:pt x="1578" y="1826"/>
                </a:lnTo>
                <a:lnTo>
                  <a:pt x="1551" y="1830"/>
                </a:lnTo>
                <a:lnTo>
                  <a:pt x="1524" y="1833"/>
                </a:lnTo>
                <a:lnTo>
                  <a:pt x="1498" y="1834"/>
                </a:lnTo>
                <a:lnTo>
                  <a:pt x="1467" y="1833"/>
                </a:lnTo>
                <a:lnTo>
                  <a:pt x="1439" y="1832"/>
                </a:lnTo>
                <a:lnTo>
                  <a:pt x="1412" y="1829"/>
                </a:lnTo>
                <a:lnTo>
                  <a:pt x="1388" y="1827"/>
                </a:lnTo>
                <a:lnTo>
                  <a:pt x="1368" y="1823"/>
                </a:lnTo>
                <a:lnTo>
                  <a:pt x="1351" y="1820"/>
                </a:lnTo>
                <a:lnTo>
                  <a:pt x="1339" y="1818"/>
                </a:lnTo>
                <a:lnTo>
                  <a:pt x="1334" y="1817"/>
                </a:lnTo>
                <a:lnTo>
                  <a:pt x="1334" y="1678"/>
                </a:lnTo>
                <a:lnTo>
                  <a:pt x="1343" y="1680"/>
                </a:lnTo>
                <a:lnTo>
                  <a:pt x="1356" y="1684"/>
                </a:lnTo>
                <a:lnTo>
                  <a:pt x="1375" y="1688"/>
                </a:lnTo>
                <a:lnTo>
                  <a:pt x="1397" y="1693"/>
                </a:lnTo>
                <a:lnTo>
                  <a:pt x="1422" y="1697"/>
                </a:lnTo>
                <a:lnTo>
                  <a:pt x="1448" y="1700"/>
                </a:lnTo>
                <a:lnTo>
                  <a:pt x="1477" y="1701"/>
                </a:lnTo>
                <a:lnTo>
                  <a:pt x="1507" y="1699"/>
                </a:lnTo>
                <a:lnTo>
                  <a:pt x="1531" y="1696"/>
                </a:lnTo>
                <a:lnTo>
                  <a:pt x="1552" y="1690"/>
                </a:lnTo>
                <a:lnTo>
                  <a:pt x="1568" y="1681"/>
                </a:lnTo>
                <a:lnTo>
                  <a:pt x="1578" y="1671"/>
                </a:lnTo>
                <a:lnTo>
                  <a:pt x="1585" y="1658"/>
                </a:lnTo>
                <a:lnTo>
                  <a:pt x="1587" y="1644"/>
                </a:lnTo>
                <a:lnTo>
                  <a:pt x="1585" y="1629"/>
                </a:lnTo>
                <a:lnTo>
                  <a:pt x="1578" y="1618"/>
                </a:lnTo>
                <a:lnTo>
                  <a:pt x="1567" y="1607"/>
                </a:lnTo>
                <a:lnTo>
                  <a:pt x="1553" y="1598"/>
                </a:lnTo>
                <a:lnTo>
                  <a:pt x="1537" y="1590"/>
                </a:lnTo>
                <a:lnTo>
                  <a:pt x="1520" y="1584"/>
                </a:lnTo>
                <a:lnTo>
                  <a:pt x="1509" y="1581"/>
                </a:lnTo>
                <a:lnTo>
                  <a:pt x="1498" y="1577"/>
                </a:lnTo>
                <a:lnTo>
                  <a:pt x="1487" y="1574"/>
                </a:lnTo>
                <a:lnTo>
                  <a:pt x="1462" y="1565"/>
                </a:lnTo>
                <a:lnTo>
                  <a:pt x="1439" y="1555"/>
                </a:lnTo>
                <a:lnTo>
                  <a:pt x="1416" y="1542"/>
                </a:lnTo>
                <a:lnTo>
                  <a:pt x="1396" y="1528"/>
                </a:lnTo>
                <a:lnTo>
                  <a:pt x="1378" y="1512"/>
                </a:lnTo>
                <a:lnTo>
                  <a:pt x="1363" y="1494"/>
                </a:lnTo>
                <a:lnTo>
                  <a:pt x="1350" y="1473"/>
                </a:lnTo>
                <a:lnTo>
                  <a:pt x="1341" y="1451"/>
                </a:lnTo>
                <a:lnTo>
                  <a:pt x="1334" y="1425"/>
                </a:lnTo>
                <a:lnTo>
                  <a:pt x="1332" y="1396"/>
                </a:lnTo>
                <a:lnTo>
                  <a:pt x="1334" y="1364"/>
                </a:lnTo>
                <a:lnTo>
                  <a:pt x="1342" y="1333"/>
                </a:lnTo>
                <a:lnTo>
                  <a:pt x="1354" y="1306"/>
                </a:lnTo>
                <a:lnTo>
                  <a:pt x="1371" y="1281"/>
                </a:lnTo>
                <a:lnTo>
                  <a:pt x="1392" y="1259"/>
                </a:lnTo>
                <a:lnTo>
                  <a:pt x="1417" y="1241"/>
                </a:lnTo>
                <a:lnTo>
                  <a:pt x="1446" y="1227"/>
                </a:lnTo>
                <a:lnTo>
                  <a:pt x="1479" y="1216"/>
                </a:lnTo>
                <a:lnTo>
                  <a:pt x="1515" y="1210"/>
                </a:lnTo>
                <a:lnTo>
                  <a:pt x="1556" y="1208"/>
                </a:lnTo>
                <a:close/>
                <a:moveTo>
                  <a:pt x="3381" y="493"/>
                </a:moveTo>
                <a:lnTo>
                  <a:pt x="3400" y="496"/>
                </a:lnTo>
                <a:lnTo>
                  <a:pt x="3418" y="503"/>
                </a:lnTo>
                <a:lnTo>
                  <a:pt x="3434" y="515"/>
                </a:lnTo>
                <a:lnTo>
                  <a:pt x="3446" y="531"/>
                </a:lnTo>
                <a:lnTo>
                  <a:pt x="3453" y="548"/>
                </a:lnTo>
                <a:lnTo>
                  <a:pt x="3456" y="569"/>
                </a:lnTo>
                <a:lnTo>
                  <a:pt x="3456" y="727"/>
                </a:lnTo>
                <a:lnTo>
                  <a:pt x="3453" y="748"/>
                </a:lnTo>
                <a:lnTo>
                  <a:pt x="3446" y="766"/>
                </a:lnTo>
                <a:lnTo>
                  <a:pt x="3434" y="780"/>
                </a:lnTo>
                <a:lnTo>
                  <a:pt x="3418" y="793"/>
                </a:lnTo>
                <a:lnTo>
                  <a:pt x="3400" y="801"/>
                </a:lnTo>
                <a:lnTo>
                  <a:pt x="3381" y="803"/>
                </a:lnTo>
                <a:lnTo>
                  <a:pt x="3361" y="801"/>
                </a:lnTo>
                <a:lnTo>
                  <a:pt x="3343" y="793"/>
                </a:lnTo>
                <a:lnTo>
                  <a:pt x="3328" y="780"/>
                </a:lnTo>
                <a:lnTo>
                  <a:pt x="3316" y="766"/>
                </a:lnTo>
                <a:lnTo>
                  <a:pt x="3308" y="748"/>
                </a:lnTo>
                <a:lnTo>
                  <a:pt x="3306" y="727"/>
                </a:lnTo>
                <a:lnTo>
                  <a:pt x="3306" y="569"/>
                </a:lnTo>
                <a:lnTo>
                  <a:pt x="3308" y="548"/>
                </a:lnTo>
                <a:lnTo>
                  <a:pt x="3316" y="531"/>
                </a:lnTo>
                <a:lnTo>
                  <a:pt x="3328" y="515"/>
                </a:lnTo>
                <a:lnTo>
                  <a:pt x="3343" y="503"/>
                </a:lnTo>
                <a:lnTo>
                  <a:pt x="3361" y="496"/>
                </a:lnTo>
                <a:lnTo>
                  <a:pt x="3381" y="493"/>
                </a:lnTo>
                <a:close/>
                <a:moveTo>
                  <a:pt x="1728" y="493"/>
                </a:moveTo>
                <a:lnTo>
                  <a:pt x="1748" y="496"/>
                </a:lnTo>
                <a:lnTo>
                  <a:pt x="1766" y="503"/>
                </a:lnTo>
                <a:lnTo>
                  <a:pt x="1781" y="515"/>
                </a:lnTo>
                <a:lnTo>
                  <a:pt x="1793" y="531"/>
                </a:lnTo>
                <a:lnTo>
                  <a:pt x="1800" y="548"/>
                </a:lnTo>
                <a:lnTo>
                  <a:pt x="1803" y="569"/>
                </a:lnTo>
                <a:lnTo>
                  <a:pt x="1803" y="727"/>
                </a:lnTo>
                <a:lnTo>
                  <a:pt x="1800" y="748"/>
                </a:lnTo>
                <a:lnTo>
                  <a:pt x="1793" y="766"/>
                </a:lnTo>
                <a:lnTo>
                  <a:pt x="1781" y="780"/>
                </a:lnTo>
                <a:lnTo>
                  <a:pt x="1766" y="793"/>
                </a:lnTo>
                <a:lnTo>
                  <a:pt x="1748" y="801"/>
                </a:lnTo>
                <a:lnTo>
                  <a:pt x="1728" y="803"/>
                </a:lnTo>
                <a:lnTo>
                  <a:pt x="1708" y="801"/>
                </a:lnTo>
                <a:lnTo>
                  <a:pt x="1690" y="793"/>
                </a:lnTo>
                <a:lnTo>
                  <a:pt x="1675" y="780"/>
                </a:lnTo>
                <a:lnTo>
                  <a:pt x="1663" y="766"/>
                </a:lnTo>
                <a:lnTo>
                  <a:pt x="1656" y="748"/>
                </a:lnTo>
                <a:lnTo>
                  <a:pt x="1653" y="727"/>
                </a:lnTo>
                <a:lnTo>
                  <a:pt x="1653" y="569"/>
                </a:lnTo>
                <a:lnTo>
                  <a:pt x="1656" y="548"/>
                </a:lnTo>
                <a:lnTo>
                  <a:pt x="1663" y="531"/>
                </a:lnTo>
                <a:lnTo>
                  <a:pt x="1675" y="515"/>
                </a:lnTo>
                <a:lnTo>
                  <a:pt x="1690" y="503"/>
                </a:lnTo>
                <a:lnTo>
                  <a:pt x="1708" y="496"/>
                </a:lnTo>
                <a:lnTo>
                  <a:pt x="1728" y="493"/>
                </a:lnTo>
                <a:close/>
                <a:moveTo>
                  <a:pt x="75" y="493"/>
                </a:moveTo>
                <a:lnTo>
                  <a:pt x="95" y="496"/>
                </a:lnTo>
                <a:lnTo>
                  <a:pt x="113" y="503"/>
                </a:lnTo>
                <a:lnTo>
                  <a:pt x="129" y="515"/>
                </a:lnTo>
                <a:lnTo>
                  <a:pt x="140" y="531"/>
                </a:lnTo>
                <a:lnTo>
                  <a:pt x="148" y="548"/>
                </a:lnTo>
                <a:lnTo>
                  <a:pt x="151" y="569"/>
                </a:lnTo>
                <a:lnTo>
                  <a:pt x="151" y="727"/>
                </a:lnTo>
                <a:lnTo>
                  <a:pt x="148" y="748"/>
                </a:lnTo>
                <a:lnTo>
                  <a:pt x="140" y="766"/>
                </a:lnTo>
                <a:lnTo>
                  <a:pt x="129" y="780"/>
                </a:lnTo>
                <a:lnTo>
                  <a:pt x="113" y="793"/>
                </a:lnTo>
                <a:lnTo>
                  <a:pt x="95" y="801"/>
                </a:lnTo>
                <a:lnTo>
                  <a:pt x="75" y="803"/>
                </a:lnTo>
                <a:lnTo>
                  <a:pt x="56" y="801"/>
                </a:lnTo>
                <a:lnTo>
                  <a:pt x="38" y="793"/>
                </a:lnTo>
                <a:lnTo>
                  <a:pt x="22" y="780"/>
                </a:lnTo>
                <a:lnTo>
                  <a:pt x="10" y="766"/>
                </a:lnTo>
                <a:lnTo>
                  <a:pt x="3" y="748"/>
                </a:lnTo>
                <a:lnTo>
                  <a:pt x="0" y="727"/>
                </a:lnTo>
                <a:lnTo>
                  <a:pt x="0" y="569"/>
                </a:lnTo>
                <a:lnTo>
                  <a:pt x="3" y="548"/>
                </a:lnTo>
                <a:lnTo>
                  <a:pt x="10" y="531"/>
                </a:lnTo>
                <a:lnTo>
                  <a:pt x="22" y="515"/>
                </a:lnTo>
                <a:lnTo>
                  <a:pt x="38" y="503"/>
                </a:lnTo>
                <a:lnTo>
                  <a:pt x="56" y="496"/>
                </a:lnTo>
                <a:lnTo>
                  <a:pt x="75" y="493"/>
                </a:lnTo>
                <a:close/>
                <a:moveTo>
                  <a:pt x="2968" y="285"/>
                </a:moveTo>
                <a:lnTo>
                  <a:pt x="2988" y="287"/>
                </a:lnTo>
                <a:lnTo>
                  <a:pt x="3006" y="295"/>
                </a:lnTo>
                <a:lnTo>
                  <a:pt x="3021" y="307"/>
                </a:lnTo>
                <a:lnTo>
                  <a:pt x="3033" y="322"/>
                </a:lnTo>
                <a:lnTo>
                  <a:pt x="3040" y="340"/>
                </a:lnTo>
                <a:lnTo>
                  <a:pt x="3043" y="360"/>
                </a:lnTo>
                <a:lnTo>
                  <a:pt x="3043" y="727"/>
                </a:lnTo>
                <a:lnTo>
                  <a:pt x="3040" y="748"/>
                </a:lnTo>
                <a:lnTo>
                  <a:pt x="3033" y="766"/>
                </a:lnTo>
                <a:lnTo>
                  <a:pt x="3021" y="780"/>
                </a:lnTo>
                <a:lnTo>
                  <a:pt x="3006" y="793"/>
                </a:lnTo>
                <a:lnTo>
                  <a:pt x="2988" y="801"/>
                </a:lnTo>
                <a:lnTo>
                  <a:pt x="2968" y="803"/>
                </a:lnTo>
                <a:lnTo>
                  <a:pt x="2947" y="801"/>
                </a:lnTo>
                <a:lnTo>
                  <a:pt x="2929" y="793"/>
                </a:lnTo>
                <a:lnTo>
                  <a:pt x="2915" y="780"/>
                </a:lnTo>
                <a:lnTo>
                  <a:pt x="2903" y="766"/>
                </a:lnTo>
                <a:lnTo>
                  <a:pt x="2895" y="748"/>
                </a:lnTo>
                <a:lnTo>
                  <a:pt x="2893" y="727"/>
                </a:lnTo>
                <a:lnTo>
                  <a:pt x="2893" y="360"/>
                </a:lnTo>
                <a:lnTo>
                  <a:pt x="2895" y="340"/>
                </a:lnTo>
                <a:lnTo>
                  <a:pt x="2903" y="322"/>
                </a:lnTo>
                <a:lnTo>
                  <a:pt x="2915" y="307"/>
                </a:lnTo>
                <a:lnTo>
                  <a:pt x="2929" y="295"/>
                </a:lnTo>
                <a:lnTo>
                  <a:pt x="2947" y="287"/>
                </a:lnTo>
                <a:lnTo>
                  <a:pt x="2968" y="285"/>
                </a:lnTo>
                <a:close/>
                <a:moveTo>
                  <a:pt x="2142" y="285"/>
                </a:moveTo>
                <a:lnTo>
                  <a:pt x="2162" y="287"/>
                </a:lnTo>
                <a:lnTo>
                  <a:pt x="2179" y="295"/>
                </a:lnTo>
                <a:lnTo>
                  <a:pt x="2194" y="307"/>
                </a:lnTo>
                <a:lnTo>
                  <a:pt x="2207" y="322"/>
                </a:lnTo>
                <a:lnTo>
                  <a:pt x="2214" y="340"/>
                </a:lnTo>
                <a:lnTo>
                  <a:pt x="2216" y="360"/>
                </a:lnTo>
                <a:lnTo>
                  <a:pt x="2216" y="727"/>
                </a:lnTo>
                <a:lnTo>
                  <a:pt x="2214" y="748"/>
                </a:lnTo>
                <a:lnTo>
                  <a:pt x="2207" y="766"/>
                </a:lnTo>
                <a:lnTo>
                  <a:pt x="2194" y="780"/>
                </a:lnTo>
                <a:lnTo>
                  <a:pt x="2179" y="793"/>
                </a:lnTo>
                <a:lnTo>
                  <a:pt x="2162" y="801"/>
                </a:lnTo>
                <a:lnTo>
                  <a:pt x="2142" y="803"/>
                </a:lnTo>
                <a:lnTo>
                  <a:pt x="2122" y="801"/>
                </a:lnTo>
                <a:lnTo>
                  <a:pt x="2104" y="793"/>
                </a:lnTo>
                <a:lnTo>
                  <a:pt x="2088" y="780"/>
                </a:lnTo>
                <a:lnTo>
                  <a:pt x="2077" y="766"/>
                </a:lnTo>
                <a:lnTo>
                  <a:pt x="2069" y="748"/>
                </a:lnTo>
                <a:lnTo>
                  <a:pt x="2066" y="727"/>
                </a:lnTo>
                <a:lnTo>
                  <a:pt x="2066" y="360"/>
                </a:lnTo>
                <a:lnTo>
                  <a:pt x="2069" y="340"/>
                </a:lnTo>
                <a:lnTo>
                  <a:pt x="2077" y="322"/>
                </a:lnTo>
                <a:lnTo>
                  <a:pt x="2088" y="307"/>
                </a:lnTo>
                <a:lnTo>
                  <a:pt x="2104" y="295"/>
                </a:lnTo>
                <a:lnTo>
                  <a:pt x="2122" y="287"/>
                </a:lnTo>
                <a:lnTo>
                  <a:pt x="2142" y="285"/>
                </a:lnTo>
                <a:close/>
                <a:moveTo>
                  <a:pt x="1315" y="285"/>
                </a:moveTo>
                <a:lnTo>
                  <a:pt x="1335" y="287"/>
                </a:lnTo>
                <a:lnTo>
                  <a:pt x="1353" y="295"/>
                </a:lnTo>
                <a:lnTo>
                  <a:pt x="1368" y="307"/>
                </a:lnTo>
                <a:lnTo>
                  <a:pt x="1380" y="322"/>
                </a:lnTo>
                <a:lnTo>
                  <a:pt x="1388" y="340"/>
                </a:lnTo>
                <a:lnTo>
                  <a:pt x="1390" y="360"/>
                </a:lnTo>
                <a:lnTo>
                  <a:pt x="1390" y="727"/>
                </a:lnTo>
                <a:lnTo>
                  <a:pt x="1388" y="748"/>
                </a:lnTo>
                <a:lnTo>
                  <a:pt x="1380" y="766"/>
                </a:lnTo>
                <a:lnTo>
                  <a:pt x="1368" y="780"/>
                </a:lnTo>
                <a:lnTo>
                  <a:pt x="1353" y="793"/>
                </a:lnTo>
                <a:lnTo>
                  <a:pt x="1335" y="801"/>
                </a:lnTo>
                <a:lnTo>
                  <a:pt x="1315" y="803"/>
                </a:lnTo>
                <a:lnTo>
                  <a:pt x="1295" y="801"/>
                </a:lnTo>
                <a:lnTo>
                  <a:pt x="1277" y="793"/>
                </a:lnTo>
                <a:lnTo>
                  <a:pt x="1262" y="780"/>
                </a:lnTo>
                <a:lnTo>
                  <a:pt x="1250" y="766"/>
                </a:lnTo>
                <a:lnTo>
                  <a:pt x="1242" y="748"/>
                </a:lnTo>
                <a:lnTo>
                  <a:pt x="1240" y="727"/>
                </a:lnTo>
                <a:lnTo>
                  <a:pt x="1240" y="360"/>
                </a:lnTo>
                <a:lnTo>
                  <a:pt x="1242" y="340"/>
                </a:lnTo>
                <a:lnTo>
                  <a:pt x="1250" y="322"/>
                </a:lnTo>
                <a:lnTo>
                  <a:pt x="1262" y="307"/>
                </a:lnTo>
                <a:lnTo>
                  <a:pt x="1277" y="295"/>
                </a:lnTo>
                <a:lnTo>
                  <a:pt x="1295" y="287"/>
                </a:lnTo>
                <a:lnTo>
                  <a:pt x="1315" y="285"/>
                </a:lnTo>
                <a:close/>
                <a:moveTo>
                  <a:pt x="488" y="285"/>
                </a:moveTo>
                <a:lnTo>
                  <a:pt x="508" y="287"/>
                </a:lnTo>
                <a:lnTo>
                  <a:pt x="527" y="295"/>
                </a:lnTo>
                <a:lnTo>
                  <a:pt x="541" y="307"/>
                </a:lnTo>
                <a:lnTo>
                  <a:pt x="553" y="322"/>
                </a:lnTo>
                <a:lnTo>
                  <a:pt x="561" y="340"/>
                </a:lnTo>
                <a:lnTo>
                  <a:pt x="563" y="360"/>
                </a:lnTo>
                <a:lnTo>
                  <a:pt x="563" y="727"/>
                </a:lnTo>
                <a:lnTo>
                  <a:pt x="561" y="748"/>
                </a:lnTo>
                <a:lnTo>
                  <a:pt x="553" y="766"/>
                </a:lnTo>
                <a:lnTo>
                  <a:pt x="541" y="780"/>
                </a:lnTo>
                <a:lnTo>
                  <a:pt x="527" y="793"/>
                </a:lnTo>
                <a:lnTo>
                  <a:pt x="508" y="801"/>
                </a:lnTo>
                <a:lnTo>
                  <a:pt x="488" y="803"/>
                </a:lnTo>
                <a:lnTo>
                  <a:pt x="468" y="801"/>
                </a:lnTo>
                <a:lnTo>
                  <a:pt x="450" y="793"/>
                </a:lnTo>
                <a:lnTo>
                  <a:pt x="436" y="780"/>
                </a:lnTo>
                <a:lnTo>
                  <a:pt x="423" y="766"/>
                </a:lnTo>
                <a:lnTo>
                  <a:pt x="416" y="748"/>
                </a:lnTo>
                <a:lnTo>
                  <a:pt x="414" y="727"/>
                </a:lnTo>
                <a:lnTo>
                  <a:pt x="414" y="360"/>
                </a:lnTo>
                <a:lnTo>
                  <a:pt x="416" y="340"/>
                </a:lnTo>
                <a:lnTo>
                  <a:pt x="423" y="322"/>
                </a:lnTo>
                <a:lnTo>
                  <a:pt x="436" y="307"/>
                </a:lnTo>
                <a:lnTo>
                  <a:pt x="450" y="295"/>
                </a:lnTo>
                <a:lnTo>
                  <a:pt x="468" y="287"/>
                </a:lnTo>
                <a:lnTo>
                  <a:pt x="488" y="285"/>
                </a:lnTo>
                <a:close/>
                <a:moveTo>
                  <a:pt x="2555" y="0"/>
                </a:moveTo>
                <a:lnTo>
                  <a:pt x="2575" y="2"/>
                </a:lnTo>
                <a:lnTo>
                  <a:pt x="2593" y="10"/>
                </a:lnTo>
                <a:lnTo>
                  <a:pt x="2608" y="22"/>
                </a:lnTo>
                <a:lnTo>
                  <a:pt x="2619" y="37"/>
                </a:lnTo>
                <a:lnTo>
                  <a:pt x="2628" y="55"/>
                </a:lnTo>
                <a:lnTo>
                  <a:pt x="2630" y="75"/>
                </a:lnTo>
                <a:lnTo>
                  <a:pt x="2630" y="879"/>
                </a:lnTo>
                <a:lnTo>
                  <a:pt x="2628" y="899"/>
                </a:lnTo>
                <a:lnTo>
                  <a:pt x="2619" y="917"/>
                </a:lnTo>
                <a:lnTo>
                  <a:pt x="2608" y="931"/>
                </a:lnTo>
                <a:lnTo>
                  <a:pt x="2593" y="944"/>
                </a:lnTo>
                <a:lnTo>
                  <a:pt x="2575" y="951"/>
                </a:lnTo>
                <a:lnTo>
                  <a:pt x="2555" y="953"/>
                </a:lnTo>
                <a:lnTo>
                  <a:pt x="2535" y="951"/>
                </a:lnTo>
                <a:lnTo>
                  <a:pt x="2517" y="944"/>
                </a:lnTo>
                <a:lnTo>
                  <a:pt x="2502" y="931"/>
                </a:lnTo>
                <a:lnTo>
                  <a:pt x="2490" y="917"/>
                </a:lnTo>
                <a:lnTo>
                  <a:pt x="2483" y="899"/>
                </a:lnTo>
                <a:lnTo>
                  <a:pt x="2480" y="879"/>
                </a:lnTo>
                <a:lnTo>
                  <a:pt x="2480" y="75"/>
                </a:lnTo>
                <a:lnTo>
                  <a:pt x="2483" y="55"/>
                </a:lnTo>
                <a:lnTo>
                  <a:pt x="2490" y="37"/>
                </a:lnTo>
                <a:lnTo>
                  <a:pt x="2502" y="22"/>
                </a:lnTo>
                <a:lnTo>
                  <a:pt x="2517" y="10"/>
                </a:lnTo>
                <a:lnTo>
                  <a:pt x="2535" y="2"/>
                </a:lnTo>
                <a:lnTo>
                  <a:pt x="2555" y="0"/>
                </a:lnTo>
                <a:close/>
                <a:moveTo>
                  <a:pt x="902" y="0"/>
                </a:moveTo>
                <a:lnTo>
                  <a:pt x="922" y="2"/>
                </a:lnTo>
                <a:lnTo>
                  <a:pt x="939" y="10"/>
                </a:lnTo>
                <a:lnTo>
                  <a:pt x="955" y="22"/>
                </a:lnTo>
                <a:lnTo>
                  <a:pt x="967" y="37"/>
                </a:lnTo>
                <a:lnTo>
                  <a:pt x="974" y="55"/>
                </a:lnTo>
                <a:lnTo>
                  <a:pt x="977" y="75"/>
                </a:lnTo>
                <a:lnTo>
                  <a:pt x="977" y="879"/>
                </a:lnTo>
                <a:lnTo>
                  <a:pt x="974" y="899"/>
                </a:lnTo>
                <a:lnTo>
                  <a:pt x="967" y="917"/>
                </a:lnTo>
                <a:lnTo>
                  <a:pt x="955" y="931"/>
                </a:lnTo>
                <a:lnTo>
                  <a:pt x="939" y="944"/>
                </a:lnTo>
                <a:lnTo>
                  <a:pt x="922" y="951"/>
                </a:lnTo>
                <a:lnTo>
                  <a:pt x="902" y="953"/>
                </a:lnTo>
                <a:lnTo>
                  <a:pt x="882" y="951"/>
                </a:lnTo>
                <a:lnTo>
                  <a:pt x="864" y="944"/>
                </a:lnTo>
                <a:lnTo>
                  <a:pt x="848" y="931"/>
                </a:lnTo>
                <a:lnTo>
                  <a:pt x="837" y="917"/>
                </a:lnTo>
                <a:lnTo>
                  <a:pt x="829" y="899"/>
                </a:lnTo>
                <a:lnTo>
                  <a:pt x="826" y="879"/>
                </a:lnTo>
                <a:lnTo>
                  <a:pt x="826" y="75"/>
                </a:lnTo>
                <a:lnTo>
                  <a:pt x="829" y="55"/>
                </a:lnTo>
                <a:lnTo>
                  <a:pt x="837" y="37"/>
                </a:lnTo>
                <a:lnTo>
                  <a:pt x="848" y="22"/>
                </a:lnTo>
                <a:lnTo>
                  <a:pt x="864" y="10"/>
                </a:lnTo>
                <a:lnTo>
                  <a:pt x="882" y="2"/>
                </a:lnTo>
                <a:lnTo>
                  <a:pt x="902" y="0"/>
                </a:lnTo>
                <a:close/>
              </a:path>
            </a:pathLst>
          </a:custGeom>
          <a:solidFill>
            <a:schemeClr val="accent3"/>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Tree>
    <p:extLst>
      <p:ext uri="{BB962C8B-B14F-4D97-AF65-F5344CB8AC3E}">
        <p14:creationId xmlns:p14="http://schemas.microsoft.com/office/powerpoint/2010/main" val="73458005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cSld name="Title + subtitle">
    <p:spTree>
      <p:nvGrpSpPr>
        <p:cNvPr id="1" name=""/>
        <p:cNvGrpSpPr/>
        <p:nvPr/>
      </p:nvGrpSpPr>
      <p:grpSpPr>
        <a:xfrm>
          <a:off x="0" y="0"/>
          <a:ext cx="0" cy="0"/>
          <a:chOff x="0" y="0"/>
          <a:chExt cx="0" cy="0"/>
        </a:xfrm>
      </p:grpSpPr>
      <p:sp>
        <p:nvSpPr>
          <p:cNvPr id="2" name="Title 1"/>
          <p:cNvSpPr>
            <a:spLocks noGrp="1"/>
          </p:cNvSpPr>
          <p:nvPr>
            <p:ph type="ctrTitle"/>
          </p:nvPr>
        </p:nvSpPr>
        <p:spPr>
          <a:xfrm>
            <a:off x="229705" y="324162"/>
            <a:ext cx="8588861" cy="397764"/>
          </a:xfrm>
        </p:spPr>
        <p:txBody>
          <a:bodyPr vert="horz" lIns="82287" tIns="45715" rIns="82287" bIns="45715" rtlCol="0" anchor="b" anchorCtr="0">
            <a:noAutofit/>
          </a:bodyPr>
          <a:lstStyle>
            <a:lvl1pPr>
              <a:lnSpc>
                <a:spcPct val="85000"/>
              </a:lnSpc>
              <a:defRPr lang="en-US" sz="2400"/>
            </a:lvl1pPr>
          </a:lstStyle>
          <a:p>
            <a:pPr marL="0" lvl="0"/>
            <a:r>
              <a:rPr lang="en-US" dirty="0"/>
              <a:t>Click to edit Master title style</a:t>
            </a:r>
          </a:p>
        </p:txBody>
      </p:sp>
      <p:sp>
        <p:nvSpPr>
          <p:cNvPr id="3" name="Subtitle 2"/>
          <p:cNvSpPr>
            <a:spLocks noGrp="1"/>
          </p:cNvSpPr>
          <p:nvPr>
            <p:ph type="subTitle" idx="1"/>
          </p:nvPr>
        </p:nvSpPr>
        <p:spPr>
          <a:xfrm>
            <a:off x="229705" y="666560"/>
            <a:ext cx="8588861" cy="290708"/>
          </a:xfrm>
          <a:prstGeom prst="rect">
            <a:avLst/>
          </a:prstGeom>
        </p:spPr>
        <p:txBody>
          <a:bodyPr lIns="82296" rIns="82296">
            <a:normAutofit/>
          </a:bodyPr>
          <a:lstStyle>
            <a:lvl1pPr marL="0" indent="0" algn="l" defTabSz="685722" rtl="0" eaLnBrk="1" latinLnBrk="0" hangingPunct="1">
              <a:lnSpc>
                <a:spcPct val="80000"/>
              </a:lnSpc>
              <a:spcBef>
                <a:spcPct val="0"/>
              </a:spcBef>
              <a:buNone/>
              <a:defRPr lang="en-US" sz="1500" b="0" i="0" kern="1200" spc="0" baseline="0" dirty="0">
                <a:solidFill>
                  <a:schemeClr val="tx1"/>
                </a:solidFill>
                <a:latin typeface="Arial Regular" charset="0"/>
                <a:ea typeface="+mj-ea"/>
                <a:cs typeface="+mj-cs"/>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dirty="0"/>
              <a:t>Click to edit Master subtitle style</a:t>
            </a:r>
          </a:p>
        </p:txBody>
      </p:sp>
    </p:spTree>
    <p:extLst/>
  </p:cSld>
  <p:clrMapOvr>
    <a:masterClrMapping/>
  </p:clrMapOvr>
  <p:transition>
    <p:wipe dir="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5"/>
          <p:cNvSpPr>
            <a:spLocks noGrp="1"/>
          </p:cNvSpPr>
          <p:nvPr>
            <p:ph type="title"/>
          </p:nvPr>
        </p:nvSpPr>
        <p:spPr bwMode="auto">
          <a:xfrm>
            <a:off x="437766" y="341314"/>
            <a:ext cx="8345488" cy="520874"/>
          </a:xfrm>
          <a:prstGeom prst="rect">
            <a:avLst/>
          </a:prstGeom>
          <a:noFill/>
          <a:ln>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lvl="0"/>
            <a:r>
              <a:rPr lang="en-CA" dirty="0"/>
              <a:t>Click to edit Master title style</a:t>
            </a:r>
            <a:endParaRPr lang="en-GB" dirty="0"/>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Bullet">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59742" y="303064"/>
            <a:ext cx="8659976" cy="728782"/>
          </a:xfrm>
          <a:prstGeom prst="rect">
            <a:avLst/>
          </a:prstGeom>
        </p:spPr>
        <p:txBody>
          <a:bodyPr anchor="t" anchorCtr="0">
            <a:noAutofit/>
          </a:bodyPr>
          <a:lstStyle>
            <a:lvl1pPr algn="l">
              <a:lnSpc>
                <a:spcPct val="90000"/>
              </a:lnSpc>
              <a:defRPr sz="2500" b="0" i="0" spc="0" baseline="0">
                <a:solidFill>
                  <a:srgbClr val="00A2BF"/>
                </a:solidFill>
                <a:latin typeface="Arial Regular" charset="0"/>
                <a:cs typeface="CiscoSans Thin"/>
              </a:defRPr>
            </a:lvl1pPr>
          </a:lstStyle>
          <a:p>
            <a:r>
              <a:rPr lang="en-US" dirty="0"/>
              <a:t>Bullet Title Goes Here</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userDrawn="1">
  <p:cSld name="1_Custom">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email">
            <a:duotone>
              <a:schemeClr val="bg2">
                <a:shade val="45000"/>
                <a:satMod val="135000"/>
              </a:schemeClr>
              <a:prstClr val="white"/>
            </a:duotone>
            <a:extLst>
              <a:ext uri="{28A0092B-C50C-407E-A947-70E740481C1C}">
                <a14:useLocalDpi xmlns:a14="http://schemas.microsoft.com/office/drawing/2010/main"/>
              </a:ext>
            </a:extLst>
          </a:blip>
          <a:srcRect/>
          <a:stretch/>
        </p:blipFill>
        <p:spPr>
          <a:xfrm>
            <a:off x="0" y="-420"/>
            <a:ext cx="9144000" cy="5143500"/>
          </a:xfrm>
          <a:prstGeom prst="rect">
            <a:avLst/>
          </a:prstGeom>
        </p:spPr>
      </p:pic>
      <p:sp>
        <p:nvSpPr>
          <p:cNvPr id="5" name="Rectangle 7"/>
          <p:cNvSpPr>
            <a:spLocks noChangeArrowheads="1"/>
          </p:cNvSpPr>
          <p:nvPr userDrawn="1"/>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4ABDCABE-3F10-B64C-92F1-862014417034}" type="slidenum">
              <a:rPr lang="en-US" sz="600">
                <a:solidFill>
                  <a:srgbClr val="000000">
                    <a:alpha val="25000"/>
                  </a:srgbClr>
                </a:solidFill>
                <a:latin typeface="Arial Regular" charset="0"/>
                <a:ea typeface="ＭＳ Ｐゴシック" pitchFamily="34" charset="-128"/>
                <a:cs typeface="CiscoSans Thin"/>
              </a:rPr>
              <a:pPr algn="r" defTabSz="610744" fontAlgn="auto">
                <a:spcBef>
                  <a:spcPts val="0"/>
                </a:spcBef>
                <a:spcAft>
                  <a:spcPts val="0"/>
                </a:spcAft>
                <a:defRPr/>
              </a:pPr>
              <a:t>‹#›</a:t>
            </a:fld>
            <a:endParaRPr lang="en-US" sz="600" dirty="0">
              <a:solidFill>
                <a:srgbClr val="000000">
                  <a:alpha val="25000"/>
                </a:srgbClr>
              </a:solidFill>
              <a:latin typeface="Arial Regular" charset="0"/>
              <a:ea typeface="ＭＳ Ｐゴシック" pitchFamily="34" charset="-128"/>
              <a:cs typeface="CiscoSans Thin"/>
            </a:endParaRPr>
          </a:p>
        </p:txBody>
      </p:sp>
      <p:sp>
        <p:nvSpPr>
          <p:cNvPr id="6" name="Rectangle 4"/>
          <p:cNvSpPr>
            <a:spLocks noChangeArrowheads="1"/>
          </p:cNvSpPr>
          <p:nvPr userDrawn="1"/>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Regular" charset="0"/>
                <a:ea typeface="ＭＳ Ｐゴシック" pitchFamily="34" charset="-128"/>
                <a:cs typeface="CiscoSans Thin"/>
              </a:rPr>
              <a:t>© 2015  Cisco and/or its affiliates. All rights reserved.   Cisco Confidential</a:t>
            </a:r>
          </a:p>
        </p:txBody>
      </p:sp>
      <p:pic>
        <p:nvPicPr>
          <p:cNvPr id="7" name="Picture 2" descr="C:\Users\spius\Pictures\cisco logo blue gradient.png"/>
          <p:cNvPicPr>
            <a:picLocks noChangeAspect="1" noChangeArrowheads="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474175" y="4625773"/>
            <a:ext cx="431312" cy="265176"/>
          </a:xfrm>
          <a:prstGeom prst="rect">
            <a:avLst/>
          </a:prstGeom>
          <a:solidFill>
            <a:schemeClr val="bg2">
              <a:lumMod val="75000"/>
            </a:schemeClr>
          </a:solidFill>
          <a:extLst/>
        </p:spPr>
      </p:pic>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28625" y="1369219"/>
            <a:ext cx="8220075" cy="300752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6591300" y="4611291"/>
            <a:ext cx="2057400" cy="273844"/>
          </a:xfrm>
          <a:prstGeom prst="rect">
            <a:avLst/>
          </a:prstGeom>
        </p:spPr>
        <p:txBody>
          <a:bodyPr/>
          <a:lstStyle/>
          <a:p>
            <a:fld id="{44984D24-7954-CE45-8481-AC352361F236}" type="slidenum">
              <a:rPr lang="en-US" smtClean="0">
                <a:solidFill>
                  <a:srgbClr val="58585B"/>
                </a:solidFill>
                <a:ea typeface="ＭＳ Ｐゴシック" pitchFamily="34" charset="-128"/>
                <a:cs typeface=""/>
              </a:rPr>
              <a:pPr/>
              <a:t>‹#›</a:t>
            </a:fld>
            <a:endParaRPr lang="en-US">
              <a:solidFill>
                <a:srgbClr val="58585B"/>
              </a:solidFill>
              <a:ea typeface="ＭＳ Ｐゴシック" pitchFamily="34" charset="-128"/>
              <a:cs typeface=""/>
            </a:endParaRPr>
          </a:p>
        </p:txBody>
      </p:sp>
    </p:spTree>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Title Slide-animated gradient">
    <p:bg>
      <p:bgPr>
        <a:solidFill>
          <a:srgbClr val="39393B"/>
        </a:solidFill>
        <a:effectLst/>
      </p:bgPr>
    </p:bg>
    <p:spTree>
      <p:nvGrpSpPr>
        <p:cNvPr id="1" name=""/>
        <p:cNvGrpSpPr/>
        <p:nvPr/>
      </p:nvGrpSpPr>
      <p:grpSpPr>
        <a:xfrm>
          <a:off x="0" y="0"/>
          <a:ext cx="0" cy="0"/>
          <a:chOff x="0" y="0"/>
          <a:chExt cx="0" cy="0"/>
        </a:xfrm>
      </p:grpSpPr>
      <p:pic>
        <p:nvPicPr>
          <p:cNvPr id="7"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25450" y="323850"/>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8"/>
          <p:cNvGrpSpPr>
            <a:grpSpLocks/>
          </p:cNvGrpSpPr>
          <p:nvPr/>
        </p:nvGrpSpPr>
        <p:grpSpPr bwMode="auto">
          <a:xfrm>
            <a:off x="-9525" y="0"/>
            <a:ext cx="9144000" cy="2011363"/>
            <a:chOff x="-9339" y="0"/>
            <a:chExt cx="9144000" cy="2012111"/>
          </a:xfrm>
        </p:grpSpPr>
        <p:sp>
          <p:nvSpPr>
            <p:cNvPr id="9" name="Rectangle 8"/>
            <p:cNvSpPr/>
            <p:nvPr/>
          </p:nvSpPr>
          <p:spPr>
            <a:xfrm>
              <a:off x="-9339" y="0"/>
              <a:ext cx="9144000" cy="2012111"/>
            </a:xfrm>
            <a:prstGeom prst="rect">
              <a:avLst/>
            </a:prstGeom>
            <a:solidFill>
              <a:schemeClr val="bg1"/>
            </a:soli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endParaRPr>
            </a:p>
          </p:txBody>
        </p:sp>
        <p:sp>
          <p:nvSpPr>
            <p:cNvPr id="10" name="Rectangle 9"/>
            <p:cNvSpPr/>
            <p:nvPr/>
          </p:nvSpPr>
          <p:spPr>
            <a:xfrm>
              <a:off x="54161" y="31762"/>
              <a:ext cx="1344613" cy="992557"/>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pic>
          <p:nvPicPr>
            <p:cNvPr id="11" name="Picture 5"/>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270718" y="244748"/>
              <a:ext cx="941388" cy="585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1449574" y="1067197"/>
              <a:ext cx="2951162" cy="875038"/>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pic>
          <p:nvPicPr>
            <p:cNvPr id="13" name="Picture 15"/>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49004" y="1066801"/>
              <a:ext cx="1348984" cy="8759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6"/>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6253163" y="31988"/>
              <a:ext cx="2839732" cy="19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3"/>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450168" y="31988"/>
              <a:ext cx="2949991" cy="9966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1" name="Picture 5" descr="C:\Users\jenowens\Documents\0 WW Sales &amp; Partner Training\Branding\AJ81636.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4450959" y="31988"/>
              <a:ext cx="1752600" cy="19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2" name="Picture 1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43088" y="1093788"/>
            <a:ext cx="2533650" cy="822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Subtitle 2"/>
          <p:cNvSpPr>
            <a:spLocks noGrp="1"/>
          </p:cNvSpPr>
          <p:nvPr>
            <p:ph type="subTitle" idx="1"/>
          </p:nvPr>
        </p:nvSpPr>
        <p:spPr>
          <a:xfrm>
            <a:off x="469496" y="3793198"/>
            <a:ext cx="8296421" cy="288131"/>
          </a:xfrm>
          <a:prstGeom prst="rect">
            <a:avLst/>
          </a:prstGeom>
        </p:spPr>
        <p:txBody>
          <a:bodyPr lIns="91420" tIns="45710" rIns="91420" bIns="45710" anchor="b" anchorCtr="0">
            <a:noAutofit/>
          </a:bodyPr>
          <a:lstStyle>
            <a:lvl1pPr marL="0" indent="0" algn="l">
              <a:buNone/>
              <a:defRPr sz="1400" b="0" i="0">
                <a:solidFill>
                  <a:srgbClr val="FFFFFE"/>
                </a:solidFill>
                <a:latin typeface="+mn-lt"/>
                <a:cs typeface="CiscoSans"/>
              </a:defRPr>
            </a:lvl1pPr>
            <a:lvl2pPr marL="342856" indent="0" algn="ctr">
              <a:buNone/>
              <a:defRPr>
                <a:solidFill>
                  <a:schemeClr val="tx1">
                    <a:tint val="75000"/>
                  </a:schemeClr>
                </a:solidFill>
              </a:defRPr>
            </a:lvl2pPr>
            <a:lvl3pPr marL="685720" indent="0" algn="ctr">
              <a:buNone/>
              <a:defRPr>
                <a:solidFill>
                  <a:schemeClr val="tx1">
                    <a:tint val="75000"/>
                  </a:schemeClr>
                </a:solidFill>
              </a:defRPr>
            </a:lvl3pPr>
            <a:lvl4pPr marL="1028579" indent="0" algn="ctr">
              <a:buNone/>
              <a:defRPr>
                <a:solidFill>
                  <a:schemeClr val="tx1">
                    <a:tint val="75000"/>
                  </a:schemeClr>
                </a:solidFill>
              </a:defRPr>
            </a:lvl4pPr>
            <a:lvl5pPr marL="1371441" indent="0" algn="ctr">
              <a:buNone/>
              <a:defRPr>
                <a:solidFill>
                  <a:schemeClr val="tx1">
                    <a:tint val="75000"/>
                  </a:schemeClr>
                </a:solidFill>
              </a:defRPr>
            </a:lvl5pPr>
            <a:lvl6pPr marL="1714297" indent="0" algn="ctr">
              <a:buNone/>
              <a:defRPr>
                <a:solidFill>
                  <a:schemeClr val="tx1">
                    <a:tint val="75000"/>
                  </a:schemeClr>
                </a:solidFill>
              </a:defRPr>
            </a:lvl6pPr>
            <a:lvl7pPr marL="2057161" indent="0" algn="ctr">
              <a:buNone/>
              <a:defRPr>
                <a:solidFill>
                  <a:schemeClr val="tx1">
                    <a:tint val="75000"/>
                  </a:schemeClr>
                </a:solidFill>
              </a:defRPr>
            </a:lvl7pPr>
            <a:lvl8pPr marL="2400020" indent="0" algn="ctr">
              <a:buNone/>
              <a:defRPr>
                <a:solidFill>
                  <a:schemeClr val="tx1">
                    <a:tint val="75000"/>
                  </a:schemeClr>
                </a:solidFill>
              </a:defRPr>
            </a:lvl8pPr>
            <a:lvl9pPr marL="2742882" indent="0" algn="ctr">
              <a:buNone/>
              <a:defRPr>
                <a:solidFill>
                  <a:schemeClr val="tx1">
                    <a:tint val="75000"/>
                  </a:schemeClr>
                </a:solidFill>
              </a:defRPr>
            </a:lvl9pPr>
          </a:lstStyle>
          <a:p>
            <a:r>
              <a:rPr lang="en-US"/>
              <a:t>Click to edit Master subtitle style</a:t>
            </a:r>
            <a:endParaRPr lang="en-US" dirty="0"/>
          </a:p>
        </p:txBody>
      </p:sp>
      <p:sp>
        <p:nvSpPr>
          <p:cNvPr id="17" name="Text Placeholder 38"/>
          <p:cNvSpPr>
            <a:spLocks noGrp="1"/>
          </p:cNvSpPr>
          <p:nvPr>
            <p:ph type="body" sz="quarter" idx="11"/>
          </p:nvPr>
        </p:nvSpPr>
        <p:spPr>
          <a:xfrm>
            <a:off x="469496" y="4033195"/>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8" name="Text Placeholder 40"/>
          <p:cNvSpPr>
            <a:spLocks noGrp="1"/>
          </p:cNvSpPr>
          <p:nvPr>
            <p:ph type="body" sz="quarter" idx="12"/>
          </p:nvPr>
        </p:nvSpPr>
        <p:spPr>
          <a:xfrm>
            <a:off x="469496" y="4273192"/>
            <a:ext cx="8296421" cy="288131"/>
          </a:xfrm>
          <a:prstGeom prst="rect">
            <a:avLst/>
          </a:prstGeom>
        </p:spPr>
        <p:txBody>
          <a:bodyPr lIns="91420" tIns="45710" rIns="91420" bIns="45710"/>
          <a:lstStyle>
            <a:lvl1pPr marL="0" indent="0" algn="l">
              <a:buFontTx/>
              <a:buNone/>
              <a:defRPr lang="en-US" sz="1400" b="0" i="0" kern="1200" dirty="0" smtClean="0">
                <a:solidFill>
                  <a:srgbClr val="FFFFFE"/>
                </a:solidFill>
                <a:latin typeface="+mn-lt"/>
                <a:ea typeface="+mn-ea"/>
                <a:cs typeface="CiscoSans ExtraLight" pitchFamily="34" charset="0"/>
              </a:defRPr>
            </a:lvl1pPr>
            <a:lvl2pPr>
              <a:buFontTx/>
              <a:buNone/>
              <a:defRPr lang="en-US" sz="1500" kern="1200" dirty="0" smtClean="0">
                <a:solidFill>
                  <a:schemeClr val="bg1"/>
                </a:solidFill>
                <a:latin typeface="+mj-lt"/>
                <a:ea typeface="+mn-ea"/>
                <a:cs typeface="+mn-cs"/>
              </a:defRPr>
            </a:lvl2pPr>
            <a:lvl3pPr>
              <a:buFontTx/>
              <a:buNone/>
              <a:defRPr lang="en-US" sz="1500" kern="1200" dirty="0" smtClean="0">
                <a:solidFill>
                  <a:schemeClr val="bg1"/>
                </a:solidFill>
                <a:latin typeface="+mj-lt"/>
                <a:ea typeface="+mn-ea"/>
                <a:cs typeface="+mn-cs"/>
              </a:defRPr>
            </a:lvl3pPr>
            <a:lvl4pPr>
              <a:buFontTx/>
              <a:buNone/>
              <a:defRPr lang="en-US" sz="1500" kern="1200" dirty="0" smtClean="0">
                <a:solidFill>
                  <a:schemeClr val="bg1"/>
                </a:solidFill>
                <a:latin typeface="+mj-lt"/>
                <a:ea typeface="+mn-ea"/>
                <a:cs typeface="+mn-cs"/>
              </a:defRPr>
            </a:lvl4pPr>
            <a:lvl5pPr>
              <a:buFontTx/>
              <a:buNone/>
              <a:defRPr lang="en-US" sz="1500" kern="1200" dirty="0" smtClean="0">
                <a:solidFill>
                  <a:schemeClr val="bg1"/>
                </a:solidFill>
                <a:latin typeface="+mj-lt"/>
                <a:ea typeface="+mn-ea"/>
                <a:cs typeface="+mn-cs"/>
              </a:defRPr>
            </a:lvl5pPr>
          </a:lstStyle>
          <a:p>
            <a:pPr lvl="0"/>
            <a:r>
              <a:rPr lang="en-US"/>
              <a:t>Click to edit Master text styles</a:t>
            </a:r>
          </a:p>
        </p:txBody>
      </p:sp>
      <p:sp>
        <p:nvSpPr>
          <p:cNvPr id="19" name="Text Placeholder 2"/>
          <p:cNvSpPr>
            <a:spLocks noGrp="1"/>
          </p:cNvSpPr>
          <p:nvPr>
            <p:ph type="body" sz="quarter" idx="13"/>
          </p:nvPr>
        </p:nvSpPr>
        <p:spPr>
          <a:xfrm>
            <a:off x="463292" y="3211463"/>
            <a:ext cx="8302625" cy="299001"/>
          </a:xfrm>
          <a:prstGeom prst="rect">
            <a:avLst/>
          </a:prstGeom>
        </p:spPr>
        <p:txBody>
          <a:bodyPr lIns="91420" tIns="45710" rIns="91420" bIns="45710"/>
          <a:lstStyle>
            <a:lvl1pPr marL="0" indent="0">
              <a:buFont typeface="Arial" panose="020B0604020202020204" pitchFamily="34" charset="0"/>
              <a:buNone/>
              <a:defRPr sz="2200" baseline="0">
                <a:solidFill>
                  <a:srgbClr val="FFFFFE"/>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20" name="Title 1"/>
          <p:cNvSpPr>
            <a:spLocks noGrp="1"/>
          </p:cNvSpPr>
          <p:nvPr>
            <p:ph type="ctrTitle"/>
          </p:nvPr>
        </p:nvSpPr>
        <p:spPr>
          <a:xfrm>
            <a:off x="425765" y="2639977"/>
            <a:ext cx="8340152" cy="644730"/>
          </a:xfrm>
          <a:prstGeom prst="rect">
            <a:avLst/>
          </a:prstGeom>
        </p:spPr>
        <p:txBody>
          <a:bodyPr anchor="b"/>
          <a:lstStyle>
            <a:lvl1pPr marL="0" indent="0" algn="l">
              <a:lnSpc>
                <a:spcPct val="90000"/>
              </a:lnSpc>
              <a:buFont typeface="Arial" panose="020B0604020202020204" pitchFamily="34" charset="0"/>
              <a:buNone/>
              <a:defRPr sz="4800" b="0" i="0" spc="0" baseline="0">
                <a:solidFill>
                  <a:srgbClr val="FFFFFE"/>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3_Segue">
    <p:bg>
      <p:bgPr>
        <a:solidFill>
          <a:srgbClr val="39393B"/>
        </a:solidFill>
        <a:effectLst/>
      </p:bgPr>
    </p:bg>
    <p:spTree>
      <p:nvGrpSpPr>
        <p:cNvPr id="1" name=""/>
        <p:cNvGrpSpPr/>
        <p:nvPr/>
      </p:nvGrpSpPr>
      <p:grpSpPr>
        <a:xfrm>
          <a:off x="0" y="0"/>
          <a:ext cx="0" cy="0"/>
          <a:chOff x="0" y="0"/>
          <a:chExt cx="0" cy="0"/>
        </a:xfrm>
      </p:grpSpPr>
      <p:sp>
        <p:nvSpPr>
          <p:cNvPr id="3" name="Rectangle 7"/>
          <p:cNvSpPr>
            <a:spLocks noChangeArrowheads="1"/>
          </p:cNvSpPr>
          <p:nvPr/>
        </p:nvSpPr>
        <p:spPr bwMode="ltGray">
          <a:xfrm>
            <a:off x="7257510" y="487498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9D0E4CDE-323C-4F44-9B2F-000ABB332CCC}" type="slidenum">
              <a:rPr lang="en-US" sz="600">
                <a:solidFill>
                  <a:srgbClr val="FFFFFF">
                    <a:alpha val="60000"/>
                  </a:srgbClr>
                </a:solidFill>
                <a:latin typeface="Arial"/>
                <a:ea typeface=""/>
                <a:cs typeface="CiscoSans Thin"/>
              </a:rPr>
              <a:pPr algn="r" defTabSz="610744"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4" name="Rectangle 4"/>
          <p:cNvSpPr>
            <a:spLocks noChangeArrowheads="1"/>
          </p:cNvSpPr>
          <p:nvPr/>
        </p:nvSpPr>
        <p:spPr bwMode="ltGray">
          <a:xfrm>
            <a:off x="4609311" y="487373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ea typeface=""/>
                <a:cs typeface="CiscoSans Thin"/>
              </a:rPr>
              <a:t>© 2017  Cisco and/or its affiliates. All rights reserved.   Cisco Confidential</a:t>
            </a:r>
          </a:p>
        </p:txBody>
      </p:sp>
      <p:pic>
        <p:nvPicPr>
          <p:cNvPr id="5" name="Picture 2"/>
          <p:cNvPicPr>
            <a:picLocks noChangeAspect="1" noChangeArrowheads="1"/>
          </p:cNvPicPr>
          <p:nvPr/>
        </p:nvPicPr>
        <p:blipFill>
          <a:blip r:embed="rId2">
            <a:grayscl/>
            <a:biLevel thresh="50000"/>
            <a:extLst>
              <a:ext uri="{28A0092B-C50C-407E-A947-70E740481C1C}">
                <a14:useLocalDpi xmlns:a14="http://schemas.microsoft.com/office/drawing/2010/main" val="0"/>
              </a:ext>
            </a:extLst>
          </a:blip>
          <a:srcRect/>
          <a:stretch>
            <a:fillRect/>
          </a:stretch>
        </p:blipFill>
        <p:spPr bwMode="auto">
          <a:xfrm>
            <a:off x="477838" y="4625975"/>
            <a:ext cx="423862"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p:cNvSpPr/>
          <p:nvPr/>
        </p:nvSpPr>
        <p:spPr>
          <a:xfrm>
            <a:off x="0" y="4411663"/>
            <a:ext cx="9144000" cy="92075"/>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pic>
        <p:nvPicPr>
          <p:cNvPr id="8"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37475" y="4624388"/>
            <a:ext cx="14065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5_Segue">
    <p:bg>
      <p:bgPr>
        <a:solidFill>
          <a:srgbClr val="39393B"/>
        </a:solidFill>
        <a:effectLst/>
      </p:bgPr>
    </p:bg>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2">
            <a:grayscl/>
            <a:biLevel thresh="50000"/>
            <a:extLst>
              <a:ext uri="{28A0092B-C50C-407E-A947-70E740481C1C}">
                <a14:useLocalDpi xmlns:a14="http://schemas.microsoft.com/office/drawing/2010/main" val="0"/>
              </a:ext>
            </a:extLst>
          </a:blip>
          <a:srcRect/>
          <a:stretch>
            <a:fillRect/>
          </a:stretch>
        </p:blipFill>
        <p:spPr bwMode="auto">
          <a:xfrm>
            <a:off x="477838" y="4625975"/>
            <a:ext cx="423862" cy="265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p:nvSpPr>
        <p:spPr>
          <a:xfrm>
            <a:off x="0" y="4411663"/>
            <a:ext cx="9144000" cy="92075"/>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sp>
        <p:nvSpPr>
          <p:cNvPr id="5" name="Rectangle 7"/>
          <p:cNvSpPr>
            <a:spLocks noChangeArrowheads="1"/>
          </p:cNvSpPr>
          <p:nvPr/>
        </p:nvSpPr>
        <p:spPr bwMode="ltGray">
          <a:xfrm>
            <a:off x="7257510" y="485466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9D76EB9A-20CE-4E22-AB47-25A459B57E7C}" type="slidenum">
              <a:rPr lang="en-US" sz="600">
                <a:solidFill>
                  <a:srgbClr val="FFFFFF">
                    <a:alpha val="60000"/>
                  </a:srgbClr>
                </a:solidFill>
                <a:latin typeface="Arial"/>
                <a:ea typeface=""/>
                <a:cs typeface="CiscoSans Thin"/>
              </a:rPr>
              <a:pPr algn="r" defTabSz="610744" fontAlgn="auto">
                <a:spcBef>
                  <a:spcPts val="0"/>
                </a:spcBef>
                <a:spcAft>
                  <a:spcPts val="0"/>
                </a:spcAft>
                <a:defRPr/>
              </a:pPr>
              <a:t>‹#›</a:t>
            </a:fld>
            <a:endParaRPr lang="en-US" sz="600" dirty="0">
              <a:solidFill>
                <a:srgbClr val="FFFFFF">
                  <a:alpha val="60000"/>
                </a:srgbClr>
              </a:solidFill>
              <a:latin typeface="Arial"/>
              <a:ea typeface=""/>
              <a:cs typeface="CiscoSans Thin"/>
            </a:endParaRPr>
          </a:p>
        </p:txBody>
      </p:sp>
      <p:sp>
        <p:nvSpPr>
          <p:cNvPr id="7" name="Rectangle 4"/>
          <p:cNvSpPr>
            <a:spLocks noChangeArrowheads="1"/>
          </p:cNvSpPr>
          <p:nvPr/>
        </p:nvSpPr>
        <p:spPr bwMode="ltGray">
          <a:xfrm>
            <a:off x="4609311" y="485341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FFFFFF">
                    <a:alpha val="60000"/>
                  </a:srgbClr>
                </a:solidFill>
                <a:latin typeface="Arial"/>
                <a:ea typeface=""/>
                <a:cs typeface="CiscoSans Thin"/>
              </a:rPr>
              <a:t>© 2017  Cisco and/or its affiliates. All rights reserved.   Cisco Confidential</a:t>
            </a:r>
          </a:p>
        </p:txBody>
      </p:sp>
      <p:pic>
        <p:nvPicPr>
          <p:cNvPr id="8" name="Picture 1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37475" y="4624388"/>
            <a:ext cx="14065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itle 1"/>
          <p:cNvSpPr>
            <a:spLocks noGrp="1"/>
          </p:cNvSpPr>
          <p:nvPr>
            <p:ph type="ctrTitle"/>
          </p:nvPr>
        </p:nvSpPr>
        <p:spPr>
          <a:xfrm>
            <a:off x="416425" y="915409"/>
            <a:ext cx="7598042" cy="2569946"/>
          </a:xfrm>
          <a:prstGeom prst="rect">
            <a:avLst/>
          </a:prstGeom>
        </p:spPr>
        <p:txBody>
          <a:bodyPr anchor="b">
            <a:noAutofit/>
          </a:bodyPr>
          <a:lstStyle>
            <a:lvl1pPr marL="0" indent="0" algn="l">
              <a:lnSpc>
                <a:spcPct val="90000"/>
              </a:lnSpc>
              <a:buFont typeface="Arial" panose="020B0604020202020204" pitchFamily="34" charset="0"/>
              <a:buNone/>
              <a:defRPr sz="4600" b="0" i="0" spc="0" baseline="0">
                <a:solidFill>
                  <a:schemeClr val="bg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Multi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mn-lt"/>
                <a:cs typeface="CiscoSans ExtraLight"/>
              </a:defRPr>
            </a:lvl1pPr>
          </a:lstStyle>
          <a:p>
            <a:pPr lvl="0"/>
            <a:r>
              <a:rPr lang="en-US"/>
              <a:t>Click to edit Master text styles</a:t>
            </a:r>
          </a:p>
        </p:txBody>
      </p:sp>
      <p:sp>
        <p:nvSpPr>
          <p:cNvPr id="6"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347663" indent="-290513">
              <a:lnSpc>
                <a:spcPct val="95000"/>
              </a:lnSpc>
              <a:spcBef>
                <a:spcPts val="1110"/>
              </a:spcBef>
              <a:buClr>
                <a:schemeClr val="tx2"/>
              </a:buClr>
              <a:buSzPct val="80000"/>
              <a:buFont typeface="Wingdings" panose="05000000000000000000" pitchFamily="2" charset="2"/>
              <a:buChar char="§"/>
              <a:defRPr sz="28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
        <p:nvSpPr>
          <p:cNvPr id="5"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cSld name="2_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45456" y="914400"/>
            <a:ext cx="8582751" cy="3601598"/>
          </a:xfrm>
          <a:prstGeom prst="rect">
            <a:avLst/>
          </a:prstGeom>
        </p:spPr>
        <p:txBody>
          <a:bodyPr lIns="91424" tIns="45712" rIns="91424" bIns="45712">
            <a:noAutofit/>
          </a:bodyPr>
          <a:lstStyle>
            <a:lvl1pPr marL="280940" indent="-223801">
              <a:lnSpc>
                <a:spcPct val="95000"/>
              </a:lnSpc>
              <a:spcBef>
                <a:spcPts val="1110"/>
              </a:spcBef>
              <a:buClr>
                <a:schemeClr val="tx2"/>
              </a:buClr>
              <a:buSzPct val="80000"/>
              <a:buFont typeface="Wingdings" panose="05000000000000000000" pitchFamily="2" charset="2"/>
              <a:buChar char="§"/>
              <a:defRPr sz="2000" b="0" i="0">
                <a:solidFill>
                  <a:schemeClr val="tx2"/>
                </a:solidFill>
                <a:latin typeface="Arial" panose="020B0604020202020204" pitchFamily="34" charset="0"/>
                <a:cs typeface="Arial" panose="020B0604020202020204" pitchFamily="34" charset="0"/>
              </a:defRPr>
            </a:lvl1pPr>
            <a:lvl2pPr marL="507916" indent="-215864">
              <a:lnSpc>
                <a:spcPct val="95000"/>
              </a:lnSpc>
              <a:spcBef>
                <a:spcPts val="450"/>
              </a:spcBef>
              <a:buClr>
                <a:schemeClr val="tx2"/>
              </a:buClr>
              <a:buSzPct val="80000"/>
              <a:buFont typeface="Wingdings" panose="05000000000000000000" pitchFamily="2" charset="2"/>
              <a:buChar char="§"/>
              <a:defRPr sz="1800" b="0" i="0">
                <a:solidFill>
                  <a:schemeClr val="tx2"/>
                </a:solidFill>
                <a:latin typeface="Arial" panose="020B0604020202020204" pitchFamily="34" charset="0"/>
                <a:cs typeface="Arial" panose="020B0604020202020204" pitchFamily="34" charset="0"/>
              </a:defRPr>
            </a:lvl2pPr>
            <a:lvl3pPr marL="747589" indent="-171422">
              <a:buClr>
                <a:schemeClr val="tx2"/>
              </a:buClr>
              <a:buSzPct val="80000"/>
              <a:buFont typeface="Wingdings" panose="05000000000000000000" pitchFamily="2" charset="2"/>
              <a:buChar char="§"/>
              <a:defRPr sz="1600" b="0" i="0">
                <a:solidFill>
                  <a:schemeClr val="tx2"/>
                </a:solidFill>
                <a:latin typeface="Arial" panose="020B0604020202020204" pitchFamily="34" charset="0"/>
                <a:cs typeface="Arial" panose="020B0604020202020204" pitchFamily="34" charset="0"/>
              </a:defRPr>
            </a:lvl3pPr>
            <a:lvl4pPr marL="911073" indent="-171422">
              <a:buClr>
                <a:schemeClr val="tx2"/>
              </a:buClr>
              <a:buSzPct val="80000"/>
              <a:buFont typeface="Wingdings" panose="05000000000000000000" pitchFamily="2" charset="2"/>
              <a:buChar char="§"/>
              <a:defRPr sz="1400" b="0" i="0">
                <a:solidFill>
                  <a:schemeClr val="tx2"/>
                </a:solidFill>
                <a:latin typeface="Arial" panose="020B0604020202020204" pitchFamily="34" charset="0"/>
                <a:cs typeface="Arial" panose="020B0604020202020204" pitchFamily="34" charset="0"/>
              </a:defRPr>
            </a:lvl4pPr>
            <a:lvl5pPr marL="1082495" indent="-168247">
              <a:buClr>
                <a:schemeClr val="tx2"/>
              </a:buClr>
              <a:buSzPct val="80000"/>
              <a:buFont typeface="Wingdings" panose="05000000000000000000" pitchFamily="2" charset="2"/>
              <a:buChar char="§"/>
              <a:defRPr sz="1200" b="0" i="0">
                <a:solidFill>
                  <a:schemeClr val="tx2"/>
                </a:solidFill>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1"/>
          <p:cNvSpPr>
            <a:spLocks noGrp="1"/>
          </p:cNvSpPr>
          <p:nvPr>
            <p:ph type="ctrTitle" hasCustomPrompt="1"/>
          </p:nvPr>
        </p:nvSpPr>
        <p:spPr>
          <a:xfrm>
            <a:off x="18288" y="27432"/>
            <a:ext cx="8339328" cy="649224"/>
          </a:xfrm>
          <a:prstGeom prst="rect">
            <a:avLst/>
          </a:prstGeom>
        </p:spPr>
        <p:txBody>
          <a:bodyPr anchor="ctr" anchorCtr="0">
            <a:noAutofit/>
          </a:bodyPr>
          <a:lstStyle>
            <a:lvl1pPr algn="l">
              <a:lnSpc>
                <a:spcPct val="90000"/>
              </a:lnSpc>
              <a:defRPr sz="2800" b="0" i="0" spc="0" baseline="0">
                <a:solidFill>
                  <a:schemeClr val="bg1"/>
                </a:solidFill>
                <a:latin typeface="Arial" panose="020B0604020202020204" pitchFamily="34" charset="0"/>
                <a:cs typeface="Arial" panose="020B0604020202020204" pitchFamily="34" charset="0"/>
              </a:defRPr>
            </a:lvl1pPr>
          </a:lstStyle>
          <a:p>
            <a:r>
              <a:rPr lang="en-US" dirty="0"/>
              <a:t>Bullet Title Goes Here</a:t>
            </a:r>
          </a:p>
        </p:txBody>
      </p:sp>
    </p:spTree>
    <p:extLst>
      <p:ext uri="{BB962C8B-B14F-4D97-AF65-F5344CB8AC3E}">
        <p14:creationId xmlns:p14="http://schemas.microsoft.com/office/powerpoint/2010/main" val="433612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37766" y="1347788"/>
            <a:ext cx="8345488"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2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
        <p:nvSpPr>
          <p:cNvPr id="5"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Conten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89660" y="895601"/>
            <a:ext cx="8398739" cy="3168210"/>
          </a:xfrm>
          <a:prstGeom prst="rect">
            <a:avLst/>
          </a:prstGeom>
        </p:spPr>
        <p:txBody>
          <a:bodyPr lIns="91420" tIns="45710" rIns="91420" bIns="45710">
            <a:noAutofit/>
          </a:bodyPr>
          <a:lstStyle>
            <a:lvl1pPr marL="57136" indent="0">
              <a:lnSpc>
                <a:spcPct val="95000"/>
              </a:lnSpc>
              <a:spcBef>
                <a:spcPts val="1110"/>
              </a:spcBef>
              <a:buClr>
                <a:schemeClr val="tx1"/>
              </a:buClr>
              <a:buSzPct val="80000"/>
              <a:buFont typeface="Arial"/>
              <a:buNone/>
              <a:defRPr sz="3700" b="0" i="0">
                <a:solidFill>
                  <a:schemeClr val="tx2"/>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576143" indent="0">
              <a:buClr>
                <a:schemeClr val="tx1"/>
              </a:buClr>
              <a:buSzPct val="80000"/>
              <a:buFont typeface="Arial"/>
              <a:buNone/>
              <a:defRPr sz="1600" b="0" i="0">
                <a:solidFill>
                  <a:srgbClr val="676767"/>
                </a:solidFill>
                <a:latin typeface="+mn-lt"/>
                <a:cs typeface="CiscoSans ExtraLight"/>
              </a:defRPr>
            </a:lvl3pPr>
            <a:lvl4pPr marL="739620" indent="0">
              <a:buClr>
                <a:schemeClr val="tx1"/>
              </a:buClr>
              <a:buSzPct val="80000"/>
              <a:buFont typeface="Arial"/>
              <a:buNone/>
              <a:defRPr sz="1400" b="0" i="0">
                <a:solidFill>
                  <a:srgbClr val="676767"/>
                </a:solidFill>
                <a:latin typeface="+mn-lt"/>
                <a:cs typeface="CiscoSans ExtraLight"/>
              </a:defRPr>
            </a:lvl4pPr>
            <a:lvl5pPr marL="914210" indent="0">
              <a:buClr>
                <a:schemeClr val="tx1"/>
              </a:buClr>
              <a:buSzPct val="80000"/>
              <a:buFont typeface="Arial"/>
              <a:buNone/>
              <a:defRPr sz="1200" b="0" i="0">
                <a:solidFill>
                  <a:srgbClr val="676767"/>
                </a:solidFill>
                <a:latin typeface="+mn-lt"/>
                <a:cs typeface="CiscoSans ExtraLight"/>
              </a:defRPr>
            </a:lvl5pPr>
          </a:lstStyle>
          <a:p>
            <a:pPr lvl="0"/>
            <a:r>
              <a:rPr lang="en-US"/>
              <a:t>Click to edit Master text styles</a:t>
            </a:r>
          </a:p>
        </p:txBody>
      </p:sp>
    </p:spTree>
    <p:extLst/>
  </p:cSld>
  <p:clrMapOvr>
    <a:masterClrMapping/>
  </p:clrMapOvr>
  <p:transition spd="med">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Bullet Slide Without Titl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28639" y="876359"/>
            <a:ext cx="8259762" cy="3168210"/>
          </a:xfrm>
          <a:prstGeom prst="rect">
            <a:avLst/>
          </a:prstGeom>
        </p:spPr>
        <p:txBody>
          <a:bodyPr lIns="91420" tIns="45710" rIns="91420" bIns="45710">
            <a:noAutofit/>
          </a:bodyPr>
          <a:lstStyle>
            <a:lvl1pPr marL="212400" indent="-392400">
              <a:lnSpc>
                <a:spcPts val="4440"/>
              </a:lnSpc>
              <a:spcBef>
                <a:spcPts val="0"/>
              </a:spcBef>
              <a:buClr>
                <a:schemeClr val="tx2"/>
              </a:buClr>
              <a:buSzPct val="80000"/>
              <a:buFont typeface="Wingdings" panose="05000000000000000000" pitchFamily="2" charset="2"/>
              <a:buChar char="§"/>
              <a:defRPr sz="3700" b="0" i="0">
                <a:solidFill>
                  <a:schemeClr val="tx2"/>
                </a:solidFill>
                <a:latin typeface="+mn-lt"/>
                <a:cs typeface="CiscoSans ExtraLight"/>
              </a:defRPr>
            </a:lvl1pPr>
            <a:lvl2pPr marL="507895" indent="-215855">
              <a:lnSpc>
                <a:spcPct val="95000"/>
              </a:lnSpc>
              <a:spcBef>
                <a:spcPts val="450"/>
              </a:spcBef>
              <a:buClr>
                <a:schemeClr val="tx1"/>
              </a:buClr>
              <a:buSzPct val="80000"/>
              <a:buFont typeface="Arial"/>
              <a:buChar char="•"/>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US"/>
              <a:t>Click to edit Master text styles</a:t>
            </a:r>
          </a:p>
        </p:txBody>
      </p:sp>
    </p:spTree>
    <p:extLst/>
  </p:cSld>
  <p:clrMapOvr>
    <a:masterClrMapping/>
  </p:clrMapOvr>
  <p:transition spd="med">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ulle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62301" y="1347788"/>
            <a:ext cx="8277344" cy="3168210"/>
          </a:xfrm>
          <a:prstGeom prst="rect">
            <a:avLst/>
          </a:prstGeom>
        </p:spPr>
        <p:txBody>
          <a:bodyPr lIns="91420" tIns="45710" rIns="91420" bIns="45710">
            <a:noAutofit/>
          </a:bodyPr>
          <a:lstStyle>
            <a:lvl1pPr marL="280928" indent="-223792">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07895" indent="-215855">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7558" indent="-171415">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1035" indent="-171415">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1082450" indent="-16824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_Heavy Text">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37766" y="1347788"/>
            <a:ext cx="3901123" cy="3083094"/>
          </a:xfrm>
          <a:prstGeom prst="rect">
            <a:avLst/>
          </a:prstGeom>
        </p:spPr>
        <p:txBody>
          <a:bodyPr lIns="91420" tIns="45710" rIns="91420" bIns="45710">
            <a:noAutofit/>
          </a:bodyPr>
          <a:lstStyle>
            <a:lvl1pPr marL="228600" indent="-173038">
              <a:lnSpc>
                <a:spcPct val="95000"/>
              </a:lnSpc>
              <a:spcBef>
                <a:spcPts val="1110"/>
              </a:spcBef>
              <a:buClr>
                <a:schemeClr val="tx2"/>
              </a:buClr>
              <a:buSzPct val="80000"/>
              <a:buFont typeface="Wingdings" panose="05000000000000000000" pitchFamily="2" charset="2"/>
              <a:buChar char="§"/>
              <a:defRPr sz="2000" b="0" i="0">
                <a:solidFill>
                  <a:schemeClr val="tx2"/>
                </a:solidFill>
                <a:latin typeface="+mn-lt"/>
                <a:cs typeface="CiscoSans ExtraLight"/>
              </a:defRPr>
            </a:lvl1pPr>
            <a:lvl2pPr marL="527000" indent="-285750">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742855" indent="-285750">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914269" indent="-285750">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382" indent="-171450">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3"/>
          <p:cNvSpPr>
            <a:spLocks noGrp="1"/>
          </p:cNvSpPr>
          <p:nvPr>
            <p:ph type="body" sz="quarter" idx="11"/>
          </p:nvPr>
        </p:nvSpPr>
        <p:spPr>
          <a:xfrm>
            <a:off x="4564794" y="1347788"/>
            <a:ext cx="4218460"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Wingdings" panose="05000000000000000000" pitchFamily="2" charset="2"/>
              <a:buChar char="§"/>
              <a:defRPr sz="2000" b="0" i="0" baseline="0">
                <a:solidFill>
                  <a:schemeClr val="tx2"/>
                </a:solidFill>
                <a:latin typeface="+mn-lt"/>
                <a:cs typeface="CiscoSans ExtraLight"/>
              </a:defRPr>
            </a:lvl1pPr>
            <a:lvl2pPr marL="457105" indent="-215855">
              <a:lnSpc>
                <a:spcPct val="95000"/>
              </a:lnSpc>
              <a:spcBef>
                <a:spcPts val="450"/>
              </a:spcBef>
              <a:buClr>
                <a:schemeClr val="tx2"/>
              </a:buClr>
              <a:buSzPct val="80000"/>
              <a:buFont typeface="Wingdings" panose="05000000000000000000" pitchFamily="2" charset="2"/>
              <a:buChar char="§"/>
              <a:defRPr sz="1800" b="0" i="0">
                <a:solidFill>
                  <a:schemeClr val="tx2"/>
                </a:solidFill>
                <a:latin typeface="+mn-lt"/>
                <a:cs typeface="CiscoSans ExtraLight"/>
              </a:defRPr>
            </a:lvl2pPr>
            <a:lvl3pPr marL="628520" indent="-171415">
              <a:buClr>
                <a:schemeClr val="tx2"/>
              </a:buClr>
              <a:buSzPct val="80000"/>
              <a:buFont typeface="Wingdings" panose="05000000000000000000" pitchFamily="2" charset="2"/>
              <a:buChar char="§"/>
              <a:defRPr sz="1600" b="0" i="0">
                <a:solidFill>
                  <a:schemeClr val="tx2"/>
                </a:solidFill>
                <a:latin typeface="+mn-lt"/>
                <a:cs typeface="CiscoSans ExtraLight"/>
              </a:defRPr>
            </a:lvl3pPr>
            <a:lvl4pPr marL="799934" indent="-171415">
              <a:buClr>
                <a:schemeClr val="tx2"/>
              </a:buClr>
              <a:buSzPct val="80000"/>
              <a:buFont typeface="Wingdings" panose="05000000000000000000" pitchFamily="2" charset="2"/>
              <a:buChar char="§"/>
              <a:defRPr sz="1400" b="0" i="0">
                <a:solidFill>
                  <a:schemeClr val="tx2"/>
                </a:solidFill>
                <a:latin typeface="+mn-lt"/>
                <a:cs typeface="CiscoSans ExtraLight"/>
              </a:defRPr>
            </a:lvl4pPr>
            <a:lvl5pPr marL="971347" indent="-171415">
              <a:buClr>
                <a:schemeClr val="tx2"/>
              </a:buClr>
              <a:buSzPct val="80000"/>
              <a:buFont typeface="Wingdings" panose="05000000000000000000" pitchFamily="2" charset="2"/>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9"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ullet_2-Column Layout">
    <p:spTree>
      <p:nvGrpSpPr>
        <p:cNvPr id="1" name=""/>
        <p:cNvGrpSpPr/>
        <p:nvPr/>
      </p:nvGrpSpPr>
      <p:grpSpPr>
        <a:xfrm>
          <a:off x="0" y="0"/>
          <a:ext cx="0" cy="0"/>
          <a:chOff x="0" y="0"/>
          <a:chExt cx="0" cy="0"/>
        </a:xfrm>
      </p:grpSpPr>
      <p:cxnSp>
        <p:nvCxnSpPr>
          <p:cNvPr id="6" name="Straight Connector 5"/>
          <p:cNvCxnSpPr/>
          <p:nvPr/>
        </p:nvCxnSpPr>
        <p:spPr>
          <a:xfrm>
            <a:off x="4565650" y="609600"/>
            <a:ext cx="0" cy="3984625"/>
          </a:xfrm>
          <a:prstGeom prst="line">
            <a:avLst/>
          </a:prstGeom>
          <a:ln w="38100" cap="flat"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67928" y="260170"/>
            <a:ext cx="3715995" cy="826447"/>
          </a:xfrm>
          <a:prstGeom prst="rect">
            <a:avLst/>
          </a:prstGeom>
        </p:spPr>
        <p:txBody>
          <a:bodyPr lIns="61712" tIns="34286" rIns="61712" bIns="34286" rtlCol="0">
            <a:noAutofit/>
          </a:bodyPr>
          <a:lstStyle>
            <a:lvl1pPr algn="l" defTabSz="685720" rtl="0" eaLnBrk="1" latinLnBrk="0" hangingPunct="1">
              <a:lnSpc>
                <a:spcPct val="80000"/>
              </a:lnSpc>
              <a:spcBef>
                <a:spcPct val="0"/>
              </a:spcBef>
              <a:buNone/>
              <a:defRPr lang="en-US" sz="2800" b="0" i="0" kern="1200" spc="-75" baseline="0" dirty="0" smtClean="0">
                <a:solidFill>
                  <a:schemeClr val="tx2"/>
                </a:solidFill>
                <a:latin typeface="+mj-lt"/>
                <a:ea typeface="+mj-ea"/>
                <a:cs typeface="CiscoSans Thin"/>
              </a:defRPr>
            </a:lvl1pPr>
          </a:lstStyle>
          <a:p>
            <a:r>
              <a:rPr lang="en-US"/>
              <a:t>Click to edit Master title style</a:t>
            </a:r>
            <a:endParaRPr lang="en-US" dirty="0"/>
          </a:p>
        </p:txBody>
      </p:sp>
      <p:sp>
        <p:nvSpPr>
          <p:cNvPr id="16" name="Text Placeholder 15"/>
          <p:cNvSpPr>
            <a:spLocks noGrp="1"/>
          </p:cNvSpPr>
          <p:nvPr>
            <p:ph type="body" sz="quarter" idx="13"/>
          </p:nvPr>
        </p:nvSpPr>
        <p:spPr>
          <a:xfrm>
            <a:off x="4905964" y="260171"/>
            <a:ext cx="3715995" cy="826446"/>
          </a:xfrm>
          <a:prstGeom prst="rect">
            <a:avLst/>
          </a:prstGeom>
        </p:spPr>
        <p:txBody>
          <a:bodyPr lIns="91420" tIns="45710" rIns="91420" bIns="45710" anchor="ctr"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lang="en-US" sz="2800" b="0" i="0" kern="1200" spc="-75" baseline="0" dirty="0">
                <a:solidFill>
                  <a:schemeClr val="tx2"/>
                </a:solidFill>
                <a:latin typeface="+mj-lt"/>
                <a:ea typeface="+mj-ea"/>
                <a:cs typeface="CiscoSans Thin"/>
              </a:defRPr>
            </a:lvl1pPr>
          </a:lstStyle>
          <a:p>
            <a:pPr lvl="0"/>
            <a:r>
              <a:rPr lang="en-US"/>
              <a:t>Click to edit Master text styles</a:t>
            </a:r>
          </a:p>
        </p:txBody>
      </p:sp>
      <p:sp>
        <p:nvSpPr>
          <p:cNvPr id="8" name="Text Placeholder 3"/>
          <p:cNvSpPr>
            <a:spLocks noGrp="1"/>
          </p:cNvSpPr>
          <p:nvPr>
            <p:ph type="body" sz="quarter" idx="10"/>
          </p:nvPr>
        </p:nvSpPr>
        <p:spPr>
          <a:xfrm>
            <a:off x="467928"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3"/>
          <p:cNvSpPr>
            <a:spLocks noGrp="1"/>
          </p:cNvSpPr>
          <p:nvPr>
            <p:ph type="body" sz="quarter" idx="14"/>
          </p:nvPr>
        </p:nvSpPr>
        <p:spPr>
          <a:xfrm>
            <a:off x="4905964" y="1347788"/>
            <a:ext cx="3715995" cy="3083094"/>
          </a:xfrm>
          <a:prstGeom prst="rect">
            <a:avLst/>
          </a:prstGeom>
        </p:spPr>
        <p:txBody>
          <a:bodyPr lIns="91420" tIns="45710" rIns="91420" bIns="45710">
            <a:noAutofit/>
          </a:bodyPr>
          <a:lstStyle>
            <a:lvl1pPr marL="228555" indent="-171415">
              <a:lnSpc>
                <a:spcPct val="95000"/>
              </a:lnSpc>
              <a:spcBef>
                <a:spcPts val="1110"/>
              </a:spcBef>
              <a:buClr>
                <a:schemeClr val="tx2"/>
              </a:buClr>
              <a:buSzPct val="80000"/>
              <a:buFont typeface="Arial"/>
              <a:buChar char="•"/>
              <a:defRPr sz="2000" b="0" i="0">
                <a:solidFill>
                  <a:schemeClr val="tx2"/>
                </a:solidFill>
                <a:latin typeface="+mn-lt"/>
                <a:cs typeface="CiscoSans ExtraLight"/>
              </a:defRPr>
            </a:lvl1pPr>
            <a:lvl2pPr marL="457105" indent="-215855">
              <a:lnSpc>
                <a:spcPct val="95000"/>
              </a:lnSpc>
              <a:spcBef>
                <a:spcPts val="450"/>
              </a:spcBef>
              <a:buClr>
                <a:schemeClr val="tx2"/>
              </a:buClr>
              <a:buSzPct val="80000"/>
              <a:buFont typeface="Arial"/>
              <a:buChar char="•"/>
              <a:defRPr sz="1800" b="0" i="0">
                <a:solidFill>
                  <a:schemeClr val="tx2"/>
                </a:solidFill>
                <a:latin typeface="+mn-lt"/>
                <a:cs typeface="CiscoSans ExtraLight"/>
              </a:defRPr>
            </a:lvl2pPr>
            <a:lvl3pPr marL="628520" indent="-171415">
              <a:buClr>
                <a:schemeClr val="tx2"/>
              </a:buClr>
              <a:buSzPct val="80000"/>
              <a:buFont typeface="Arial"/>
              <a:buChar char="•"/>
              <a:defRPr sz="1600" b="0" i="0">
                <a:solidFill>
                  <a:schemeClr val="tx2"/>
                </a:solidFill>
                <a:latin typeface="+mn-lt"/>
                <a:cs typeface="CiscoSans ExtraLight"/>
              </a:defRPr>
            </a:lvl3pPr>
            <a:lvl4pPr marL="799934" indent="-171415">
              <a:buClr>
                <a:schemeClr val="tx2"/>
              </a:buClr>
              <a:buSzPct val="80000"/>
              <a:buFont typeface="Arial"/>
              <a:buChar char="•"/>
              <a:defRPr sz="1400" b="0" i="0">
                <a:solidFill>
                  <a:schemeClr val="tx2"/>
                </a:solidFill>
                <a:latin typeface="+mn-lt"/>
                <a:cs typeface="CiscoSans ExtraLight"/>
              </a:defRPr>
            </a:lvl4pPr>
            <a:lvl5pPr marL="971347" indent="-171415">
              <a:buClr>
                <a:schemeClr val="tx2"/>
              </a:buClr>
              <a:buSzPct val="80000"/>
              <a:buFont typeface="Arial"/>
              <a:buChar char="•"/>
              <a:defRPr sz="1200"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spd="med">
    <p:fade/>
  </p:transition>
  <p:hf hdr="0" ftr="0" dt="0"/>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ullet_3-Column Layout No Bottom Bar">
    <p:spTree>
      <p:nvGrpSpPr>
        <p:cNvPr id="1" name=""/>
        <p:cNvGrpSpPr/>
        <p:nvPr/>
      </p:nvGrpSpPr>
      <p:grpSpPr>
        <a:xfrm>
          <a:off x="0" y="0"/>
          <a:ext cx="0" cy="0"/>
          <a:chOff x="0" y="0"/>
          <a:chExt cx="0" cy="0"/>
        </a:xfrm>
      </p:grpSpPr>
      <p:cxnSp>
        <p:nvCxnSpPr>
          <p:cNvPr id="8" name="Straight Connector 7"/>
          <p:cNvCxnSpPr/>
          <p:nvPr/>
        </p:nvCxnSpPr>
        <p:spPr>
          <a:xfrm>
            <a:off x="3070225" y="609600"/>
            <a:ext cx="0" cy="3984625"/>
          </a:xfrm>
          <a:prstGeom prst="line">
            <a:avLst/>
          </a:prstGeom>
          <a:ln w="38100" cap="flat" cmpd="sng">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037263" y="609600"/>
            <a:ext cx="0" cy="3984625"/>
          </a:xfrm>
          <a:prstGeom prst="line">
            <a:avLst/>
          </a:prstGeom>
          <a:ln w="38100" cap="flat"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Text Placeholder 17"/>
          <p:cNvSpPr>
            <a:spLocks noGrp="1"/>
          </p:cNvSpPr>
          <p:nvPr>
            <p:ph type="body" sz="quarter" idx="17"/>
          </p:nvPr>
        </p:nvSpPr>
        <p:spPr>
          <a:xfrm>
            <a:off x="461963" y="22831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4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0" name="Text Placeholder 17"/>
          <p:cNvSpPr>
            <a:spLocks noGrp="1"/>
          </p:cNvSpPr>
          <p:nvPr>
            <p:ph type="body" sz="quarter" idx="22"/>
          </p:nvPr>
        </p:nvSpPr>
        <p:spPr>
          <a:xfrm>
            <a:off x="3377728" y="22783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4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4" name="Text Placeholder 17"/>
          <p:cNvSpPr>
            <a:spLocks noGrp="1"/>
          </p:cNvSpPr>
          <p:nvPr>
            <p:ph type="body" sz="quarter" idx="24"/>
          </p:nvPr>
        </p:nvSpPr>
        <p:spPr>
          <a:xfrm>
            <a:off x="6354813" y="220478"/>
            <a:ext cx="2337109" cy="770461"/>
          </a:xfrm>
          <a:prstGeom prst="rect">
            <a:avLst/>
          </a:prstGeom>
        </p:spPr>
        <p:txBody>
          <a:bodyPr lIns="91420" tIns="45710" rIns="91420" bIns="45710" anchor="b" anchorCtr="0">
            <a:noAutofit/>
          </a:bodyPr>
          <a:lstStyle>
            <a:lvl1pPr marL="0" marR="0" indent="0" algn="l" defTabSz="685720" rtl="0" eaLnBrk="1" fontAlgn="auto" latinLnBrk="0" hangingPunct="1">
              <a:lnSpc>
                <a:spcPct val="80000"/>
              </a:lnSpc>
              <a:spcBef>
                <a:spcPct val="0"/>
              </a:spcBef>
              <a:spcAft>
                <a:spcPts val="0"/>
              </a:spcAft>
              <a:buClrTx/>
              <a:buSzTx/>
              <a:buFontTx/>
              <a:buNone/>
              <a:tabLst/>
              <a:defRPr kumimoji="0" lang="en-US" sz="2400" b="0" i="0" u="none" strike="noStrike" kern="1200" cap="none" spc="-75" normalizeH="0" baseline="0" noProof="0" dirty="0" smtClean="0">
                <a:ln>
                  <a:noFill/>
                </a:ln>
                <a:solidFill>
                  <a:schemeClr val="tx2"/>
                </a:solidFill>
                <a:effectLst/>
                <a:uLnTx/>
                <a:uFillTx/>
                <a:latin typeface="+mj-lt"/>
                <a:ea typeface="+mj-ea"/>
                <a:cs typeface="CiscoSans Thin"/>
              </a:defRPr>
            </a:lvl1pPr>
          </a:lstStyle>
          <a:p>
            <a:pPr lvl="0"/>
            <a:r>
              <a:rPr lang="en-US"/>
              <a:t>Click to edit Master text styles</a:t>
            </a:r>
          </a:p>
        </p:txBody>
      </p:sp>
      <p:sp>
        <p:nvSpPr>
          <p:cNvPr id="13" name="Text Placeholder 3"/>
          <p:cNvSpPr>
            <a:spLocks noGrp="1"/>
          </p:cNvSpPr>
          <p:nvPr>
            <p:ph type="body" sz="quarter" idx="11"/>
          </p:nvPr>
        </p:nvSpPr>
        <p:spPr>
          <a:xfrm>
            <a:off x="461963" y="1201094"/>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3"/>
          <p:cNvSpPr>
            <a:spLocks noGrp="1"/>
          </p:cNvSpPr>
          <p:nvPr>
            <p:ph type="body" sz="quarter" idx="26"/>
          </p:nvPr>
        </p:nvSpPr>
        <p:spPr>
          <a:xfrm>
            <a:off x="3377728"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3"/>
          <p:cNvSpPr>
            <a:spLocks noGrp="1"/>
          </p:cNvSpPr>
          <p:nvPr>
            <p:ph type="body" sz="quarter" idx="27"/>
          </p:nvPr>
        </p:nvSpPr>
        <p:spPr>
          <a:xfrm>
            <a:off x="6354812" y="1200321"/>
            <a:ext cx="2337110" cy="3314904"/>
          </a:xfrm>
          <a:prstGeom prst="rect">
            <a:avLst/>
          </a:prstGeom>
        </p:spPr>
        <p:txBody>
          <a:bodyPr lIns="91420" tIns="45710" rIns="91420" bIns="45710">
            <a:noAutofit/>
          </a:bodyPr>
          <a:lstStyle>
            <a:lvl1pPr marL="233316" indent="-171415">
              <a:lnSpc>
                <a:spcPct val="95000"/>
              </a:lnSpc>
              <a:spcBef>
                <a:spcPts val="1110"/>
              </a:spcBef>
              <a:buClr>
                <a:schemeClr val="tx2"/>
              </a:buClr>
              <a:buSzPct val="80000"/>
              <a:buFont typeface="Arial"/>
              <a:buChar char="•"/>
              <a:defRPr sz="1600" b="0" i="0" baseline="0">
                <a:solidFill>
                  <a:schemeClr val="tx2"/>
                </a:solidFill>
                <a:latin typeface="+mn-lt"/>
                <a:cs typeface="CiscoSans ExtraLight"/>
              </a:defRPr>
            </a:lvl1pPr>
            <a:lvl2pPr>
              <a:lnSpc>
                <a:spcPct val="95000"/>
              </a:lnSpc>
              <a:spcBef>
                <a:spcPts val="450"/>
              </a:spcBef>
              <a:buClr>
                <a:schemeClr val="tx2"/>
              </a:buClr>
              <a:buSzPct val="80000"/>
              <a:defRPr b="0" i="0">
                <a:solidFill>
                  <a:schemeClr val="tx2"/>
                </a:solidFill>
                <a:latin typeface="+mn-lt"/>
                <a:cs typeface="CiscoSans ExtraLight"/>
              </a:defRPr>
            </a:lvl2pPr>
            <a:lvl3pPr marL="431910" indent="-171415">
              <a:buClr>
                <a:schemeClr val="tx2"/>
              </a:buClr>
              <a:buSzPct val="80000"/>
              <a:buFont typeface="Arial"/>
              <a:buChar char="•"/>
              <a:defRPr sz="1200" b="0" i="0">
                <a:solidFill>
                  <a:schemeClr val="tx2"/>
                </a:solidFill>
                <a:latin typeface="+mn-lt"/>
                <a:cs typeface="CiscoSans ExtraLight"/>
              </a:defRPr>
            </a:lvl3pPr>
            <a:lvl4pPr>
              <a:buClr>
                <a:schemeClr val="tx2"/>
              </a:buClr>
              <a:buSzPct val="80000"/>
              <a:defRPr b="0" i="0">
                <a:solidFill>
                  <a:schemeClr val="tx2"/>
                </a:solidFill>
                <a:latin typeface="+mn-lt"/>
                <a:cs typeface="CiscoSans ExtraLight"/>
              </a:defRPr>
            </a:lvl4pPr>
            <a:lvl5pPr>
              <a:buClr>
                <a:schemeClr val="tx2"/>
              </a:buClr>
              <a:buSzPct val="80000"/>
              <a:defRPr b="0" i="0">
                <a:solidFill>
                  <a:schemeClr val="tx2"/>
                </a:solidFill>
                <a:latin typeface="+mn-lt"/>
                <a:cs typeface="CiscoSans ExtraLigh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cSld>
  <p:clrMapOvr>
    <a:masterClrMapping/>
  </p:clrMapOvr>
  <p:transition spd="med">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ullet_Title only">
    <p:spTree>
      <p:nvGrpSpPr>
        <p:cNvPr id="1" name=""/>
        <p:cNvGrpSpPr/>
        <p:nvPr/>
      </p:nvGrpSpPr>
      <p:grpSpPr>
        <a:xfrm>
          <a:off x="0" y="0"/>
          <a:ext cx="0" cy="0"/>
          <a:chOff x="0" y="0"/>
          <a:chExt cx="0" cy="0"/>
        </a:xfrm>
      </p:grpSpPr>
      <p:sp>
        <p:nvSpPr>
          <p:cNvPr id="4" name="Text Placeholder 2"/>
          <p:cNvSpPr>
            <a:spLocks noGrp="1"/>
          </p:cNvSpPr>
          <p:nvPr>
            <p:ph type="body" sz="quarter" idx="13"/>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5"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Text Placeholder 9"/>
          <p:cNvSpPr>
            <a:spLocks noGrp="1"/>
          </p:cNvSpPr>
          <p:nvPr>
            <p:ph type="body" sz="quarter" idx="11"/>
          </p:nvPr>
        </p:nvSpPr>
        <p:spPr>
          <a:xfrm>
            <a:off x="468313" y="3916058"/>
            <a:ext cx="7791858" cy="349356"/>
          </a:xfrm>
          <a:prstGeom prst="rect">
            <a:avLst/>
          </a:prstGeom>
        </p:spPr>
        <p:txBody>
          <a:bodyPr wrap="square" lIns="91420" tIns="45710" rIns="91420" bIns="45710" anchor="b" anchorCtr="0">
            <a:noAutofit/>
          </a:bodyPr>
          <a:lstStyle>
            <a:lvl1pPr marL="0" indent="0" algn="l" defTabSz="603575">
              <a:lnSpc>
                <a:spcPct val="100000"/>
              </a:lnSpc>
              <a:spcBef>
                <a:spcPct val="50000"/>
              </a:spcBef>
              <a:buNone/>
              <a:defRPr sz="2200" b="0" i="0">
                <a:solidFill>
                  <a:schemeClr val="tx1"/>
                </a:solidFill>
                <a:latin typeface="+mj-lt"/>
                <a:cs typeface="CiscoSans ExtraLight"/>
              </a:defRPr>
            </a:lvl1pPr>
            <a:lvl2pPr>
              <a:buFont typeface="Arial" pitchFamily="34" charset="0"/>
              <a:buNone/>
              <a:defRPr sz="1100"/>
            </a:lvl2pPr>
            <a:lvl3pPr>
              <a:buFont typeface="Arial" pitchFamily="34" charset="0"/>
              <a:buNone/>
              <a:defRPr sz="1100"/>
            </a:lvl3pPr>
            <a:lvl4pPr>
              <a:buFont typeface="Arial" pitchFamily="34" charset="0"/>
              <a:buNone/>
              <a:defRPr sz="1100"/>
            </a:lvl4pPr>
            <a:lvl5pPr>
              <a:buFont typeface="Arial" pitchFamily="34" charset="0"/>
              <a:buNone/>
              <a:defRPr sz="1100"/>
            </a:lvl5pPr>
          </a:lstStyle>
          <a:p>
            <a:pPr lvl="0"/>
            <a:r>
              <a:rPr lang="en-US"/>
              <a:t>Click to edit Master text styles</a:t>
            </a:r>
          </a:p>
        </p:txBody>
      </p:sp>
      <p:sp>
        <p:nvSpPr>
          <p:cNvPr id="4" name="Title 1"/>
          <p:cNvSpPr>
            <a:spLocks noGrp="1"/>
          </p:cNvSpPr>
          <p:nvPr>
            <p:ph type="ctrTitle"/>
          </p:nvPr>
        </p:nvSpPr>
        <p:spPr>
          <a:xfrm>
            <a:off x="287923" y="1540551"/>
            <a:ext cx="7972248" cy="2278837"/>
          </a:xfrm>
          <a:prstGeom prst="rect">
            <a:avLst/>
          </a:prstGeom>
        </p:spPr>
        <p:txBody>
          <a:bodyPr>
            <a:noAutofit/>
          </a:bodyPr>
          <a:lstStyle>
            <a:lvl1pPr marL="183600" indent="-399968" algn="l">
              <a:lnSpc>
                <a:spcPct val="90000"/>
              </a:lnSpc>
              <a:defRPr sz="4600" b="0" i="1" spc="0" baseline="0">
                <a:solidFill>
                  <a:schemeClr val="accent6"/>
                </a:solidFill>
                <a:latin typeface="+mj-lt"/>
                <a:cs typeface="CiscoSans Thin"/>
              </a:defRPr>
            </a:lvl1pPr>
          </a:lstStyle>
          <a:p>
            <a:r>
              <a:rPr lang="en-US"/>
              <a:t>Click to edit Master title style</a:t>
            </a:r>
            <a:endParaRPr lang="en-US" dirty="0"/>
          </a:p>
        </p:txBody>
      </p:sp>
    </p:spTree>
    <p:extLst/>
  </p:cSld>
  <p:clrMapOvr>
    <a:masterClrMapping/>
  </p:clrMapOvr>
  <p:transition spd="med">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cxnSp>
        <p:nvCxnSpPr>
          <p:cNvPr id="5" name="Straight Connector 4"/>
          <p:cNvCxnSpPr/>
          <p:nvPr/>
        </p:nvCxnSpPr>
        <p:spPr>
          <a:xfrm>
            <a:off x="4610100" y="609600"/>
            <a:ext cx="0" cy="3984625"/>
          </a:xfrm>
          <a:prstGeom prst="line">
            <a:avLst/>
          </a:prstGeom>
          <a:ln w="38100" cap="flat" cmpd="sng">
            <a:solidFill>
              <a:schemeClr val="accent6"/>
            </a:solidFill>
          </a:ln>
        </p:spPr>
        <p:style>
          <a:lnRef idx="1">
            <a:schemeClr val="accent1"/>
          </a:lnRef>
          <a:fillRef idx="0">
            <a:schemeClr val="accent1"/>
          </a:fillRef>
          <a:effectRef idx="0">
            <a:schemeClr val="accent1"/>
          </a:effectRef>
          <a:fontRef idx="minor">
            <a:schemeClr val="tx1"/>
          </a:fontRef>
        </p:style>
      </p:cxnSp>
      <p:sp>
        <p:nvSpPr>
          <p:cNvPr id="4" name="Title 1"/>
          <p:cNvSpPr>
            <a:spLocks noGrp="1"/>
          </p:cNvSpPr>
          <p:nvPr>
            <p:ph type="title"/>
          </p:nvPr>
        </p:nvSpPr>
        <p:spPr>
          <a:xfrm>
            <a:off x="463763" y="1439060"/>
            <a:ext cx="3820348" cy="2265389"/>
          </a:xfrm>
        </p:spPr>
        <p:txBody>
          <a:bodyPr lIns="61715" tIns="34288" rIns="61715" bIns="34288" rtlCol="0">
            <a:noAutofit/>
          </a:bodyPr>
          <a:lstStyle>
            <a:lvl1pPr marL="0" indent="0" algn="l" defTabSz="685748" rtl="0" eaLnBrk="1" latinLnBrk="0" hangingPunct="1">
              <a:lnSpc>
                <a:spcPct val="80000"/>
              </a:lnSpc>
              <a:spcBef>
                <a:spcPct val="0"/>
              </a:spcBef>
              <a:buClr>
                <a:schemeClr val="tx1"/>
              </a:buClr>
              <a:buFont typeface="Ciscolight" pitchFamily="2" charset="0"/>
              <a:buNone/>
              <a:defRPr lang="en-US" sz="4500" b="0" kern="1200" spc="0" baseline="0" dirty="0">
                <a:solidFill>
                  <a:schemeClr val="accent6"/>
                </a:solidFill>
                <a:latin typeface="+mj-lt"/>
                <a:ea typeface="+mj-ea"/>
                <a:cs typeface="+mj-cs"/>
              </a:defRPr>
            </a:lvl1pPr>
          </a:lstStyle>
          <a:p>
            <a:r>
              <a:rPr lang="en-US"/>
              <a:t>Click to edit Master title style</a:t>
            </a:r>
            <a:endParaRPr lang="en-US" dirty="0"/>
          </a:p>
        </p:txBody>
      </p:sp>
      <p:sp>
        <p:nvSpPr>
          <p:cNvPr id="9" name="Text Placeholder 3"/>
          <p:cNvSpPr>
            <a:spLocks noGrp="1"/>
          </p:cNvSpPr>
          <p:nvPr>
            <p:ph type="body" sz="quarter" idx="11"/>
          </p:nvPr>
        </p:nvSpPr>
        <p:spPr>
          <a:xfrm>
            <a:off x="4922520" y="654518"/>
            <a:ext cx="3865880" cy="3840480"/>
          </a:xfrm>
          <a:prstGeom prst="rect">
            <a:avLst/>
          </a:prstGeom>
        </p:spPr>
        <p:txBody>
          <a:bodyPr lIns="91420" tIns="45710" rIns="91420" bIns="45710" anchor="ctr" anchorCtr="0">
            <a:noAutofit/>
          </a:bodyPr>
          <a:lstStyle>
            <a:lvl1pPr marL="0" indent="0">
              <a:buFontTx/>
              <a:buNone/>
              <a:defRPr sz="1600" baseline="0">
                <a:solidFill>
                  <a:schemeClr val="tx1"/>
                </a:solidFill>
                <a:latin typeface="+mn-lt"/>
              </a:defRPr>
            </a:lvl1pPr>
            <a:lvl2pPr>
              <a:defRPr sz="1500"/>
            </a:lvl2pPr>
            <a:lvl3pPr>
              <a:defRPr sz="1500"/>
            </a:lvl3pPr>
            <a:lvl4pPr>
              <a:defRPr sz="1500"/>
            </a:lvl4pPr>
            <a:lvl5pPr>
              <a:defRPr sz="1500"/>
            </a:lvl5pPr>
          </a:lstStyle>
          <a:p>
            <a:pPr lvl="0"/>
            <a:r>
              <a:rPr lang="en-US"/>
              <a:t>Click to edit Master text styles</a:t>
            </a:r>
          </a:p>
        </p:txBody>
      </p:sp>
    </p:spTree>
    <p:extLst/>
  </p:cSld>
  <p:clrMapOvr>
    <a:masterClrMapping/>
  </p:clrMapOvr>
  <p:transition spd="slow">
    <p:wip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cSld name="Multi_title_Slide">
    <p:spTree>
      <p:nvGrpSpPr>
        <p:cNvPr id="1" name=""/>
        <p:cNvGrpSpPr/>
        <p:nvPr/>
      </p:nvGrpSpPr>
      <p:grpSpPr>
        <a:xfrm>
          <a:off x="0" y="0"/>
          <a:ext cx="0" cy="0"/>
          <a:chOff x="0" y="0"/>
          <a:chExt cx="0" cy="0"/>
        </a:xfrm>
      </p:grpSpPr>
      <p:sp>
        <p:nvSpPr>
          <p:cNvPr id="5" name="Content Placeholder 2"/>
          <p:cNvSpPr>
            <a:spLocks noGrp="1"/>
          </p:cNvSpPr>
          <p:nvPr>
            <p:ph idx="1"/>
          </p:nvPr>
        </p:nvSpPr>
        <p:spPr>
          <a:xfrm>
            <a:off x="474662" y="1347788"/>
            <a:ext cx="8280057" cy="3073946"/>
          </a:xfrm>
          <a:prstGeom prst="rect">
            <a:avLst/>
          </a:prstGeom>
        </p:spPr>
        <p:txBody>
          <a:bodyPr lIns="91420" tIns="45710" rIns="91420" bIns="45710">
            <a:noAutofit/>
          </a:bodyPr>
          <a:lstStyle>
            <a:lvl1pPr marL="285690" marR="0" indent="-285690" algn="ctr" defTabSz="457105" rtl="0" eaLnBrk="1" fontAlgn="auto" latinLnBrk="0" hangingPunct="1">
              <a:lnSpc>
                <a:spcPct val="100000"/>
              </a:lnSpc>
              <a:spcBef>
                <a:spcPct val="20000"/>
              </a:spcBef>
              <a:spcAft>
                <a:spcPts val="0"/>
              </a:spcAft>
              <a:buClrTx/>
              <a:buSzTx/>
              <a:buFont typeface="Arial"/>
              <a:buNone/>
              <a:tabLst/>
              <a:defRPr sz="2000" b="0" i="0" baseline="0">
                <a:solidFill>
                  <a:schemeClr val="tx2"/>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6" name="Text Placeholder 2"/>
          <p:cNvSpPr>
            <a:spLocks noGrp="1"/>
          </p:cNvSpPr>
          <p:nvPr>
            <p:ph type="body" sz="quarter" idx="13"/>
          </p:nvPr>
        </p:nvSpPr>
        <p:spPr>
          <a:xfrm>
            <a:off x="246888" y="466344"/>
            <a:ext cx="8302625" cy="365760"/>
          </a:xfrm>
          <a:prstGeom prst="rect">
            <a:avLst/>
          </a:prstGeom>
        </p:spPr>
        <p:txBody>
          <a:bodyPr lIns="91420" tIns="45710" rIns="91420" bIns="45710" anchor="ctr"/>
          <a:lstStyle>
            <a:lvl1pPr marL="0" indent="0">
              <a:buFont typeface="Arial" panose="020B0604020202020204" pitchFamily="34" charset="0"/>
              <a:buNone/>
              <a:defRPr sz="1800" i="1" baseline="0">
                <a:solidFill>
                  <a:schemeClr val="bg1"/>
                </a:solidFill>
                <a:latin typeface="Arial" panose="020B0604020202020204" pitchFamily="34" charset="0"/>
                <a:cs typeface="Arial" panose="020B0604020202020204" pitchFamily="34" charset="0"/>
              </a:defRPr>
            </a:lvl1pPr>
            <a:lvl2pPr marL="304781" indent="0">
              <a:buNone/>
              <a:defRPr/>
            </a:lvl2pPr>
            <a:lvl3pPr marL="427401" indent="0">
              <a:buNone/>
              <a:defRPr/>
            </a:lvl3pPr>
            <a:lvl4pPr marL="516694" indent="0">
              <a:buNone/>
              <a:defRPr/>
            </a:lvl4pPr>
            <a:lvl5pPr marL="601221" indent="0">
              <a:buNone/>
              <a:defRPr/>
            </a:lvl5pPr>
          </a:lstStyle>
          <a:p>
            <a:pPr lvl="0"/>
            <a:r>
              <a:rPr lang="en-US" dirty="0"/>
              <a:t>Edit Master text styles</a:t>
            </a:r>
          </a:p>
        </p:txBody>
      </p:sp>
      <p:sp>
        <p:nvSpPr>
          <p:cNvPr id="7"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2800" b="0" i="0" spc="0" baseline="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920214763"/>
      </p:ext>
    </p:extLst>
  </p:cSld>
  <p:clrMapOvr>
    <a:masterClrMapping/>
  </p:clrMapOvr>
  <p:transition spd="med">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0" name="Oval 9"/>
          <p:cNvSpPr/>
          <p:nvPr/>
        </p:nvSpPr>
        <p:spPr>
          <a:xfrm>
            <a:off x="6084888" y="1622425"/>
            <a:ext cx="2319337" cy="2317750"/>
          </a:xfrm>
          <a:prstGeom prst="ellipse">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1" name="Oval 10"/>
          <p:cNvSpPr/>
          <p:nvPr/>
        </p:nvSpPr>
        <p:spPr>
          <a:xfrm>
            <a:off x="3422650" y="1622425"/>
            <a:ext cx="2319338" cy="2317750"/>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5" name="Oval 14"/>
          <p:cNvSpPr/>
          <p:nvPr/>
        </p:nvSpPr>
        <p:spPr>
          <a:xfrm>
            <a:off x="763588" y="1622425"/>
            <a:ext cx="2319337" cy="2317750"/>
          </a:xfrm>
          <a:prstGeom prst="ellipse">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cs typeface="Arial"/>
            </a:endParaRPr>
          </a:p>
        </p:txBody>
      </p:sp>
      <p:sp>
        <p:nvSpPr>
          <p:cNvPr id="17" name="Text Placeholder 17"/>
          <p:cNvSpPr>
            <a:spLocks noGrp="1"/>
          </p:cNvSpPr>
          <p:nvPr>
            <p:ph type="body" sz="quarter" idx="11"/>
          </p:nvPr>
        </p:nvSpPr>
        <p:spPr>
          <a:xfrm>
            <a:off x="777485" y="2800142"/>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8" name="Text Placeholder 17"/>
          <p:cNvSpPr>
            <a:spLocks noGrp="1"/>
          </p:cNvSpPr>
          <p:nvPr>
            <p:ph type="body" sz="quarter" idx="12"/>
          </p:nvPr>
        </p:nvSpPr>
        <p:spPr>
          <a:xfrm>
            <a:off x="3436444"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9" name="Text Placeholder 17"/>
          <p:cNvSpPr>
            <a:spLocks noGrp="1"/>
          </p:cNvSpPr>
          <p:nvPr>
            <p:ph type="body" sz="quarter" idx="13"/>
          </p:nvPr>
        </p:nvSpPr>
        <p:spPr>
          <a:xfrm>
            <a:off x="6098330" y="2798195"/>
            <a:ext cx="2292136" cy="603661"/>
          </a:xfrm>
          <a:prstGeom prst="rect">
            <a:avLst/>
          </a:prstGeom>
        </p:spPr>
        <p:txBody>
          <a:bodyPr lIns="91420" tIns="45710" rIns="91420" bIns="45710" anchor="ctr" anchorCtr="0">
            <a:noAutofit/>
          </a:bodyPr>
          <a:lstStyle>
            <a:lvl1pPr marL="0" indent="0" algn="ctr">
              <a:buNone/>
              <a:defRPr sz="2000" b="0" i="0" baseline="0">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Picture Placeholder 5"/>
          <p:cNvSpPr>
            <a:spLocks noGrp="1"/>
          </p:cNvSpPr>
          <p:nvPr>
            <p:ph type="pic" sz="quarter" idx="14"/>
          </p:nvPr>
        </p:nvSpPr>
        <p:spPr>
          <a:xfrm>
            <a:off x="1520825"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6" name="Picture Placeholder 5"/>
          <p:cNvSpPr>
            <a:spLocks noGrp="1"/>
          </p:cNvSpPr>
          <p:nvPr>
            <p:ph type="pic" sz="quarter" idx="15"/>
          </p:nvPr>
        </p:nvSpPr>
        <p:spPr>
          <a:xfrm>
            <a:off x="4202870" y="215280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21" name="Picture Placeholder 5"/>
          <p:cNvSpPr>
            <a:spLocks noGrp="1"/>
          </p:cNvSpPr>
          <p:nvPr>
            <p:ph type="pic" sz="quarter" idx="16"/>
          </p:nvPr>
        </p:nvSpPr>
        <p:spPr>
          <a:xfrm>
            <a:off x="6841860" y="2143029"/>
            <a:ext cx="788988" cy="788988"/>
          </a:xfrm>
          <a:prstGeom prst="rect">
            <a:avLst/>
          </a:prstGeom>
        </p:spPr>
        <p:txBody>
          <a:bodyPr vert="horz"/>
          <a:lstStyle>
            <a:lvl1pPr marL="0" indent="0" algn="ctr">
              <a:buNone/>
              <a:defRPr sz="1200">
                <a:solidFill>
                  <a:schemeClr val="bg1"/>
                </a:solidFill>
              </a:defRPr>
            </a:lvl1pPr>
          </a:lstStyle>
          <a:p>
            <a:pPr lvl="0"/>
            <a:r>
              <a:rPr lang="en-US" noProof="0"/>
              <a:t>Click icon to add picture</a:t>
            </a:r>
            <a:endParaRPr lang="en-US" noProof="0" dirty="0"/>
          </a:p>
        </p:txBody>
      </p:sp>
      <p:sp>
        <p:nvSpPr>
          <p:cNvPr id="12" name="Text Placeholder 2"/>
          <p:cNvSpPr>
            <a:spLocks noGrp="1"/>
          </p:cNvSpPr>
          <p:nvPr>
            <p:ph type="body" sz="quarter" idx="17"/>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13"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12" name="Oval 5"/>
          <p:cNvSpPr>
            <a:spLocks noChangeArrowheads="1"/>
          </p:cNvSpPr>
          <p:nvPr/>
        </p:nvSpPr>
        <p:spPr bwMode="auto">
          <a:xfrm>
            <a:off x="77470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defRPr/>
            </a:pPr>
            <a:endParaRPr lang="en-US" altLang="en-US">
              <a:solidFill>
                <a:srgbClr val="FFFFFF"/>
              </a:solidFill>
              <a:cs typeface=""/>
            </a:endParaRPr>
          </a:p>
        </p:txBody>
      </p:sp>
      <p:sp>
        <p:nvSpPr>
          <p:cNvPr id="13" name="Oval 7"/>
          <p:cNvSpPr>
            <a:spLocks noChangeArrowheads="1"/>
          </p:cNvSpPr>
          <p:nvPr/>
        </p:nvSpPr>
        <p:spPr bwMode="auto">
          <a:xfrm>
            <a:off x="3422650" y="1622425"/>
            <a:ext cx="2306638"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defRPr/>
            </a:pPr>
            <a:endParaRPr lang="en-US" altLang="en-US">
              <a:solidFill>
                <a:srgbClr val="FFFFFF"/>
              </a:solidFill>
              <a:cs typeface=""/>
            </a:endParaRPr>
          </a:p>
        </p:txBody>
      </p:sp>
      <p:sp>
        <p:nvSpPr>
          <p:cNvPr id="14" name="Oval 8"/>
          <p:cNvSpPr>
            <a:spLocks noChangeArrowheads="1"/>
          </p:cNvSpPr>
          <p:nvPr/>
        </p:nvSpPr>
        <p:spPr bwMode="auto">
          <a:xfrm>
            <a:off x="6088063" y="1622425"/>
            <a:ext cx="2305050" cy="2306638"/>
          </a:xfrm>
          <a:prstGeom prst="ellipse">
            <a:avLst/>
          </a:prstGeom>
          <a:solidFill>
            <a:srgbClr val="000000">
              <a:alpha val="30196"/>
            </a:srgbClr>
          </a:solidFill>
          <a:ln>
            <a:noFill/>
          </a:ln>
          <a:extLst>
            <a:ext uri="{91240B29-F687-4F45-9708-019B960494DF}">
              <a14:hiddenLine xmlns:a14="http://schemas.microsoft.com/office/drawing/2010/main" w="25400" algn="ctr">
                <a:solidFill>
                  <a:srgbClr val="000000"/>
                </a:solidFill>
                <a:round/>
                <a:headEnd/>
                <a:tailEnd/>
              </a14:hiddenLine>
            </a:ext>
          </a:extLst>
        </p:spPr>
        <p:txBody>
          <a:bodyPr lIns="68577" tIns="34289" rIns="68577" bIns="34289" anchor="ct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charset="0"/>
                <a:ea typeface="ＭＳ Ｐゴシック" pitchFamily="34" charset="-128"/>
              </a:defRPr>
            </a:lvl9pPr>
          </a:lstStyle>
          <a:p>
            <a:pPr algn="ctr" defTabSz="914400" eaLnBrk="1" hangingPunct="1">
              <a:defRPr/>
            </a:pPr>
            <a:endParaRPr lang="en-US" altLang="en-US">
              <a:solidFill>
                <a:srgbClr val="FFFFFF"/>
              </a:solidFill>
              <a:cs typeface=""/>
            </a:endParaRPr>
          </a:p>
        </p:txBody>
      </p:sp>
      <p:sp>
        <p:nvSpPr>
          <p:cNvPr id="35" name="Picture Placeholder 25"/>
          <p:cNvSpPr>
            <a:spLocks noGrp="1"/>
          </p:cNvSpPr>
          <p:nvPr>
            <p:ph type="pic" sz="quarter" idx="10"/>
          </p:nvPr>
        </p:nvSpPr>
        <p:spPr>
          <a:xfrm>
            <a:off x="774965"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baseline="0">
                <a:solidFill>
                  <a:schemeClr val="tx1"/>
                </a:solidFill>
                <a:latin typeface="+mj-lt"/>
              </a:defRPr>
            </a:lvl1pPr>
          </a:lstStyle>
          <a:p>
            <a:pPr lvl="0"/>
            <a:r>
              <a:rPr lang="en-US" noProof="0"/>
              <a:t>Click icon to add picture</a:t>
            </a:r>
            <a:endParaRPr lang="en-US" noProof="0" dirty="0"/>
          </a:p>
        </p:txBody>
      </p:sp>
      <p:sp>
        <p:nvSpPr>
          <p:cNvPr id="37" name="Picture Placeholder 25"/>
          <p:cNvSpPr>
            <a:spLocks noGrp="1"/>
          </p:cNvSpPr>
          <p:nvPr>
            <p:ph type="pic" sz="quarter" idx="11"/>
          </p:nvPr>
        </p:nvSpPr>
        <p:spPr>
          <a:xfrm>
            <a:off x="3422986"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39" name="Picture Placeholder 25"/>
          <p:cNvSpPr>
            <a:spLocks noGrp="1"/>
          </p:cNvSpPr>
          <p:nvPr>
            <p:ph type="pic" sz="quarter" idx="12"/>
          </p:nvPr>
        </p:nvSpPr>
        <p:spPr>
          <a:xfrm>
            <a:off x="6087503" y="1622395"/>
            <a:ext cx="2305968" cy="2305968"/>
          </a:xfrm>
          <a:prstGeom prst="ellipse">
            <a:avLst/>
          </a:prstGeom>
          <a:solidFill>
            <a:schemeClr val="bg1">
              <a:alpha val="30000"/>
            </a:schemeClr>
          </a:solidFill>
          <a:ln>
            <a:noFill/>
          </a:ln>
          <a:effectLst/>
        </p:spPr>
        <p:txBody>
          <a:bodyPr lIns="91424" tIns="45712" rIns="91424" bIns="45712" anchor="ctr" anchorCtr="0"/>
          <a:lstStyle>
            <a:lvl1pPr algn="l">
              <a:buFontTx/>
              <a:buNone/>
              <a:defRPr sz="1300">
                <a:solidFill>
                  <a:schemeClr val="tx1"/>
                </a:solidFill>
                <a:latin typeface="+mj-lt"/>
              </a:defRPr>
            </a:lvl1pPr>
          </a:lstStyle>
          <a:p>
            <a:pPr lvl="0"/>
            <a:r>
              <a:rPr lang="en-US" noProof="0"/>
              <a:t>Click icon to add picture</a:t>
            </a:r>
            <a:endParaRPr lang="en-US" noProof="0" dirty="0"/>
          </a:p>
        </p:txBody>
      </p:sp>
      <p:sp>
        <p:nvSpPr>
          <p:cNvPr id="9" name="Text Placeholder 17"/>
          <p:cNvSpPr>
            <a:spLocks noGrp="1"/>
          </p:cNvSpPr>
          <p:nvPr>
            <p:ph type="body" sz="quarter" idx="13"/>
          </p:nvPr>
        </p:nvSpPr>
        <p:spPr>
          <a:xfrm>
            <a:off x="788797" y="3873138"/>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0" name="Text Placeholder 17"/>
          <p:cNvSpPr>
            <a:spLocks noGrp="1"/>
          </p:cNvSpPr>
          <p:nvPr>
            <p:ph type="body" sz="quarter" idx="14"/>
          </p:nvPr>
        </p:nvSpPr>
        <p:spPr>
          <a:xfrm>
            <a:off x="3436818"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1" name="Text Placeholder 17"/>
          <p:cNvSpPr>
            <a:spLocks noGrp="1"/>
          </p:cNvSpPr>
          <p:nvPr>
            <p:ph type="body" sz="quarter" idx="15"/>
          </p:nvPr>
        </p:nvSpPr>
        <p:spPr>
          <a:xfrm>
            <a:off x="6101335" y="3871191"/>
            <a:ext cx="2292136" cy="603661"/>
          </a:xfrm>
          <a:prstGeom prst="rect">
            <a:avLst/>
          </a:prstGeom>
        </p:spPr>
        <p:txBody>
          <a:bodyPr lIns="91420" tIns="45710" rIns="91420" bIns="45710" anchor="ctr" anchorCtr="0">
            <a:noAutofit/>
          </a:bodyPr>
          <a:lstStyle>
            <a:lvl1pPr marL="0" indent="0" algn="ctr">
              <a:buNone/>
              <a:defRPr sz="2000" b="0" i="0" baseline="0">
                <a:solidFill>
                  <a:schemeClr val="tx1"/>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5" name="Text Placeholder 2"/>
          <p:cNvSpPr>
            <a:spLocks noGrp="1"/>
          </p:cNvSpPr>
          <p:nvPr>
            <p:ph type="body" sz="quarter" idx="16"/>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16"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ircled_Bullets">
    <p:spTree>
      <p:nvGrpSpPr>
        <p:cNvPr id="1" name=""/>
        <p:cNvGrpSpPr/>
        <p:nvPr/>
      </p:nvGrpSpPr>
      <p:grpSpPr>
        <a:xfrm>
          <a:off x="0" y="0"/>
          <a:ext cx="0" cy="0"/>
          <a:chOff x="0" y="0"/>
          <a:chExt cx="0" cy="0"/>
        </a:xfrm>
      </p:grpSpPr>
      <p:sp>
        <p:nvSpPr>
          <p:cNvPr id="10" name="Oval 9"/>
          <p:cNvSpPr/>
          <p:nvPr/>
        </p:nvSpPr>
        <p:spPr>
          <a:xfrm>
            <a:off x="576263" y="2552700"/>
            <a:ext cx="698500" cy="698500"/>
          </a:xfrm>
          <a:prstGeom prst="ellipse">
            <a:avLst/>
          </a:prstGeom>
          <a:solidFill>
            <a:schemeClr val="accent6"/>
          </a:solidFill>
          <a:ln w="1905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pPr algn="ctr">
              <a:defRPr/>
            </a:pPr>
            <a:endParaRPr lang="en-US" sz="4000" dirty="0">
              <a:solidFill>
                <a:srgbClr val="FFFFFF"/>
              </a:solidFill>
              <a:cs typeface="Arial"/>
            </a:endParaRPr>
          </a:p>
        </p:txBody>
      </p:sp>
      <p:sp>
        <p:nvSpPr>
          <p:cNvPr id="11" name="Oval 10"/>
          <p:cNvSpPr/>
          <p:nvPr/>
        </p:nvSpPr>
        <p:spPr>
          <a:xfrm>
            <a:off x="576263" y="1427163"/>
            <a:ext cx="698500" cy="698500"/>
          </a:xfrm>
          <a:prstGeom prst="ellipse">
            <a:avLst/>
          </a:prstGeom>
          <a:solidFill>
            <a:schemeClr val="accent6"/>
          </a:solidFill>
          <a:ln w="1905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pPr algn="ctr">
              <a:defRPr/>
            </a:pPr>
            <a:endParaRPr lang="en-US" sz="4000" dirty="0">
              <a:ln>
                <a:solidFill>
                  <a:srgbClr val="049FD9"/>
                </a:solidFill>
              </a:ln>
              <a:solidFill>
                <a:srgbClr val="FFFFFF"/>
              </a:solidFill>
              <a:cs typeface="Arial"/>
            </a:endParaRPr>
          </a:p>
        </p:txBody>
      </p:sp>
      <p:sp>
        <p:nvSpPr>
          <p:cNvPr id="12" name="Oval 11"/>
          <p:cNvSpPr/>
          <p:nvPr/>
        </p:nvSpPr>
        <p:spPr>
          <a:xfrm>
            <a:off x="576263" y="3652838"/>
            <a:ext cx="698500" cy="698500"/>
          </a:xfrm>
          <a:prstGeom prst="ellipse">
            <a:avLst/>
          </a:prstGeom>
          <a:solidFill>
            <a:schemeClr val="accent6"/>
          </a:solidFill>
          <a:ln w="19050">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bIns="91440" anchor="ctr"/>
          <a:lstStyle/>
          <a:p>
            <a:pPr algn="ctr">
              <a:defRPr/>
            </a:pPr>
            <a:endParaRPr lang="en-US" sz="4000" dirty="0">
              <a:solidFill>
                <a:srgbClr val="049FD9"/>
              </a:solidFill>
              <a:cs typeface="Arial"/>
            </a:endParaRPr>
          </a:p>
        </p:txBody>
      </p:sp>
      <p:sp>
        <p:nvSpPr>
          <p:cNvPr id="24" name="Text Placeholder 17"/>
          <p:cNvSpPr>
            <a:spLocks noGrp="1"/>
          </p:cNvSpPr>
          <p:nvPr>
            <p:ph type="body" sz="quarter" idx="13"/>
          </p:nvPr>
        </p:nvSpPr>
        <p:spPr>
          <a:xfrm>
            <a:off x="1365250" y="1432522"/>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5" name="Text Placeholder 17"/>
          <p:cNvSpPr>
            <a:spLocks noGrp="1"/>
          </p:cNvSpPr>
          <p:nvPr>
            <p:ph type="body" sz="quarter" idx="14"/>
          </p:nvPr>
        </p:nvSpPr>
        <p:spPr>
          <a:xfrm>
            <a:off x="1365250" y="25577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6" name="Text Placeholder 17"/>
          <p:cNvSpPr>
            <a:spLocks noGrp="1"/>
          </p:cNvSpPr>
          <p:nvPr>
            <p:ph type="body" sz="quarter" idx="15"/>
          </p:nvPr>
        </p:nvSpPr>
        <p:spPr>
          <a:xfrm>
            <a:off x="1365250" y="3653093"/>
            <a:ext cx="5473700" cy="693381"/>
          </a:xfrm>
          <a:prstGeom prst="rect">
            <a:avLst/>
          </a:prstGeom>
        </p:spPr>
        <p:txBody>
          <a:bodyPr lIns="91420" tIns="45710" rIns="91420" bIns="45710" anchor="ctr" anchorCtr="0">
            <a:noAutofit/>
          </a:bodyPr>
          <a:lstStyle>
            <a:lvl1pPr marL="0" indent="0" algn="l">
              <a:buNone/>
              <a:defRPr sz="2000" b="0" i="0" baseline="0">
                <a:solidFill>
                  <a:schemeClr val="tx2"/>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8" name="Text Placeholder 17"/>
          <p:cNvSpPr>
            <a:spLocks noGrp="1"/>
          </p:cNvSpPr>
          <p:nvPr>
            <p:ph type="body" sz="quarter" idx="17"/>
          </p:nvPr>
        </p:nvSpPr>
        <p:spPr>
          <a:xfrm>
            <a:off x="575610" y="2552550"/>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29" name="Text Placeholder 17"/>
          <p:cNvSpPr>
            <a:spLocks noGrp="1"/>
          </p:cNvSpPr>
          <p:nvPr>
            <p:ph type="body" sz="quarter" idx="18"/>
          </p:nvPr>
        </p:nvSpPr>
        <p:spPr>
          <a:xfrm>
            <a:off x="575611" y="3651140"/>
            <a:ext cx="698624" cy="693381"/>
          </a:xfrm>
          <a:prstGeom prst="rect">
            <a:avLst/>
          </a:prstGeom>
          <a:ln>
            <a:noFill/>
          </a:ln>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3" name="Text Placeholder 17"/>
          <p:cNvSpPr>
            <a:spLocks noGrp="1"/>
          </p:cNvSpPr>
          <p:nvPr>
            <p:ph type="body" sz="quarter" idx="19"/>
          </p:nvPr>
        </p:nvSpPr>
        <p:spPr>
          <a:xfrm>
            <a:off x="575610" y="1427248"/>
            <a:ext cx="698624" cy="693381"/>
          </a:xfrm>
          <a:prstGeom prst="rect">
            <a:avLst/>
          </a:prstGeom>
        </p:spPr>
        <p:txBody>
          <a:bodyPr lIns="91420" tIns="45710" rIns="91420" bIns="45710" anchor="ctr" anchorCtr="0">
            <a:noAutofit/>
          </a:bodyPr>
          <a:lstStyle>
            <a:lvl1pPr marL="0" indent="0" algn="ctr">
              <a:buNone/>
              <a:defRPr sz="4000" b="0" i="0" baseline="0">
                <a:ln>
                  <a:solidFill>
                    <a:srgbClr val="FFFFFF"/>
                  </a:solidFill>
                </a:ln>
                <a:solidFill>
                  <a:srgbClr val="FFFFFF"/>
                </a:solidFill>
                <a:latin typeface="+mn-lt"/>
                <a:cs typeface="CiscoSans ExtraLight"/>
              </a:defRPr>
            </a:lvl1pPr>
            <a:lvl2pPr>
              <a:defRPr b="0" i="0">
                <a:solidFill>
                  <a:srgbClr val="FFFFFF"/>
                </a:solidFill>
                <a:latin typeface="CiscoSans ExtraLight"/>
                <a:cs typeface="CiscoSans ExtraLight"/>
              </a:defRPr>
            </a:lvl2pPr>
            <a:lvl3pPr>
              <a:defRPr b="0" i="0">
                <a:solidFill>
                  <a:srgbClr val="FFFFFF"/>
                </a:solidFill>
                <a:latin typeface="CiscoSans ExtraLight"/>
                <a:cs typeface="CiscoSans ExtraLight"/>
              </a:defRPr>
            </a:lvl3pPr>
            <a:lvl4pPr>
              <a:defRPr b="0" i="0">
                <a:solidFill>
                  <a:srgbClr val="FFFFFF"/>
                </a:solidFill>
                <a:latin typeface="CiscoSans ExtraLight"/>
                <a:cs typeface="CiscoSans ExtraLight"/>
              </a:defRPr>
            </a:lvl4pPr>
            <a:lvl5pPr>
              <a:defRPr b="0" i="0">
                <a:solidFill>
                  <a:srgbClr val="FFFFFF"/>
                </a:solidFill>
                <a:latin typeface="CiscoSans ExtraLight"/>
                <a:cs typeface="CiscoSans ExtraLight"/>
              </a:defRPr>
            </a:lvl5pPr>
          </a:lstStyle>
          <a:p>
            <a:pPr lvl="0"/>
            <a:r>
              <a:rPr lang="en-US"/>
              <a:t>Click to edit Master text styles</a:t>
            </a:r>
          </a:p>
        </p:txBody>
      </p:sp>
      <p:sp>
        <p:nvSpPr>
          <p:cNvPr id="14" name="Text Placeholder 2"/>
          <p:cNvSpPr>
            <a:spLocks noGrp="1"/>
          </p:cNvSpPr>
          <p:nvPr>
            <p:ph type="body" sz="quarter" idx="20"/>
          </p:nvPr>
        </p:nvSpPr>
        <p:spPr>
          <a:xfrm>
            <a:off x="54461" y="637598"/>
            <a:ext cx="8302625" cy="299001"/>
          </a:xfrm>
          <a:prstGeom prst="rect">
            <a:avLst/>
          </a:prstGeom>
        </p:spPr>
        <p:txBody>
          <a:bodyPr lIns="91420" tIns="45710" rIns="91420" bIns="45710" anchor="ctr"/>
          <a:lstStyle>
            <a:lvl1pPr marL="0" indent="0">
              <a:buFont typeface="Arial" panose="020B0604020202020204" pitchFamily="34" charset="0"/>
              <a:buNone/>
              <a:defRPr sz="2200" baseline="0">
                <a:solidFill>
                  <a:schemeClr val="tx1"/>
                </a:solidFill>
                <a:latin typeface="+mj-lt"/>
              </a:defRPr>
            </a:lvl1pPr>
            <a:lvl2pPr marL="304781" indent="0">
              <a:buNone/>
              <a:defRPr/>
            </a:lvl2pPr>
            <a:lvl3pPr marL="427401" indent="0">
              <a:buNone/>
              <a:defRPr/>
            </a:lvl3pPr>
            <a:lvl4pPr marL="516694" indent="0">
              <a:buNone/>
              <a:defRPr/>
            </a:lvl4pPr>
            <a:lvl5pPr marL="601221" indent="0">
              <a:buNone/>
              <a:defRPr/>
            </a:lvl5pPr>
          </a:lstStyle>
          <a:p>
            <a:pPr lvl="0"/>
            <a:r>
              <a:rPr lang="en-US"/>
              <a:t>Click to edit Master text styles</a:t>
            </a:r>
          </a:p>
        </p:txBody>
      </p:sp>
      <p:sp>
        <p:nvSpPr>
          <p:cNvPr id="16" name="Title 1"/>
          <p:cNvSpPr>
            <a:spLocks noGrp="1"/>
          </p:cNvSpPr>
          <p:nvPr>
            <p:ph type="ctrTitle"/>
          </p:nvPr>
        </p:nvSpPr>
        <p:spPr>
          <a:xfrm>
            <a:off x="16934" y="23777"/>
            <a:ext cx="8340152" cy="644730"/>
          </a:xfrm>
          <a:prstGeom prst="rect">
            <a:avLst/>
          </a:prstGeom>
        </p:spPr>
        <p:txBody>
          <a:bodyPr/>
          <a:lstStyle>
            <a:lvl1pPr marL="0" indent="0" algn="l">
              <a:lnSpc>
                <a:spcPct val="90000"/>
              </a:lnSpc>
              <a:buFont typeface="Arial" panose="020B0604020202020204" pitchFamily="34" charset="0"/>
              <a:buNone/>
              <a:defRPr sz="3200" b="0" i="0" spc="0" baseline="0">
                <a:solidFill>
                  <a:schemeClr val="tx1"/>
                </a:solidFill>
                <a:latin typeface="+mj-lt"/>
                <a:cs typeface="CiscoSans Thin"/>
              </a:defRPr>
            </a:lvl1pPr>
          </a:lstStyle>
          <a:p>
            <a:r>
              <a:rPr lang="en-US"/>
              <a:t>Click to edit Master title style</a:t>
            </a:r>
            <a:endParaRPr lang="en-US" dirty="0"/>
          </a:p>
        </p:txBody>
      </p:sp>
    </p:spTree>
    <p:extLst/>
  </p:cSld>
  <p:clrMapOvr>
    <a:masterClrMapping/>
  </p:clrMapOvr>
  <p:transition spd="slow">
    <p:wip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Closing Slide">
    <p:bg>
      <p:bgPr>
        <a:solidFill>
          <a:srgbClr val="39393B"/>
        </a:solidFill>
        <a:effectLst/>
      </p:bgPr>
    </p:bg>
    <p:spTree>
      <p:nvGrpSpPr>
        <p:cNvPr id="1" name=""/>
        <p:cNvGrpSpPr/>
        <p:nvPr/>
      </p:nvGrpSpPr>
      <p:grpSpPr>
        <a:xfrm>
          <a:off x="0" y="0"/>
          <a:ext cx="0" cy="0"/>
          <a:chOff x="0" y="0"/>
          <a:chExt cx="0" cy="0"/>
        </a:xfrm>
      </p:grpSpPr>
      <p:pic>
        <p:nvPicPr>
          <p:cNvPr id="2" name="Picture 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3576638" y="1646238"/>
            <a:ext cx="1990725" cy="1857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2"/>
          <p:cNvSpPr/>
          <p:nvPr/>
        </p:nvSpPr>
        <p:spPr>
          <a:xfrm>
            <a:off x="0" y="4383088"/>
            <a:ext cx="9144000" cy="92075"/>
          </a:xfrm>
          <a:prstGeom prst="rect">
            <a:avLst/>
          </a:pr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36" tIns="45719" rIns="91436" bIns="45719" anchor="ctr"/>
          <a:lstStyle/>
          <a:p>
            <a:pPr algn="ctr">
              <a:defRPr/>
            </a:pPr>
            <a:endParaRPr lang="en-US">
              <a:solidFill>
                <a:srgbClr val="FFFFFF"/>
              </a:solidFill>
            </a:endParaRPr>
          </a:p>
        </p:txBody>
      </p:sp>
      <p:pic>
        <p:nvPicPr>
          <p:cNvPr id="4" name="Picture 9"/>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6461125" y="4106863"/>
            <a:ext cx="755650"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7296150" y="4106863"/>
            <a:ext cx="757238"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3"/>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5624513" y="4106863"/>
            <a:ext cx="755650" cy="6397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5" descr="C:\Users\jenowens\Documents\0 WW Sales &amp; Partner Training\Branding\AJ81636.jp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8134350" y="4106863"/>
            <a:ext cx="754063"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17975" y="4500563"/>
            <a:ext cx="14065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p:cNvPicPr>
            <a:picLocks noChangeAspect="1"/>
          </p:cNvPicPr>
          <p:nvPr userDrawn="1"/>
        </p:nvPicPr>
        <p:blipFill>
          <a:blip r:embed="rId8"/>
          <a:stretch>
            <a:fillRect/>
          </a:stretch>
        </p:blipFill>
        <p:spPr>
          <a:xfrm>
            <a:off x="3786989" y="3995220"/>
            <a:ext cx="1737511" cy="347502"/>
          </a:xfrm>
          <a:prstGeom prst="rect">
            <a:avLst/>
          </a:prstGeom>
        </p:spPr>
      </p:pic>
    </p:spTree>
    <p:extLst/>
  </p:cSld>
  <p:clrMapOvr>
    <a:masterClrMapping/>
  </p:clrMapOvr>
  <p:transition spd="slow">
    <p:wip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3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4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6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9_Bullet Slide With Titl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37766" y="1347788"/>
            <a:ext cx="8345488" cy="3168210"/>
          </a:xfrm>
          <a:prstGeom prst="rect">
            <a:avLst/>
          </a:prstGeom>
        </p:spPr>
        <p:txBody>
          <a:bodyPr lIns="91420" tIns="45710" rIns="91420" bIns="45710">
            <a:noAutofit/>
          </a:bodyPr>
          <a:lstStyle>
            <a:lvl1pPr marL="280928" indent="-223792">
              <a:lnSpc>
                <a:spcPct val="95000"/>
              </a:lnSpc>
              <a:spcBef>
                <a:spcPts val="1110"/>
              </a:spcBef>
              <a:buClr>
                <a:schemeClr val="tx1"/>
              </a:buClr>
              <a:buSzPct val="80000"/>
              <a:buFont typeface="Arial"/>
              <a:buChar char="•"/>
              <a:defRPr sz="2000" b="0" i="0">
                <a:solidFill>
                  <a:srgbClr val="676767"/>
                </a:solidFill>
                <a:latin typeface="+mn-lt"/>
                <a:cs typeface="CiscoSans ExtraLight"/>
              </a:defRPr>
            </a:lvl1pPr>
            <a:lvl2pPr marL="292040" indent="0">
              <a:lnSpc>
                <a:spcPct val="95000"/>
              </a:lnSpc>
              <a:spcBef>
                <a:spcPts val="450"/>
              </a:spcBef>
              <a:buClr>
                <a:schemeClr val="tx1"/>
              </a:buClr>
              <a:buSzPct val="80000"/>
              <a:buFont typeface="Arial"/>
              <a:buNone/>
              <a:defRPr sz="1800" b="0" i="0">
                <a:solidFill>
                  <a:srgbClr val="676767"/>
                </a:solidFill>
                <a:latin typeface="+mn-lt"/>
                <a:cs typeface="CiscoSans ExtraLight"/>
              </a:defRPr>
            </a:lvl2pPr>
            <a:lvl3pPr marL="747558" indent="-171415">
              <a:buClr>
                <a:schemeClr val="tx1"/>
              </a:buClr>
              <a:buSzPct val="80000"/>
              <a:buFont typeface="Arial"/>
              <a:buChar char="•"/>
              <a:defRPr sz="1600" b="0" i="0">
                <a:solidFill>
                  <a:srgbClr val="676767"/>
                </a:solidFill>
                <a:latin typeface="+mn-lt"/>
                <a:cs typeface="CiscoSans ExtraLight"/>
              </a:defRPr>
            </a:lvl3pPr>
            <a:lvl4pPr marL="911035" indent="-171415">
              <a:buClr>
                <a:schemeClr val="tx1"/>
              </a:buClr>
              <a:buSzPct val="80000"/>
              <a:buFont typeface="Arial"/>
              <a:buChar char="•"/>
              <a:defRPr sz="1400" b="0" i="0">
                <a:solidFill>
                  <a:srgbClr val="676767"/>
                </a:solidFill>
                <a:latin typeface="+mn-lt"/>
                <a:cs typeface="CiscoSans ExtraLight"/>
              </a:defRPr>
            </a:lvl4pPr>
            <a:lvl5pPr marL="1082450" indent="-168240">
              <a:buClr>
                <a:schemeClr val="tx1"/>
              </a:buClr>
              <a:buSzPct val="80000"/>
              <a:buFont typeface="Arial"/>
              <a:buChar char="•"/>
              <a:defRPr sz="1200" b="0" i="0">
                <a:solidFill>
                  <a:srgbClr val="676767"/>
                </a:solidFill>
                <a:latin typeface="+mn-lt"/>
                <a:cs typeface="CiscoSans ExtraLight"/>
              </a:defRPr>
            </a:lvl5pPr>
          </a:lstStyle>
          <a:p>
            <a:pPr lvl="0"/>
            <a:r>
              <a:rPr lang="en-GB" dirty="0"/>
              <a:t>Click to edit text</a:t>
            </a:r>
          </a:p>
        </p:txBody>
      </p:sp>
      <p:sp>
        <p:nvSpPr>
          <p:cNvPr id="6" name="Title Placeholder 5"/>
          <p:cNvSpPr>
            <a:spLocks noGrp="1"/>
          </p:cNvSpPr>
          <p:nvPr>
            <p:ph type="title"/>
          </p:nvPr>
        </p:nvSpPr>
        <p:spPr bwMode="auto">
          <a:xfrm>
            <a:off x="437766"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US"/>
              <a:t>Click to edit Master title style</a:t>
            </a:r>
            <a:endParaRPr lang="en-GB" dirty="0"/>
          </a:p>
        </p:txBody>
      </p:sp>
    </p:spTree>
    <p:extLst/>
  </p:cSld>
  <p:clrMapOvr>
    <a:masterClrMapping/>
  </p:clrMapOvr>
  <p:transition spd="med">
    <p:fade/>
  </p:transition>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13" Type="http://schemas.openxmlformats.org/officeDocument/2006/relationships/slideLayout" Target="../slideLayouts/slideLayout14.xml"/><Relationship Id="rId18" Type="http://schemas.openxmlformats.org/officeDocument/2006/relationships/slideLayout" Target="../slideLayouts/slideLayout19.xml"/><Relationship Id="rId26" Type="http://schemas.openxmlformats.org/officeDocument/2006/relationships/theme" Target="../theme/theme2.xml"/><Relationship Id="rId3" Type="http://schemas.openxmlformats.org/officeDocument/2006/relationships/slideLayout" Target="../slideLayouts/slideLayout4.xml"/><Relationship Id="rId21" Type="http://schemas.openxmlformats.org/officeDocument/2006/relationships/slideLayout" Target="../slideLayouts/slideLayout22.xml"/><Relationship Id="rId7" Type="http://schemas.openxmlformats.org/officeDocument/2006/relationships/slideLayout" Target="../slideLayouts/slideLayout8.xml"/><Relationship Id="rId12" Type="http://schemas.openxmlformats.org/officeDocument/2006/relationships/slideLayout" Target="../slideLayouts/slideLayout13.xml"/><Relationship Id="rId17" Type="http://schemas.openxmlformats.org/officeDocument/2006/relationships/slideLayout" Target="../slideLayouts/slideLayout18.xml"/><Relationship Id="rId25" Type="http://schemas.openxmlformats.org/officeDocument/2006/relationships/slideLayout" Target="../slideLayouts/slideLayout26.xml"/><Relationship Id="rId2" Type="http://schemas.openxmlformats.org/officeDocument/2006/relationships/slideLayout" Target="../slideLayouts/slideLayout3.xml"/><Relationship Id="rId16" Type="http://schemas.openxmlformats.org/officeDocument/2006/relationships/slideLayout" Target="../slideLayouts/slideLayout17.xml"/><Relationship Id="rId20" Type="http://schemas.openxmlformats.org/officeDocument/2006/relationships/slideLayout" Target="../slideLayouts/slideLayout21.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24" Type="http://schemas.openxmlformats.org/officeDocument/2006/relationships/slideLayout" Target="../slideLayouts/slideLayout25.xml"/><Relationship Id="rId5" Type="http://schemas.openxmlformats.org/officeDocument/2006/relationships/slideLayout" Target="../slideLayouts/slideLayout6.xml"/><Relationship Id="rId15" Type="http://schemas.openxmlformats.org/officeDocument/2006/relationships/slideLayout" Target="../slideLayouts/slideLayout16.xml"/><Relationship Id="rId23" Type="http://schemas.openxmlformats.org/officeDocument/2006/relationships/slideLayout" Target="../slideLayouts/slideLayout24.xml"/><Relationship Id="rId10" Type="http://schemas.openxmlformats.org/officeDocument/2006/relationships/slideLayout" Target="../slideLayouts/slideLayout11.xml"/><Relationship Id="rId19" Type="http://schemas.openxmlformats.org/officeDocument/2006/relationships/slideLayout" Target="../slideLayouts/slideLayout20.xml"/><Relationship Id="rId4" Type="http://schemas.openxmlformats.org/officeDocument/2006/relationships/slideLayout" Target="../slideLayouts/slideLayout5.xml"/><Relationship Id="rId9" Type="http://schemas.openxmlformats.org/officeDocument/2006/relationships/slideLayout" Target="../slideLayouts/slideLayout10.xml"/><Relationship Id="rId14" Type="http://schemas.openxmlformats.org/officeDocument/2006/relationships/slideLayout" Target="../slideLayouts/slideLayout15.xml"/><Relationship Id="rId22"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39.xml"/><Relationship Id="rId18" Type="http://schemas.openxmlformats.org/officeDocument/2006/relationships/slideLayout" Target="../slideLayouts/slideLayout44.xml"/><Relationship Id="rId26" Type="http://schemas.openxmlformats.org/officeDocument/2006/relationships/slideLayout" Target="../slideLayouts/slideLayout52.xml"/><Relationship Id="rId39" Type="http://schemas.openxmlformats.org/officeDocument/2006/relationships/slideLayout" Target="../slideLayouts/slideLayout65.xml"/><Relationship Id="rId21" Type="http://schemas.openxmlformats.org/officeDocument/2006/relationships/slideLayout" Target="../slideLayouts/slideLayout47.xml"/><Relationship Id="rId34" Type="http://schemas.openxmlformats.org/officeDocument/2006/relationships/slideLayout" Target="../slideLayouts/slideLayout60.xml"/><Relationship Id="rId42" Type="http://schemas.openxmlformats.org/officeDocument/2006/relationships/slideLayout" Target="../slideLayouts/slideLayout68.xml"/><Relationship Id="rId47" Type="http://schemas.openxmlformats.org/officeDocument/2006/relationships/slideLayout" Target="../slideLayouts/slideLayout73.xml"/><Relationship Id="rId50" Type="http://schemas.openxmlformats.org/officeDocument/2006/relationships/image" Target="../media/image2.png"/><Relationship Id="rId7" Type="http://schemas.openxmlformats.org/officeDocument/2006/relationships/slideLayout" Target="../slideLayouts/slideLayout3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9" Type="http://schemas.openxmlformats.org/officeDocument/2006/relationships/slideLayout" Target="../slideLayouts/slideLayout55.xml"/><Relationship Id="rId11" Type="http://schemas.openxmlformats.org/officeDocument/2006/relationships/slideLayout" Target="../slideLayouts/slideLayout37.xml"/><Relationship Id="rId24" Type="http://schemas.openxmlformats.org/officeDocument/2006/relationships/slideLayout" Target="../slideLayouts/slideLayout50.xml"/><Relationship Id="rId32" Type="http://schemas.openxmlformats.org/officeDocument/2006/relationships/slideLayout" Target="../slideLayouts/slideLayout58.xml"/><Relationship Id="rId37" Type="http://schemas.openxmlformats.org/officeDocument/2006/relationships/slideLayout" Target="../slideLayouts/slideLayout63.xml"/><Relationship Id="rId40" Type="http://schemas.openxmlformats.org/officeDocument/2006/relationships/slideLayout" Target="../slideLayouts/slideLayout66.xml"/><Relationship Id="rId45" Type="http://schemas.openxmlformats.org/officeDocument/2006/relationships/slideLayout" Target="../slideLayouts/slideLayout71.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23" Type="http://schemas.openxmlformats.org/officeDocument/2006/relationships/slideLayout" Target="../slideLayouts/slideLayout49.xml"/><Relationship Id="rId28" Type="http://schemas.openxmlformats.org/officeDocument/2006/relationships/slideLayout" Target="../slideLayouts/slideLayout54.xml"/><Relationship Id="rId36" Type="http://schemas.openxmlformats.org/officeDocument/2006/relationships/slideLayout" Target="../slideLayouts/slideLayout62.xml"/><Relationship Id="rId49" Type="http://schemas.openxmlformats.org/officeDocument/2006/relationships/theme" Target="../theme/theme3.xml"/><Relationship Id="rId10" Type="http://schemas.openxmlformats.org/officeDocument/2006/relationships/slideLayout" Target="../slideLayouts/slideLayout36.xml"/><Relationship Id="rId19" Type="http://schemas.openxmlformats.org/officeDocument/2006/relationships/slideLayout" Target="../slideLayouts/slideLayout45.xml"/><Relationship Id="rId31" Type="http://schemas.openxmlformats.org/officeDocument/2006/relationships/slideLayout" Target="../slideLayouts/slideLayout57.xml"/><Relationship Id="rId44" Type="http://schemas.openxmlformats.org/officeDocument/2006/relationships/slideLayout" Target="../slideLayouts/slideLayout70.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slideLayout" Target="../slideLayouts/slideLayout48.xml"/><Relationship Id="rId27" Type="http://schemas.openxmlformats.org/officeDocument/2006/relationships/slideLayout" Target="../slideLayouts/slideLayout53.xml"/><Relationship Id="rId30" Type="http://schemas.openxmlformats.org/officeDocument/2006/relationships/slideLayout" Target="../slideLayouts/slideLayout56.xml"/><Relationship Id="rId35" Type="http://schemas.openxmlformats.org/officeDocument/2006/relationships/slideLayout" Target="../slideLayouts/slideLayout61.xml"/><Relationship Id="rId43" Type="http://schemas.openxmlformats.org/officeDocument/2006/relationships/slideLayout" Target="../slideLayouts/slideLayout69.xml"/><Relationship Id="rId48" Type="http://schemas.openxmlformats.org/officeDocument/2006/relationships/slideLayout" Target="../slideLayouts/slideLayout74.xml"/><Relationship Id="rId8" Type="http://schemas.openxmlformats.org/officeDocument/2006/relationships/slideLayout" Target="../slideLayouts/slideLayout34.xml"/><Relationship Id="rId3" Type="http://schemas.openxmlformats.org/officeDocument/2006/relationships/slideLayout" Target="../slideLayouts/slideLayout29.xml"/><Relationship Id="rId12" Type="http://schemas.openxmlformats.org/officeDocument/2006/relationships/slideLayout" Target="../slideLayouts/slideLayout38.xml"/><Relationship Id="rId17" Type="http://schemas.openxmlformats.org/officeDocument/2006/relationships/slideLayout" Target="../slideLayouts/slideLayout43.xml"/><Relationship Id="rId25" Type="http://schemas.openxmlformats.org/officeDocument/2006/relationships/slideLayout" Target="../slideLayouts/slideLayout51.xml"/><Relationship Id="rId33" Type="http://schemas.openxmlformats.org/officeDocument/2006/relationships/slideLayout" Target="../slideLayouts/slideLayout59.xml"/><Relationship Id="rId38" Type="http://schemas.openxmlformats.org/officeDocument/2006/relationships/slideLayout" Target="../slideLayouts/slideLayout64.xml"/><Relationship Id="rId46" Type="http://schemas.openxmlformats.org/officeDocument/2006/relationships/slideLayout" Target="../slideLayouts/slideLayout72.xml"/><Relationship Id="rId20" Type="http://schemas.openxmlformats.org/officeDocument/2006/relationships/slideLayout" Target="../slideLayouts/slideLayout46.xml"/><Relationship Id="rId41" Type="http://schemas.openxmlformats.org/officeDocument/2006/relationships/slideLayout" Target="../slideLayouts/slideLayout67.xml"/><Relationship Id="rId1" Type="http://schemas.openxmlformats.org/officeDocument/2006/relationships/slideLayout" Target="../slideLayouts/slideLayout27.xml"/><Relationship Id="rId6"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87.xml"/><Relationship Id="rId18" Type="http://schemas.openxmlformats.org/officeDocument/2006/relationships/slideLayout" Target="../slideLayouts/slideLayout92.xml"/><Relationship Id="rId26" Type="http://schemas.openxmlformats.org/officeDocument/2006/relationships/slideLayout" Target="../slideLayouts/slideLayout100.xml"/><Relationship Id="rId39" Type="http://schemas.openxmlformats.org/officeDocument/2006/relationships/slideLayout" Target="../slideLayouts/slideLayout113.xml"/><Relationship Id="rId21" Type="http://schemas.openxmlformats.org/officeDocument/2006/relationships/slideLayout" Target="../slideLayouts/slideLayout95.xml"/><Relationship Id="rId34" Type="http://schemas.openxmlformats.org/officeDocument/2006/relationships/slideLayout" Target="../slideLayouts/slideLayout108.xml"/><Relationship Id="rId42" Type="http://schemas.openxmlformats.org/officeDocument/2006/relationships/theme" Target="../theme/theme4.xml"/><Relationship Id="rId7" Type="http://schemas.openxmlformats.org/officeDocument/2006/relationships/slideLayout" Target="../slideLayouts/slideLayout81.xml"/><Relationship Id="rId2" Type="http://schemas.openxmlformats.org/officeDocument/2006/relationships/slideLayout" Target="../slideLayouts/slideLayout76.xml"/><Relationship Id="rId16" Type="http://schemas.openxmlformats.org/officeDocument/2006/relationships/slideLayout" Target="../slideLayouts/slideLayout90.xml"/><Relationship Id="rId20" Type="http://schemas.openxmlformats.org/officeDocument/2006/relationships/slideLayout" Target="../slideLayouts/slideLayout94.xml"/><Relationship Id="rId29" Type="http://schemas.openxmlformats.org/officeDocument/2006/relationships/slideLayout" Target="../slideLayouts/slideLayout103.xml"/><Relationship Id="rId41" Type="http://schemas.openxmlformats.org/officeDocument/2006/relationships/slideLayout" Target="../slideLayouts/slideLayout115.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slideLayout" Target="../slideLayouts/slideLayout85.xml"/><Relationship Id="rId24" Type="http://schemas.openxmlformats.org/officeDocument/2006/relationships/slideLayout" Target="../slideLayouts/slideLayout98.xml"/><Relationship Id="rId32" Type="http://schemas.openxmlformats.org/officeDocument/2006/relationships/slideLayout" Target="../slideLayouts/slideLayout106.xml"/><Relationship Id="rId37" Type="http://schemas.openxmlformats.org/officeDocument/2006/relationships/slideLayout" Target="../slideLayouts/slideLayout111.xml"/><Relationship Id="rId40" Type="http://schemas.openxmlformats.org/officeDocument/2006/relationships/slideLayout" Target="../slideLayouts/slideLayout114.xml"/><Relationship Id="rId5" Type="http://schemas.openxmlformats.org/officeDocument/2006/relationships/slideLayout" Target="../slideLayouts/slideLayout79.xml"/><Relationship Id="rId15" Type="http://schemas.openxmlformats.org/officeDocument/2006/relationships/slideLayout" Target="../slideLayouts/slideLayout89.xml"/><Relationship Id="rId23" Type="http://schemas.openxmlformats.org/officeDocument/2006/relationships/slideLayout" Target="../slideLayouts/slideLayout97.xml"/><Relationship Id="rId28" Type="http://schemas.openxmlformats.org/officeDocument/2006/relationships/slideLayout" Target="../slideLayouts/slideLayout102.xml"/><Relationship Id="rId36" Type="http://schemas.openxmlformats.org/officeDocument/2006/relationships/slideLayout" Target="../slideLayouts/slideLayout110.xml"/><Relationship Id="rId10" Type="http://schemas.openxmlformats.org/officeDocument/2006/relationships/slideLayout" Target="../slideLayouts/slideLayout84.xml"/><Relationship Id="rId19" Type="http://schemas.openxmlformats.org/officeDocument/2006/relationships/slideLayout" Target="../slideLayouts/slideLayout93.xml"/><Relationship Id="rId31" Type="http://schemas.openxmlformats.org/officeDocument/2006/relationships/slideLayout" Target="../slideLayouts/slideLayout105.xml"/><Relationship Id="rId44" Type="http://schemas.openxmlformats.org/officeDocument/2006/relationships/image" Target="../media/image9.png"/><Relationship Id="rId4" Type="http://schemas.openxmlformats.org/officeDocument/2006/relationships/slideLayout" Target="../slideLayouts/slideLayout78.xml"/><Relationship Id="rId9" Type="http://schemas.openxmlformats.org/officeDocument/2006/relationships/slideLayout" Target="../slideLayouts/slideLayout83.xml"/><Relationship Id="rId14" Type="http://schemas.openxmlformats.org/officeDocument/2006/relationships/slideLayout" Target="../slideLayouts/slideLayout88.xml"/><Relationship Id="rId22" Type="http://schemas.openxmlformats.org/officeDocument/2006/relationships/slideLayout" Target="../slideLayouts/slideLayout96.xml"/><Relationship Id="rId27" Type="http://schemas.openxmlformats.org/officeDocument/2006/relationships/slideLayout" Target="../slideLayouts/slideLayout101.xml"/><Relationship Id="rId30" Type="http://schemas.openxmlformats.org/officeDocument/2006/relationships/slideLayout" Target="../slideLayouts/slideLayout104.xml"/><Relationship Id="rId35" Type="http://schemas.openxmlformats.org/officeDocument/2006/relationships/slideLayout" Target="../slideLayouts/slideLayout109.xml"/><Relationship Id="rId43" Type="http://schemas.openxmlformats.org/officeDocument/2006/relationships/image" Target="../media/image8.png"/><Relationship Id="rId8" Type="http://schemas.openxmlformats.org/officeDocument/2006/relationships/slideLayout" Target="../slideLayouts/slideLayout82.xml"/><Relationship Id="rId3" Type="http://schemas.openxmlformats.org/officeDocument/2006/relationships/slideLayout" Target="../slideLayouts/slideLayout77.xml"/><Relationship Id="rId12" Type="http://schemas.openxmlformats.org/officeDocument/2006/relationships/slideLayout" Target="../slideLayouts/slideLayout86.xml"/><Relationship Id="rId17" Type="http://schemas.openxmlformats.org/officeDocument/2006/relationships/slideLayout" Target="../slideLayouts/slideLayout91.xml"/><Relationship Id="rId25" Type="http://schemas.openxmlformats.org/officeDocument/2006/relationships/slideLayout" Target="../slideLayouts/slideLayout99.xml"/><Relationship Id="rId33" Type="http://schemas.openxmlformats.org/officeDocument/2006/relationships/slideLayout" Target="../slideLayouts/slideLayout107.xml"/><Relationship Id="rId38" Type="http://schemas.openxmlformats.org/officeDocument/2006/relationships/slideLayout" Target="../slideLayouts/slideLayout11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28.xml"/><Relationship Id="rId18" Type="http://schemas.openxmlformats.org/officeDocument/2006/relationships/slideLayout" Target="../slideLayouts/slideLayout133.xml"/><Relationship Id="rId26" Type="http://schemas.openxmlformats.org/officeDocument/2006/relationships/slideLayout" Target="../slideLayouts/slideLayout141.xml"/><Relationship Id="rId39" Type="http://schemas.openxmlformats.org/officeDocument/2006/relationships/slideLayout" Target="../slideLayouts/slideLayout154.xml"/><Relationship Id="rId21" Type="http://schemas.openxmlformats.org/officeDocument/2006/relationships/slideLayout" Target="../slideLayouts/slideLayout136.xml"/><Relationship Id="rId34" Type="http://schemas.openxmlformats.org/officeDocument/2006/relationships/slideLayout" Target="../slideLayouts/slideLayout149.xml"/><Relationship Id="rId42" Type="http://schemas.openxmlformats.org/officeDocument/2006/relationships/theme" Target="../theme/theme5.xml"/><Relationship Id="rId7" Type="http://schemas.openxmlformats.org/officeDocument/2006/relationships/slideLayout" Target="../slideLayouts/slideLayout122.xml"/><Relationship Id="rId2" Type="http://schemas.openxmlformats.org/officeDocument/2006/relationships/slideLayout" Target="../slideLayouts/slideLayout117.xml"/><Relationship Id="rId16" Type="http://schemas.openxmlformats.org/officeDocument/2006/relationships/slideLayout" Target="../slideLayouts/slideLayout131.xml"/><Relationship Id="rId20" Type="http://schemas.openxmlformats.org/officeDocument/2006/relationships/slideLayout" Target="../slideLayouts/slideLayout135.xml"/><Relationship Id="rId29" Type="http://schemas.openxmlformats.org/officeDocument/2006/relationships/slideLayout" Target="../slideLayouts/slideLayout144.xml"/><Relationship Id="rId41" Type="http://schemas.openxmlformats.org/officeDocument/2006/relationships/slideLayout" Target="../slideLayouts/slideLayout156.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24" Type="http://schemas.openxmlformats.org/officeDocument/2006/relationships/slideLayout" Target="../slideLayouts/slideLayout139.xml"/><Relationship Id="rId32" Type="http://schemas.openxmlformats.org/officeDocument/2006/relationships/slideLayout" Target="../slideLayouts/slideLayout147.xml"/><Relationship Id="rId37" Type="http://schemas.openxmlformats.org/officeDocument/2006/relationships/slideLayout" Target="../slideLayouts/slideLayout152.xml"/><Relationship Id="rId40" Type="http://schemas.openxmlformats.org/officeDocument/2006/relationships/slideLayout" Target="../slideLayouts/slideLayout155.xml"/><Relationship Id="rId5" Type="http://schemas.openxmlformats.org/officeDocument/2006/relationships/slideLayout" Target="../slideLayouts/slideLayout120.xml"/><Relationship Id="rId15" Type="http://schemas.openxmlformats.org/officeDocument/2006/relationships/slideLayout" Target="../slideLayouts/slideLayout130.xml"/><Relationship Id="rId23" Type="http://schemas.openxmlformats.org/officeDocument/2006/relationships/slideLayout" Target="../slideLayouts/slideLayout138.xml"/><Relationship Id="rId28" Type="http://schemas.openxmlformats.org/officeDocument/2006/relationships/slideLayout" Target="../slideLayouts/slideLayout143.xml"/><Relationship Id="rId36" Type="http://schemas.openxmlformats.org/officeDocument/2006/relationships/slideLayout" Target="../slideLayouts/slideLayout151.xml"/><Relationship Id="rId10" Type="http://schemas.openxmlformats.org/officeDocument/2006/relationships/slideLayout" Target="../slideLayouts/slideLayout125.xml"/><Relationship Id="rId19" Type="http://schemas.openxmlformats.org/officeDocument/2006/relationships/slideLayout" Target="../slideLayouts/slideLayout134.xml"/><Relationship Id="rId31" Type="http://schemas.openxmlformats.org/officeDocument/2006/relationships/slideLayout" Target="../slideLayouts/slideLayout146.xml"/><Relationship Id="rId44" Type="http://schemas.openxmlformats.org/officeDocument/2006/relationships/image" Target="../media/image9.png"/><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slideLayout" Target="../slideLayouts/slideLayout129.xml"/><Relationship Id="rId22" Type="http://schemas.openxmlformats.org/officeDocument/2006/relationships/slideLayout" Target="../slideLayouts/slideLayout137.xml"/><Relationship Id="rId27" Type="http://schemas.openxmlformats.org/officeDocument/2006/relationships/slideLayout" Target="../slideLayouts/slideLayout142.xml"/><Relationship Id="rId30" Type="http://schemas.openxmlformats.org/officeDocument/2006/relationships/slideLayout" Target="../slideLayouts/slideLayout145.xml"/><Relationship Id="rId35" Type="http://schemas.openxmlformats.org/officeDocument/2006/relationships/slideLayout" Target="../slideLayouts/slideLayout150.xml"/><Relationship Id="rId43" Type="http://schemas.openxmlformats.org/officeDocument/2006/relationships/image" Target="../media/image8.png"/><Relationship Id="rId8" Type="http://schemas.openxmlformats.org/officeDocument/2006/relationships/slideLayout" Target="../slideLayouts/slideLayout123.xml"/><Relationship Id="rId3" Type="http://schemas.openxmlformats.org/officeDocument/2006/relationships/slideLayout" Target="../slideLayouts/slideLayout118.xml"/><Relationship Id="rId12" Type="http://schemas.openxmlformats.org/officeDocument/2006/relationships/slideLayout" Target="../slideLayouts/slideLayout127.xml"/><Relationship Id="rId17" Type="http://schemas.openxmlformats.org/officeDocument/2006/relationships/slideLayout" Target="../slideLayouts/slideLayout132.xml"/><Relationship Id="rId25" Type="http://schemas.openxmlformats.org/officeDocument/2006/relationships/slideLayout" Target="../slideLayouts/slideLayout140.xml"/><Relationship Id="rId33" Type="http://schemas.openxmlformats.org/officeDocument/2006/relationships/slideLayout" Target="../slideLayouts/slideLayout148.xml"/><Relationship Id="rId38" Type="http://schemas.openxmlformats.org/officeDocument/2006/relationships/slideLayout" Target="../slideLayouts/slideLayout153.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69.xml"/><Relationship Id="rId18" Type="http://schemas.openxmlformats.org/officeDocument/2006/relationships/slideLayout" Target="../slideLayouts/slideLayout174.xml"/><Relationship Id="rId26" Type="http://schemas.openxmlformats.org/officeDocument/2006/relationships/slideLayout" Target="../slideLayouts/slideLayout182.xml"/><Relationship Id="rId39" Type="http://schemas.openxmlformats.org/officeDocument/2006/relationships/slideLayout" Target="../slideLayouts/slideLayout195.xml"/><Relationship Id="rId21" Type="http://schemas.openxmlformats.org/officeDocument/2006/relationships/slideLayout" Target="../slideLayouts/slideLayout177.xml"/><Relationship Id="rId34" Type="http://schemas.openxmlformats.org/officeDocument/2006/relationships/slideLayout" Target="../slideLayouts/slideLayout190.xml"/><Relationship Id="rId42" Type="http://schemas.openxmlformats.org/officeDocument/2006/relationships/slideLayout" Target="../slideLayouts/slideLayout198.xml"/><Relationship Id="rId47" Type="http://schemas.openxmlformats.org/officeDocument/2006/relationships/slideLayout" Target="../slideLayouts/slideLayout203.xml"/><Relationship Id="rId50" Type="http://schemas.openxmlformats.org/officeDocument/2006/relationships/slideLayout" Target="../slideLayouts/slideLayout206.xml"/><Relationship Id="rId55" Type="http://schemas.openxmlformats.org/officeDocument/2006/relationships/slideLayout" Target="../slideLayouts/slideLayout211.xml"/><Relationship Id="rId7" Type="http://schemas.openxmlformats.org/officeDocument/2006/relationships/slideLayout" Target="../slideLayouts/slideLayout163.xml"/><Relationship Id="rId2" Type="http://schemas.openxmlformats.org/officeDocument/2006/relationships/slideLayout" Target="../slideLayouts/slideLayout158.xml"/><Relationship Id="rId16" Type="http://schemas.openxmlformats.org/officeDocument/2006/relationships/slideLayout" Target="../slideLayouts/slideLayout172.xml"/><Relationship Id="rId29" Type="http://schemas.openxmlformats.org/officeDocument/2006/relationships/slideLayout" Target="../slideLayouts/slideLayout185.xml"/><Relationship Id="rId11" Type="http://schemas.openxmlformats.org/officeDocument/2006/relationships/slideLayout" Target="../slideLayouts/slideLayout167.xml"/><Relationship Id="rId24" Type="http://schemas.openxmlformats.org/officeDocument/2006/relationships/slideLayout" Target="../slideLayouts/slideLayout180.xml"/><Relationship Id="rId32" Type="http://schemas.openxmlformats.org/officeDocument/2006/relationships/slideLayout" Target="../slideLayouts/slideLayout188.xml"/><Relationship Id="rId37" Type="http://schemas.openxmlformats.org/officeDocument/2006/relationships/slideLayout" Target="../slideLayouts/slideLayout193.xml"/><Relationship Id="rId40" Type="http://schemas.openxmlformats.org/officeDocument/2006/relationships/slideLayout" Target="../slideLayouts/slideLayout196.xml"/><Relationship Id="rId45" Type="http://schemas.openxmlformats.org/officeDocument/2006/relationships/slideLayout" Target="../slideLayouts/slideLayout201.xml"/><Relationship Id="rId53" Type="http://schemas.openxmlformats.org/officeDocument/2006/relationships/slideLayout" Target="../slideLayouts/slideLayout209.xml"/><Relationship Id="rId58" Type="http://schemas.openxmlformats.org/officeDocument/2006/relationships/theme" Target="../theme/theme6.xml"/><Relationship Id="rId5" Type="http://schemas.openxmlformats.org/officeDocument/2006/relationships/slideLayout" Target="../slideLayouts/slideLayout161.xml"/><Relationship Id="rId19" Type="http://schemas.openxmlformats.org/officeDocument/2006/relationships/slideLayout" Target="../slideLayouts/slideLayout175.xml"/><Relationship Id="rId4" Type="http://schemas.openxmlformats.org/officeDocument/2006/relationships/slideLayout" Target="../slideLayouts/slideLayout160.xml"/><Relationship Id="rId9" Type="http://schemas.openxmlformats.org/officeDocument/2006/relationships/slideLayout" Target="../slideLayouts/slideLayout165.xml"/><Relationship Id="rId14" Type="http://schemas.openxmlformats.org/officeDocument/2006/relationships/slideLayout" Target="../slideLayouts/slideLayout170.xml"/><Relationship Id="rId22" Type="http://schemas.openxmlformats.org/officeDocument/2006/relationships/slideLayout" Target="../slideLayouts/slideLayout178.xml"/><Relationship Id="rId27" Type="http://schemas.openxmlformats.org/officeDocument/2006/relationships/slideLayout" Target="../slideLayouts/slideLayout183.xml"/><Relationship Id="rId30" Type="http://schemas.openxmlformats.org/officeDocument/2006/relationships/slideLayout" Target="../slideLayouts/slideLayout186.xml"/><Relationship Id="rId35" Type="http://schemas.openxmlformats.org/officeDocument/2006/relationships/slideLayout" Target="../slideLayouts/slideLayout191.xml"/><Relationship Id="rId43" Type="http://schemas.openxmlformats.org/officeDocument/2006/relationships/slideLayout" Target="../slideLayouts/slideLayout199.xml"/><Relationship Id="rId48" Type="http://schemas.openxmlformats.org/officeDocument/2006/relationships/slideLayout" Target="../slideLayouts/slideLayout204.xml"/><Relationship Id="rId56" Type="http://schemas.openxmlformats.org/officeDocument/2006/relationships/slideLayout" Target="../slideLayouts/slideLayout212.xml"/><Relationship Id="rId8" Type="http://schemas.openxmlformats.org/officeDocument/2006/relationships/slideLayout" Target="../slideLayouts/slideLayout164.xml"/><Relationship Id="rId51" Type="http://schemas.openxmlformats.org/officeDocument/2006/relationships/slideLayout" Target="../slideLayouts/slideLayout207.xml"/><Relationship Id="rId3" Type="http://schemas.openxmlformats.org/officeDocument/2006/relationships/slideLayout" Target="../slideLayouts/slideLayout159.xml"/><Relationship Id="rId12" Type="http://schemas.openxmlformats.org/officeDocument/2006/relationships/slideLayout" Target="../slideLayouts/slideLayout168.xml"/><Relationship Id="rId17" Type="http://schemas.openxmlformats.org/officeDocument/2006/relationships/slideLayout" Target="../slideLayouts/slideLayout173.xml"/><Relationship Id="rId25" Type="http://schemas.openxmlformats.org/officeDocument/2006/relationships/slideLayout" Target="../slideLayouts/slideLayout181.xml"/><Relationship Id="rId33" Type="http://schemas.openxmlformats.org/officeDocument/2006/relationships/slideLayout" Target="../slideLayouts/slideLayout189.xml"/><Relationship Id="rId38" Type="http://schemas.openxmlformats.org/officeDocument/2006/relationships/slideLayout" Target="../slideLayouts/slideLayout194.xml"/><Relationship Id="rId46" Type="http://schemas.openxmlformats.org/officeDocument/2006/relationships/slideLayout" Target="../slideLayouts/slideLayout202.xml"/><Relationship Id="rId59" Type="http://schemas.openxmlformats.org/officeDocument/2006/relationships/image" Target="../media/image2.png"/><Relationship Id="rId20" Type="http://schemas.openxmlformats.org/officeDocument/2006/relationships/slideLayout" Target="../slideLayouts/slideLayout176.xml"/><Relationship Id="rId41" Type="http://schemas.openxmlformats.org/officeDocument/2006/relationships/slideLayout" Target="../slideLayouts/slideLayout197.xml"/><Relationship Id="rId54" Type="http://schemas.openxmlformats.org/officeDocument/2006/relationships/slideLayout" Target="../slideLayouts/slideLayout210.xml"/><Relationship Id="rId1" Type="http://schemas.openxmlformats.org/officeDocument/2006/relationships/slideLayout" Target="../slideLayouts/slideLayout157.xml"/><Relationship Id="rId6" Type="http://schemas.openxmlformats.org/officeDocument/2006/relationships/slideLayout" Target="../slideLayouts/slideLayout162.xml"/><Relationship Id="rId15" Type="http://schemas.openxmlformats.org/officeDocument/2006/relationships/slideLayout" Target="../slideLayouts/slideLayout171.xml"/><Relationship Id="rId23" Type="http://schemas.openxmlformats.org/officeDocument/2006/relationships/slideLayout" Target="../slideLayouts/slideLayout179.xml"/><Relationship Id="rId28" Type="http://schemas.openxmlformats.org/officeDocument/2006/relationships/slideLayout" Target="../slideLayouts/slideLayout184.xml"/><Relationship Id="rId36" Type="http://schemas.openxmlformats.org/officeDocument/2006/relationships/slideLayout" Target="../slideLayouts/slideLayout192.xml"/><Relationship Id="rId49" Type="http://schemas.openxmlformats.org/officeDocument/2006/relationships/slideLayout" Target="../slideLayouts/slideLayout205.xml"/><Relationship Id="rId57" Type="http://schemas.openxmlformats.org/officeDocument/2006/relationships/slideLayout" Target="../slideLayouts/slideLayout213.xml"/><Relationship Id="rId10" Type="http://schemas.openxmlformats.org/officeDocument/2006/relationships/slideLayout" Target="../slideLayouts/slideLayout166.xml"/><Relationship Id="rId31" Type="http://schemas.openxmlformats.org/officeDocument/2006/relationships/slideLayout" Target="../slideLayouts/slideLayout187.xml"/><Relationship Id="rId44" Type="http://schemas.openxmlformats.org/officeDocument/2006/relationships/slideLayout" Target="../slideLayouts/slideLayout200.xml"/><Relationship Id="rId52" Type="http://schemas.openxmlformats.org/officeDocument/2006/relationships/slideLayout" Target="../slideLayouts/slideLayout20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18288" y="27432"/>
            <a:ext cx="8345488"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userDrawn="1"/>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Arial" panose="020B0604020202020204" pitchFamily="34" charset="0"/>
                <a:ea typeface="+mn-ea"/>
                <a:cs typeface="Arial" panose="020B0604020202020204" pitchFamily="34" charset="0"/>
              </a:rPr>
              <a:t>© 2018  Cisco and/or its affiliates. All rights reserved.   Cisco Public</a:t>
            </a:r>
          </a:p>
        </p:txBody>
      </p:sp>
    </p:spTree>
  </p:cSld>
  <p:clrMap bg1="lt1" tx1="dk1" bg2="lt2" tx2="dk2" accent1="accent1" accent2="accent2" accent3="accent3" accent4="accent4" accent5="accent5" accent6="accent6" hlink="hlink" folHlink="folHlink"/>
  <p:sldLayoutIdLst>
    <p:sldLayoutId id="2147483874" r:id="rId1"/>
  </p:sldLayoutIdLst>
  <p:txStyles>
    <p:titleStyle>
      <a:lvl1pPr algn="l" defTabSz="684213" rtl="0" eaLnBrk="1" fontAlgn="base" hangingPunct="1">
        <a:lnSpc>
          <a:spcPct val="80000"/>
        </a:lnSpc>
        <a:spcBef>
          <a:spcPct val="0"/>
        </a:spcBef>
        <a:spcAft>
          <a:spcPct val="0"/>
        </a:spcAft>
        <a:defRPr lang="en-US" sz="2800" b="0" i="0" u="none" kern="1200" dirty="0">
          <a:solidFill>
            <a:schemeClr val="bg1"/>
          </a:solidFill>
          <a:latin typeface="+mj-lt"/>
          <a:ea typeface="CiscoSansTT Light" panose="020B0503020201020303" pitchFamily="34" charset="0"/>
          <a:cs typeface="CiscoSansTT Light" panose="020B0503020201020303" pitchFamily="34"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892">
          <p15:clr>
            <a:srgbClr val="F26B43"/>
          </p15:clr>
        </p15:guide>
        <p15:guide id="2" pos="336">
          <p15:clr>
            <a:srgbClr val="F26B43"/>
          </p15:clr>
        </p15:guide>
        <p15:guide id="3" pos="5448">
          <p15:clr>
            <a:srgbClr val="F26B43"/>
          </p15:clr>
        </p15:guide>
        <p15:guide id="4" orient="horz" pos="757">
          <p15:clr>
            <a:srgbClr val="F26B43"/>
          </p15:clr>
        </p15:guide>
        <p15:guide id="5" orient="horz" pos="335">
          <p15:clr>
            <a:srgbClr val="F26B43"/>
          </p15:clr>
        </p15:guide>
        <p15:guide id="6" pos="2876">
          <p15:clr>
            <a:srgbClr val="F26B43"/>
          </p15:clr>
        </p15:guide>
        <p15:guide id="7" orient="horz" pos="104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18288" y="27432"/>
            <a:ext cx="8339328" cy="649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p>
            <a:pPr lvl="0"/>
            <a:r>
              <a:rPr lang="en-GB" dirty="0"/>
              <a:t>Title Goes Here</a:t>
            </a:r>
          </a:p>
        </p:txBody>
      </p:sp>
      <p:sp>
        <p:nvSpPr>
          <p:cNvPr id="13" name="Rectangle 4"/>
          <p:cNvSpPr>
            <a:spLocks noChangeArrowheads="1"/>
          </p:cNvSpPr>
          <p:nvPr/>
        </p:nvSpPr>
        <p:spPr bwMode="ltGray">
          <a:xfrm>
            <a:off x="477679" y="4741653"/>
            <a:ext cx="3401050" cy="154518"/>
          </a:xfrm>
          <a:prstGeom prst="rect">
            <a:avLst/>
          </a:prstGeom>
          <a:noFill/>
          <a:ln w="9525">
            <a:noFill/>
            <a:miter lim="800000"/>
            <a:headEnd/>
            <a:tailEnd/>
          </a:ln>
          <a:effectLst/>
        </p:spPr>
        <p:txBody>
          <a:bodyPr wrap="square" lIns="61586" tIns="30792" rIns="61586" bIns="30792" anchor="b">
            <a:spAutoFit/>
          </a:bodyPr>
          <a:lstStyle/>
          <a:p>
            <a:pPr defTabSz="610744" fontAlgn="auto">
              <a:spcBef>
                <a:spcPts val="0"/>
              </a:spcBef>
              <a:spcAft>
                <a:spcPts val="0"/>
              </a:spcAft>
              <a:defRPr/>
            </a:pPr>
            <a:r>
              <a:rPr lang="en-US" sz="600" spc="20" baseline="0" dirty="0">
                <a:solidFill>
                  <a:schemeClr val="bg2">
                    <a:lumMod val="65000"/>
                  </a:schemeClr>
                </a:solidFill>
                <a:latin typeface="Arial" panose="020B0604020202020204" pitchFamily="34" charset="0"/>
                <a:ea typeface="+mn-ea"/>
                <a:cs typeface="Arial" panose="020B0604020202020204" pitchFamily="34" charset="0"/>
              </a:rPr>
              <a:t>© 2018  Cisco and/or its affiliates. All rights reserved.   Cisco Public</a:t>
            </a:r>
          </a:p>
        </p:txBody>
      </p:sp>
    </p:spTree>
    <p:extLst>
      <p:ext uri="{BB962C8B-B14F-4D97-AF65-F5344CB8AC3E}">
        <p14:creationId xmlns:p14="http://schemas.microsoft.com/office/powerpoint/2010/main" val="1973290129"/>
      </p:ext>
    </p:extLst>
  </p:cSld>
  <p:clrMap bg1="lt1" tx1="dk1" bg2="lt2" tx2="dk2" accent1="accent1" accent2="accent2" accent3="accent3" accent4="accent4" accent5="accent5" accent6="accent6" hlink="hlink" folHlink="folHlink"/>
  <p:sldLayoutIdLst>
    <p:sldLayoutId id="2147483876" r:id="rId1"/>
    <p:sldLayoutId id="2147484013" r:id="rId2"/>
    <p:sldLayoutId id="2147483982" r:id="rId3"/>
    <p:sldLayoutId id="2147484047" r:id="rId4"/>
    <p:sldLayoutId id="2147484067" r:id="rId5"/>
    <p:sldLayoutId id="2147484042" r:id="rId6"/>
    <p:sldLayoutId id="2147484044" r:id="rId7"/>
    <p:sldLayoutId id="2147484045" r:id="rId8"/>
    <p:sldLayoutId id="2147484046" r:id="rId9"/>
    <p:sldLayoutId id="2147484050" r:id="rId10"/>
    <p:sldLayoutId id="2147484057" r:id="rId11"/>
    <p:sldLayoutId id="2147484060" r:id="rId12"/>
    <p:sldLayoutId id="2147484058" r:id="rId13"/>
    <p:sldLayoutId id="2147484068" r:id="rId14"/>
    <p:sldLayoutId id="2147484069" r:id="rId15"/>
    <p:sldLayoutId id="2147484070" r:id="rId16"/>
    <p:sldLayoutId id="2147484066" r:id="rId17"/>
    <p:sldLayoutId id="2147484129" r:id="rId18"/>
    <p:sldLayoutId id="2147484132" r:id="rId19"/>
    <p:sldLayoutId id="2147484133" r:id="rId20"/>
    <p:sldLayoutId id="2147484134" r:id="rId21"/>
    <p:sldLayoutId id="2147484135" r:id="rId22"/>
    <p:sldLayoutId id="2147484137" r:id="rId23"/>
    <p:sldLayoutId id="2147484190" r:id="rId24"/>
    <p:sldLayoutId id="2147484201" r:id="rId25"/>
  </p:sldLayoutIdLst>
  <p:txStyles>
    <p:titleStyle>
      <a:lvl1pPr algn="l" defTabSz="684213" rtl="0" eaLnBrk="1" fontAlgn="base" hangingPunct="1">
        <a:lnSpc>
          <a:spcPct val="80000"/>
        </a:lnSpc>
        <a:spcBef>
          <a:spcPct val="0"/>
        </a:spcBef>
        <a:spcAft>
          <a:spcPct val="0"/>
        </a:spcAft>
        <a:defRPr lang="en-US" sz="2800" b="0" i="0" u="none" kern="1200" dirty="0">
          <a:solidFill>
            <a:schemeClr val="tx2"/>
          </a:solidFill>
          <a:latin typeface="Arial" panose="020B0604020202020204" pitchFamily="34" charset="0"/>
          <a:ea typeface="Arial" panose="020B0604020202020204" pitchFamily="34" charset="0"/>
          <a:cs typeface="Arial" panose="020B0604020202020204" pitchFamily="34"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8" orient="horz" pos="2892" userDrawn="1">
          <p15:clr>
            <a:srgbClr val="F26B43"/>
          </p15:clr>
        </p15:guide>
        <p15:guide id="9" pos="336" userDrawn="1">
          <p15:clr>
            <a:srgbClr val="F26B43"/>
          </p15:clr>
        </p15:guide>
        <p15:guide id="10" pos="5448" userDrawn="1">
          <p15:clr>
            <a:srgbClr val="F26B43"/>
          </p15:clr>
        </p15:guide>
        <p15:guide id="11" orient="horz" pos="757" userDrawn="1">
          <p15:clr>
            <a:srgbClr val="F26B43"/>
          </p15:clr>
        </p15:guide>
        <p15:guide id="12" orient="horz" pos="335" userDrawn="1">
          <p15:clr>
            <a:srgbClr val="F26B43"/>
          </p15:clr>
        </p15:guide>
        <p15:guide id="13" pos="2876" userDrawn="1">
          <p15:clr>
            <a:srgbClr val="F26B43"/>
          </p15:clr>
        </p15:guide>
        <p15:guide id="14" orient="horz" pos="104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8515707" y="474290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6A1E46DC-7EF6-4EA2-B285-14272867D133}" type="slidenum">
              <a:rPr lang="en-US" sz="600">
                <a:solidFill>
                  <a:srgbClr val="000000">
                    <a:alpha val="25000"/>
                  </a:srgbClr>
                </a:solidFill>
                <a:latin typeface="Arial Regular" charset="0"/>
                <a:ea typeface=""/>
                <a:cs typeface="CiscoSans Thin"/>
              </a:rPr>
              <a:pPr algn="r" defTabSz="610744" fontAlgn="auto">
                <a:spcBef>
                  <a:spcPts val="0"/>
                </a:spcBef>
                <a:spcAft>
                  <a:spcPts val="0"/>
                </a:spcAft>
                <a:defRPr/>
              </a:pPr>
              <a:t>‹#›</a:t>
            </a:fld>
            <a:endParaRPr lang="en-US" sz="600" dirty="0">
              <a:solidFill>
                <a:srgbClr val="000000">
                  <a:alpha val="25000"/>
                </a:srgbClr>
              </a:solidFill>
              <a:latin typeface="Arial Regular" charset="0"/>
              <a:ea typeface=""/>
              <a:cs typeface="CiscoSans Thin"/>
            </a:endParaRPr>
          </a:p>
        </p:txBody>
      </p:sp>
      <p:sp>
        <p:nvSpPr>
          <p:cNvPr id="13" name="Rectangle 4"/>
          <p:cNvSpPr>
            <a:spLocks noChangeArrowheads="1"/>
          </p:cNvSpPr>
          <p:nvPr/>
        </p:nvSpPr>
        <p:spPr bwMode="ltGray">
          <a:xfrm>
            <a:off x="5867508" y="47416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Regular" charset="0"/>
                <a:ea typeface=""/>
                <a:cs typeface="CiscoSans Thin"/>
              </a:rPr>
              <a:t>© 2016  Cisco and/or its affiliates. All rights reserved.   Cisco Confidential</a:t>
            </a:r>
          </a:p>
        </p:txBody>
      </p:sp>
      <p:pic>
        <p:nvPicPr>
          <p:cNvPr id="1029" name="Picture 2"/>
          <p:cNvPicPr>
            <a:picLocks noChangeAspect="1" noChangeArrowheads="1"/>
          </p:cNvPicPr>
          <p:nvPr/>
        </p:nvPicPr>
        <p:blipFill>
          <a:blip r:embed="rId50">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65540101"/>
      </p:ext>
    </p:extLst>
  </p:cSld>
  <p:clrMap bg1="lt1" tx1="dk1" bg2="lt2" tx2="dk2" accent1="accent1" accent2="accent2" accent3="accent3" accent4="accent4" accent5="accent5" accent6="accent6" hlink="hlink" folHlink="folHlink"/>
  <p:sldLayoutIdLst>
    <p:sldLayoutId id="2147484140" r:id="rId1"/>
    <p:sldLayoutId id="2147484141" r:id="rId2"/>
    <p:sldLayoutId id="2147484142" r:id="rId3"/>
    <p:sldLayoutId id="2147484143" r:id="rId4"/>
    <p:sldLayoutId id="2147484144" r:id="rId5"/>
    <p:sldLayoutId id="2147484145" r:id="rId6"/>
    <p:sldLayoutId id="2147484146" r:id="rId7"/>
    <p:sldLayoutId id="2147484147" r:id="rId8"/>
    <p:sldLayoutId id="2147484148" r:id="rId9"/>
    <p:sldLayoutId id="2147484149" r:id="rId10"/>
    <p:sldLayoutId id="2147484150" r:id="rId11"/>
    <p:sldLayoutId id="2147484151" r:id="rId12"/>
    <p:sldLayoutId id="2147484152" r:id="rId13"/>
    <p:sldLayoutId id="2147484153" r:id="rId14"/>
    <p:sldLayoutId id="2147484154" r:id="rId15"/>
    <p:sldLayoutId id="2147484155" r:id="rId16"/>
    <p:sldLayoutId id="2147484156" r:id="rId17"/>
    <p:sldLayoutId id="2147484157" r:id="rId18"/>
    <p:sldLayoutId id="2147484158" r:id="rId19"/>
    <p:sldLayoutId id="2147484159" r:id="rId20"/>
    <p:sldLayoutId id="2147484160" r:id="rId21"/>
    <p:sldLayoutId id="2147484161" r:id="rId22"/>
    <p:sldLayoutId id="2147484162" r:id="rId23"/>
    <p:sldLayoutId id="2147484163" r:id="rId24"/>
    <p:sldLayoutId id="2147484164" r:id="rId25"/>
    <p:sldLayoutId id="2147484165" r:id="rId26"/>
    <p:sldLayoutId id="2147484166" r:id="rId27"/>
    <p:sldLayoutId id="2147484167" r:id="rId28"/>
    <p:sldLayoutId id="2147484168" r:id="rId29"/>
    <p:sldLayoutId id="2147484169" r:id="rId30"/>
    <p:sldLayoutId id="2147484170" r:id="rId31"/>
    <p:sldLayoutId id="2147484171" r:id="rId32"/>
    <p:sldLayoutId id="2147484172" r:id="rId33"/>
    <p:sldLayoutId id="2147484173" r:id="rId34"/>
    <p:sldLayoutId id="2147484174" r:id="rId35"/>
    <p:sldLayoutId id="2147484175" r:id="rId36"/>
    <p:sldLayoutId id="2147484176" r:id="rId37"/>
    <p:sldLayoutId id="2147484177" r:id="rId38"/>
    <p:sldLayoutId id="2147484178" r:id="rId39"/>
    <p:sldLayoutId id="2147484179" r:id="rId40"/>
    <p:sldLayoutId id="2147484180" r:id="rId41"/>
    <p:sldLayoutId id="2147484181" r:id="rId42"/>
    <p:sldLayoutId id="2147484182" r:id="rId43"/>
    <p:sldLayoutId id="2147484183" r:id="rId44"/>
    <p:sldLayoutId id="2147484185" r:id="rId45"/>
    <p:sldLayoutId id="2147484186" r:id="rId46"/>
    <p:sldLayoutId id="2147484187" r:id="rId47"/>
    <p:sldLayoutId id="2147484188" r:id="rId48"/>
  </p:sldLayoutIdLst>
  <p:transition spd="slow">
    <p:wipe/>
  </p:transition>
  <p:txStyles>
    <p:titleStyle>
      <a:lvl1pPr algn="l" defTabSz="684213" rtl="0" eaLnBrk="1" fontAlgn="base" hangingPunct="1">
        <a:lnSpc>
          <a:spcPct val="80000"/>
        </a:lnSpc>
        <a:spcBef>
          <a:spcPct val="0"/>
        </a:spcBef>
        <a:spcAft>
          <a:spcPct val="0"/>
        </a:spcAft>
        <a:defRPr lang="en-US" sz="3200" b="0" i="0" kern="1200" dirty="0">
          <a:solidFill>
            <a:schemeClr val="tx2"/>
          </a:solidFill>
          <a:latin typeface="Arial Regular" charset="0"/>
          <a:ea typeface="ＭＳ Ｐゴシック" charset="0"/>
          <a:cs typeface="CiscoSans"/>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a:t>Title Goes Here</a:t>
            </a:r>
          </a:p>
        </p:txBody>
      </p:sp>
      <p:sp>
        <p:nvSpPr>
          <p:cNvPr id="12" name="Rectangle 7"/>
          <p:cNvSpPr>
            <a:spLocks noChangeArrowheads="1"/>
          </p:cNvSpPr>
          <p:nvPr/>
        </p:nvSpPr>
        <p:spPr bwMode="ltGray">
          <a:xfrm>
            <a:off x="7176228" y="488514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E929D1B0-96A1-4BC8-8FD0-23CFA2B08110}" type="slidenum">
              <a:rPr lang="en-US" sz="600">
                <a:solidFill>
                  <a:srgbClr val="000000">
                    <a:alpha val="25000"/>
                  </a:srgbClr>
                </a:solidFill>
                <a:latin typeface="Arial"/>
                <a:ea typeface=""/>
                <a:cs typeface="CiscoSans Thin"/>
              </a:rPr>
              <a:pPr algn="r" defTabSz="610744"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4528029" y="48940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ea typeface=""/>
                <a:cs typeface="CiscoSans Thin"/>
              </a:rPr>
              <a:t>© 2017 Cisco and/or its affiliates. All rights reserved.   Cisco Confidential</a:t>
            </a:r>
          </a:p>
        </p:txBody>
      </p:sp>
      <p:pic>
        <p:nvPicPr>
          <p:cNvPr id="1029" name="Picture 15"/>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7732713" y="4592638"/>
            <a:ext cx="14065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2"/>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90525" y="4713288"/>
            <a:ext cx="34607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1134019" y="4883821"/>
            <a:ext cx="1939490" cy="215444"/>
          </a:xfrm>
          <a:prstGeom prst="rect">
            <a:avLst/>
          </a:prstGeom>
          <a:noFill/>
        </p:spPr>
        <p:txBody>
          <a:bodyPr wrap="square" rtlCol="0">
            <a:spAutoFit/>
          </a:bodyPr>
          <a:lstStyle/>
          <a:p>
            <a:pPr eaLnBrk="0" hangingPunct="0"/>
            <a:r>
              <a:rPr lang="en-US" sz="800" i="1">
                <a:solidFill>
                  <a:srgbClr val="9E9EA2">
                    <a:lumMod val="60000"/>
                    <a:lumOff val="40000"/>
                  </a:srgbClr>
                </a:solidFill>
                <a:latin typeface="Arial" panose="020B0604020202020204" pitchFamily="34" charset="0"/>
                <a:ea typeface="ＭＳ Ｐゴシック" panose="020B0600070205080204" pitchFamily="34" charset="-128"/>
                <a:cs typeface=""/>
              </a:rPr>
              <a:t>#</a:t>
            </a:r>
            <a:r>
              <a:rPr lang="en-US" sz="800" i="1" dirty="0">
                <a:solidFill>
                  <a:srgbClr val="9E9EA2">
                    <a:lumMod val="60000"/>
                    <a:lumOff val="40000"/>
                  </a:srgbClr>
                </a:solidFill>
                <a:latin typeface="Arial" panose="020B0604020202020204" pitchFamily="34" charset="0"/>
                <a:ea typeface="ＭＳ Ｐゴシック" panose="020B0600070205080204" pitchFamily="34" charset="-128"/>
                <a:cs typeface=""/>
              </a:rPr>
              <a:t>WWST	</a:t>
            </a:r>
            <a:r>
              <a:rPr lang="en-US" sz="800" i="1">
                <a:solidFill>
                  <a:srgbClr val="9E9EA2">
                    <a:lumMod val="60000"/>
                    <a:lumOff val="40000"/>
                  </a:srgbClr>
                </a:solidFill>
                <a:latin typeface="Arial" panose="020B0604020202020204" pitchFamily="34" charset="0"/>
                <a:ea typeface="ＭＳ Ｐゴシック" panose="020B0600070205080204" pitchFamily="34" charset="-128"/>
                <a:cs typeface=""/>
              </a:rPr>
              <a:t>#CISCOVT  </a:t>
            </a:r>
            <a:r>
              <a:rPr lang="en-US" sz="800" i="1" dirty="0">
                <a:solidFill>
                  <a:srgbClr val="9E9EA2">
                    <a:lumMod val="60000"/>
                    <a:lumOff val="40000"/>
                  </a:srgbClr>
                </a:solidFill>
                <a:latin typeface="Arial" panose="020B0604020202020204" pitchFamily="34" charset="0"/>
                <a:ea typeface="ＭＳ Ｐゴシック" panose="020B0600070205080204" pitchFamily="34" charset="-128"/>
                <a:cs typeface=""/>
              </a:rPr>
              <a:t>#CISCOSE</a:t>
            </a:r>
          </a:p>
        </p:txBody>
      </p:sp>
    </p:spTree>
    <p:extLst>
      <p:ext uri="{BB962C8B-B14F-4D97-AF65-F5344CB8AC3E}">
        <p14:creationId xmlns:p14="http://schemas.microsoft.com/office/powerpoint/2010/main" val="724125201"/>
      </p:ext>
    </p:extLst>
  </p:cSld>
  <p:clrMap bg1="lt1" tx1="dk1" bg2="lt2" tx2="dk2" accent1="accent1" accent2="accent2" accent3="accent3" accent4="accent4" accent5="accent5" accent6="accent6" hlink="hlink" folHlink="folHlink"/>
  <p:sldLayoutIdLst>
    <p:sldLayoutId id="2147484203" r:id="rId1"/>
    <p:sldLayoutId id="2147484204" r:id="rId2"/>
    <p:sldLayoutId id="2147484205" r:id="rId3"/>
    <p:sldLayoutId id="2147484206" r:id="rId4"/>
    <p:sldLayoutId id="2147484207" r:id="rId5"/>
    <p:sldLayoutId id="2147484208" r:id="rId6"/>
    <p:sldLayoutId id="2147484209" r:id="rId7"/>
    <p:sldLayoutId id="2147484210" r:id="rId8"/>
    <p:sldLayoutId id="2147484211" r:id="rId9"/>
    <p:sldLayoutId id="2147484212" r:id="rId10"/>
    <p:sldLayoutId id="2147484213" r:id="rId11"/>
    <p:sldLayoutId id="2147484214" r:id="rId12"/>
    <p:sldLayoutId id="2147484215" r:id="rId13"/>
    <p:sldLayoutId id="2147484216" r:id="rId14"/>
    <p:sldLayoutId id="2147484217" r:id="rId15"/>
    <p:sldLayoutId id="2147484218" r:id="rId16"/>
    <p:sldLayoutId id="2147484219" r:id="rId17"/>
    <p:sldLayoutId id="2147484220" r:id="rId18"/>
    <p:sldLayoutId id="2147484221" r:id="rId19"/>
    <p:sldLayoutId id="2147484222" r:id="rId20"/>
    <p:sldLayoutId id="2147484223" r:id="rId21"/>
    <p:sldLayoutId id="2147484224" r:id="rId22"/>
    <p:sldLayoutId id="2147484225" r:id="rId23"/>
    <p:sldLayoutId id="2147484226" r:id="rId24"/>
    <p:sldLayoutId id="2147484227" r:id="rId25"/>
    <p:sldLayoutId id="2147484228" r:id="rId26"/>
    <p:sldLayoutId id="2147484229" r:id="rId27"/>
    <p:sldLayoutId id="2147484230" r:id="rId28"/>
    <p:sldLayoutId id="2147484231" r:id="rId29"/>
    <p:sldLayoutId id="2147484232" r:id="rId30"/>
    <p:sldLayoutId id="2147484233" r:id="rId31"/>
    <p:sldLayoutId id="2147484234" r:id="rId32"/>
    <p:sldLayoutId id="2147484235" r:id="rId33"/>
    <p:sldLayoutId id="2147484236" r:id="rId34"/>
    <p:sldLayoutId id="2147484237" r:id="rId35"/>
    <p:sldLayoutId id="2147484238" r:id="rId36"/>
    <p:sldLayoutId id="2147484239" r:id="rId37"/>
    <p:sldLayoutId id="2147484240" r:id="rId38"/>
    <p:sldLayoutId id="2147484241" r:id="rId39"/>
    <p:sldLayoutId id="2147484242" r:id="rId40"/>
    <p:sldLayoutId id="2147484243" r:id="rId41"/>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chemeClr val="tx2"/>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chemeClr val="tx2"/>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chemeClr val="tx2"/>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chemeClr val="tx2"/>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panose="020B0604020202020204" pitchFamily="34"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panose="020B0604020202020204" pitchFamily="34"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panose="020B0604020202020204" pitchFamily="34"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panose="020B0604020202020204" pitchFamily="34"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panose="020B0604020202020204" pitchFamily="34"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3"/>
            <a:ext cx="834548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a:t>Title Goes Here</a:t>
            </a:r>
          </a:p>
        </p:txBody>
      </p:sp>
      <p:sp>
        <p:nvSpPr>
          <p:cNvPr id="12" name="Rectangle 7"/>
          <p:cNvSpPr>
            <a:spLocks noChangeArrowheads="1"/>
          </p:cNvSpPr>
          <p:nvPr/>
        </p:nvSpPr>
        <p:spPr bwMode="ltGray">
          <a:xfrm>
            <a:off x="7176228" y="4885147"/>
            <a:ext cx="218414" cy="154518"/>
          </a:xfrm>
          <a:prstGeom prst="rect">
            <a:avLst/>
          </a:prstGeom>
          <a:noFill/>
          <a:ln w="9525" algn="ctr">
            <a:noFill/>
            <a:miter lim="800000"/>
            <a:headEnd/>
            <a:tailEnd/>
          </a:ln>
          <a:effectLst/>
        </p:spPr>
        <p:txBody>
          <a:bodyPr wrap="none" lIns="61586" tIns="30792" rIns="61586" bIns="30792" anchor="b">
            <a:spAutoFit/>
          </a:bodyPr>
          <a:lstStyle/>
          <a:p>
            <a:pPr algn="r" defTabSz="610744" fontAlgn="auto">
              <a:spcBef>
                <a:spcPts val="0"/>
              </a:spcBef>
              <a:spcAft>
                <a:spcPts val="0"/>
              </a:spcAft>
              <a:defRPr/>
            </a:pPr>
            <a:fld id="{E929D1B0-96A1-4BC8-8FD0-23CFA2B08110}" type="slidenum">
              <a:rPr lang="en-US" sz="600">
                <a:solidFill>
                  <a:srgbClr val="000000">
                    <a:alpha val="25000"/>
                  </a:srgbClr>
                </a:solidFill>
                <a:latin typeface="Arial"/>
                <a:ea typeface=""/>
                <a:cs typeface="CiscoSans Thin"/>
              </a:rPr>
              <a:pPr algn="r" defTabSz="610744"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4528029" y="4894053"/>
            <a:ext cx="2658018" cy="154518"/>
          </a:xfrm>
          <a:prstGeom prst="rect">
            <a:avLst/>
          </a:prstGeom>
          <a:noFill/>
          <a:ln w="9525">
            <a:noFill/>
            <a:miter lim="800000"/>
            <a:headEnd/>
            <a:tailEnd/>
          </a:ln>
          <a:effectLst/>
        </p:spPr>
        <p:txBody>
          <a:bodyPr lIns="61586" tIns="30792" rIns="61586" bIns="30792" anchor="b">
            <a:spAutoFit/>
          </a:bodyPr>
          <a:lstStyle/>
          <a:p>
            <a:pPr defTabSz="610744" fontAlgn="auto">
              <a:spcBef>
                <a:spcPts val="0"/>
              </a:spcBef>
              <a:spcAft>
                <a:spcPts val="0"/>
              </a:spcAft>
              <a:defRPr/>
            </a:pPr>
            <a:r>
              <a:rPr lang="en-US" sz="600" dirty="0">
                <a:solidFill>
                  <a:srgbClr val="000000">
                    <a:alpha val="25000"/>
                  </a:srgbClr>
                </a:solidFill>
                <a:latin typeface="Arial"/>
                <a:ea typeface=""/>
                <a:cs typeface="CiscoSans Thin"/>
              </a:rPr>
              <a:t>© 2017 Cisco and/or its affiliates. All rights reserved.   Cisco Confidential</a:t>
            </a:r>
          </a:p>
        </p:txBody>
      </p:sp>
      <p:pic>
        <p:nvPicPr>
          <p:cNvPr id="1029" name="Picture 15"/>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7732713" y="4592638"/>
            <a:ext cx="14065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2"/>
          <p:cNvPicPr>
            <a:picLocks noChangeAspect="1"/>
          </p:cNvPicPr>
          <p:nvPr/>
        </p:nvPicPr>
        <p:blipFill>
          <a:blip r:embed="rId44">
            <a:extLst>
              <a:ext uri="{28A0092B-C50C-407E-A947-70E740481C1C}">
                <a14:useLocalDpi xmlns:a14="http://schemas.microsoft.com/office/drawing/2010/main" val="0"/>
              </a:ext>
            </a:extLst>
          </a:blip>
          <a:srcRect/>
          <a:stretch>
            <a:fillRect/>
          </a:stretch>
        </p:blipFill>
        <p:spPr bwMode="auto">
          <a:xfrm>
            <a:off x="390525" y="4713288"/>
            <a:ext cx="34607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userDrawn="1"/>
        </p:nvSpPr>
        <p:spPr>
          <a:xfrm>
            <a:off x="1134019" y="4883821"/>
            <a:ext cx="1939490" cy="215444"/>
          </a:xfrm>
          <a:prstGeom prst="rect">
            <a:avLst/>
          </a:prstGeom>
          <a:noFill/>
        </p:spPr>
        <p:txBody>
          <a:bodyPr wrap="square" rtlCol="0">
            <a:spAutoFit/>
          </a:bodyPr>
          <a:lstStyle/>
          <a:p>
            <a:pPr eaLnBrk="0" hangingPunct="0"/>
            <a:r>
              <a:rPr lang="en-US" sz="800" i="1">
                <a:solidFill>
                  <a:srgbClr val="9E9EA2">
                    <a:lumMod val="60000"/>
                    <a:lumOff val="40000"/>
                  </a:srgbClr>
                </a:solidFill>
                <a:latin typeface="Arial" panose="020B0604020202020204" pitchFamily="34" charset="0"/>
                <a:ea typeface="ＭＳ Ｐゴシック" panose="020B0600070205080204" pitchFamily="34" charset="-128"/>
                <a:cs typeface=""/>
              </a:rPr>
              <a:t>#</a:t>
            </a:r>
            <a:r>
              <a:rPr lang="en-US" sz="800" i="1" dirty="0">
                <a:solidFill>
                  <a:srgbClr val="9E9EA2">
                    <a:lumMod val="60000"/>
                    <a:lumOff val="40000"/>
                  </a:srgbClr>
                </a:solidFill>
                <a:latin typeface="Arial" panose="020B0604020202020204" pitchFamily="34" charset="0"/>
                <a:ea typeface="ＭＳ Ｐゴシック" panose="020B0600070205080204" pitchFamily="34" charset="-128"/>
                <a:cs typeface=""/>
              </a:rPr>
              <a:t>WWST	</a:t>
            </a:r>
            <a:r>
              <a:rPr lang="en-US" sz="800" i="1">
                <a:solidFill>
                  <a:srgbClr val="9E9EA2">
                    <a:lumMod val="60000"/>
                    <a:lumOff val="40000"/>
                  </a:srgbClr>
                </a:solidFill>
                <a:latin typeface="Arial" panose="020B0604020202020204" pitchFamily="34" charset="0"/>
                <a:ea typeface="ＭＳ Ｐゴシック" panose="020B0600070205080204" pitchFamily="34" charset="-128"/>
                <a:cs typeface=""/>
              </a:rPr>
              <a:t>#CISCOVT  </a:t>
            </a:r>
            <a:r>
              <a:rPr lang="en-US" sz="800" i="1" dirty="0">
                <a:solidFill>
                  <a:srgbClr val="9E9EA2">
                    <a:lumMod val="60000"/>
                    <a:lumOff val="40000"/>
                  </a:srgbClr>
                </a:solidFill>
                <a:latin typeface="Arial" panose="020B0604020202020204" pitchFamily="34" charset="0"/>
                <a:ea typeface="ＭＳ Ｐゴシック" panose="020B0600070205080204" pitchFamily="34" charset="-128"/>
                <a:cs typeface=""/>
              </a:rPr>
              <a:t>#CISCOSE</a:t>
            </a:r>
          </a:p>
        </p:txBody>
      </p:sp>
    </p:spTree>
    <p:extLst>
      <p:ext uri="{BB962C8B-B14F-4D97-AF65-F5344CB8AC3E}">
        <p14:creationId xmlns:p14="http://schemas.microsoft.com/office/powerpoint/2010/main" val="1446574520"/>
      </p:ext>
    </p:extLst>
  </p:cSld>
  <p:clrMap bg1="lt1" tx1="dk1" bg2="lt2" tx2="dk2" accent1="accent1" accent2="accent2" accent3="accent3" accent4="accent4" accent5="accent5" accent6="accent6" hlink="hlink" folHlink="folHlink"/>
  <p:sldLayoutIdLst>
    <p:sldLayoutId id="2147484250" r:id="rId1"/>
    <p:sldLayoutId id="2147484251" r:id="rId2"/>
    <p:sldLayoutId id="2147484252" r:id="rId3"/>
    <p:sldLayoutId id="2147484253" r:id="rId4"/>
    <p:sldLayoutId id="2147484254" r:id="rId5"/>
    <p:sldLayoutId id="2147484255" r:id="rId6"/>
    <p:sldLayoutId id="2147484256" r:id="rId7"/>
    <p:sldLayoutId id="2147484257" r:id="rId8"/>
    <p:sldLayoutId id="2147484258" r:id="rId9"/>
    <p:sldLayoutId id="2147484259" r:id="rId10"/>
    <p:sldLayoutId id="2147484260" r:id="rId11"/>
    <p:sldLayoutId id="2147484261" r:id="rId12"/>
    <p:sldLayoutId id="2147484262" r:id="rId13"/>
    <p:sldLayoutId id="2147484263" r:id="rId14"/>
    <p:sldLayoutId id="2147484264" r:id="rId15"/>
    <p:sldLayoutId id="2147484265" r:id="rId16"/>
    <p:sldLayoutId id="2147484266" r:id="rId17"/>
    <p:sldLayoutId id="2147484267" r:id="rId18"/>
    <p:sldLayoutId id="2147484268" r:id="rId19"/>
    <p:sldLayoutId id="2147484269" r:id="rId20"/>
    <p:sldLayoutId id="2147484270" r:id="rId21"/>
    <p:sldLayoutId id="2147484271" r:id="rId22"/>
    <p:sldLayoutId id="2147484272" r:id="rId23"/>
    <p:sldLayoutId id="2147484273" r:id="rId24"/>
    <p:sldLayoutId id="2147484274" r:id="rId25"/>
    <p:sldLayoutId id="2147484275" r:id="rId26"/>
    <p:sldLayoutId id="2147484276" r:id="rId27"/>
    <p:sldLayoutId id="2147484277" r:id="rId28"/>
    <p:sldLayoutId id="2147484278" r:id="rId29"/>
    <p:sldLayoutId id="2147484279" r:id="rId30"/>
    <p:sldLayoutId id="2147484280" r:id="rId31"/>
    <p:sldLayoutId id="2147484281" r:id="rId32"/>
    <p:sldLayoutId id="2147484282" r:id="rId33"/>
    <p:sldLayoutId id="2147484283" r:id="rId34"/>
    <p:sldLayoutId id="2147484284" r:id="rId35"/>
    <p:sldLayoutId id="2147484285" r:id="rId36"/>
    <p:sldLayoutId id="2147484286" r:id="rId37"/>
    <p:sldLayoutId id="2147484287" r:id="rId38"/>
    <p:sldLayoutId id="2147484288" r:id="rId39"/>
    <p:sldLayoutId id="2147484289" r:id="rId40"/>
    <p:sldLayoutId id="2147484290" r:id="rId41"/>
  </p:sldLayoutIdLst>
  <p:transition spd="slow">
    <p:wipe/>
  </p:transition>
  <p:txStyles>
    <p:titleStyle>
      <a:lvl1pPr algn="l" defTabSz="684213"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213" rtl="0" eaLnBrk="1" fontAlgn="base" hangingPunct="1">
        <a:lnSpc>
          <a:spcPct val="80000"/>
        </a:lnSpc>
        <a:spcBef>
          <a:spcPct val="0"/>
        </a:spcBef>
        <a:spcAft>
          <a:spcPct val="0"/>
        </a:spcAft>
        <a:defRPr sz="3200">
          <a:solidFill>
            <a:schemeClr val="tx2"/>
          </a:solidFill>
          <a:latin typeface="Arial" charset="0"/>
          <a:ea typeface="ＭＳ Ｐゴシック" charset="0"/>
          <a:cs typeface="CiscoSans" pitchFamily="34" charset="0"/>
        </a:defRPr>
      </a:lvl2pPr>
      <a:lvl3pPr algn="l" defTabSz="684213" rtl="0" eaLnBrk="1" fontAlgn="base" hangingPunct="1">
        <a:lnSpc>
          <a:spcPct val="80000"/>
        </a:lnSpc>
        <a:spcBef>
          <a:spcPct val="0"/>
        </a:spcBef>
        <a:spcAft>
          <a:spcPct val="0"/>
        </a:spcAft>
        <a:defRPr sz="3200">
          <a:solidFill>
            <a:schemeClr val="tx2"/>
          </a:solidFill>
          <a:latin typeface="Arial" charset="0"/>
          <a:ea typeface="ＭＳ Ｐゴシック" charset="0"/>
          <a:cs typeface="CiscoSans" pitchFamily="34" charset="0"/>
        </a:defRPr>
      </a:lvl3pPr>
      <a:lvl4pPr algn="l" defTabSz="684213" rtl="0" eaLnBrk="1" fontAlgn="base" hangingPunct="1">
        <a:lnSpc>
          <a:spcPct val="80000"/>
        </a:lnSpc>
        <a:spcBef>
          <a:spcPct val="0"/>
        </a:spcBef>
        <a:spcAft>
          <a:spcPct val="0"/>
        </a:spcAft>
        <a:defRPr sz="3200">
          <a:solidFill>
            <a:schemeClr val="tx2"/>
          </a:solidFill>
          <a:latin typeface="Arial" charset="0"/>
          <a:ea typeface="ＭＳ Ｐゴシック" charset="0"/>
          <a:cs typeface="CiscoSans" pitchFamily="34" charset="0"/>
        </a:defRPr>
      </a:lvl4pPr>
      <a:lvl5pPr algn="l" defTabSz="684213" rtl="0" eaLnBrk="1" fontAlgn="base" hangingPunct="1">
        <a:lnSpc>
          <a:spcPct val="80000"/>
        </a:lnSpc>
        <a:spcBef>
          <a:spcPct val="0"/>
        </a:spcBef>
        <a:spcAft>
          <a:spcPct val="0"/>
        </a:spcAft>
        <a:defRPr sz="3200">
          <a:solidFill>
            <a:schemeClr val="tx2"/>
          </a:solidFill>
          <a:latin typeface="Arial" charset="0"/>
          <a:ea typeface="ＭＳ Ｐゴシック" charset="0"/>
          <a:cs typeface="CiscoSans" pitchFamily="34"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63" indent="-169863" algn="l" defTabSz="684213" rtl="0" eaLnBrk="1" fontAlgn="base" hangingPunct="1">
        <a:lnSpc>
          <a:spcPct val="95000"/>
        </a:lnSpc>
        <a:spcBef>
          <a:spcPts val="1075"/>
        </a:spcBef>
        <a:spcAft>
          <a:spcPct val="0"/>
        </a:spcAft>
        <a:buClr>
          <a:schemeClr val="tx2"/>
        </a:buClr>
        <a:buSzPct val="90000"/>
        <a:buFont typeface="Arial" panose="020B0604020202020204" pitchFamily="34" charset="0"/>
        <a:buChar char="•"/>
        <a:defRPr lang="en-US" sz="1500" kern="1200" dirty="0">
          <a:solidFill>
            <a:schemeClr val="tx1"/>
          </a:solidFill>
          <a:latin typeface="+mn-lt"/>
          <a:ea typeface="ＭＳ Ｐゴシック" charset="0"/>
          <a:cs typeface="CiscoSans"/>
        </a:defRPr>
      </a:lvl1pPr>
      <a:lvl2pPr marL="358775" indent="-215900" algn="l" defTabSz="684213" rtl="0" eaLnBrk="1" fontAlgn="base" hangingPunct="1">
        <a:lnSpc>
          <a:spcPct val="95000"/>
        </a:lnSpc>
        <a:spcBef>
          <a:spcPts val="600"/>
        </a:spcBef>
        <a:spcAft>
          <a:spcPct val="0"/>
        </a:spcAft>
        <a:buClr>
          <a:schemeClr val="tx2"/>
        </a:buClr>
        <a:buFont typeface="Arial" panose="020B0604020202020204" pitchFamily="34" charset="0"/>
        <a:buChar char="•"/>
        <a:defRPr lang="en-US" sz="1400" kern="1200" dirty="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panose="020B0604020202020204" pitchFamily="34" charset="0"/>
        <a:buChar char="•"/>
        <a:defRPr lang="en-US" sz="1200" kern="1200" dirty="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panose="020B0604020202020204" pitchFamily="34" charset="0"/>
        <a:buChar char="•"/>
        <a:defRPr lang="en-US" sz="1100" kern="1200" dirty="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panose="020B0604020202020204" pitchFamily="34" charset="0"/>
        <a:buChar char="•"/>
        <a:defRPr lang="en-US" sz="1100" kern="1200" dirty="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77" rtl="0" eaLnBrk="1" latinLnBrk="0" hangingPunct="1">
        <a:defRPr sz="1400" kern="1200">
          <a:solidFill>
            <a:schemeClr val="tx1"/>
          </a:solidFill>
          <a:latin typeface="+mn-lt"/>
          <a:ea typeface="+mn-ea"/>
          <a:cs typeface="+mn-cs"/>
        </a:defRPr>
      </a:lvl1pPr>
      <a:lvl2pPr marL="342886" algn="l" defTabSz="685777" rtl="0" eaLnBrk="1" latinLnBrk="0" hangingPunct="1">
        <a:defRPr sz="1400" kern="1200">
          <a:solidFill>
            <a:schemeClr val="tx1"/>
          </a:solidFill>
          <a:latin typeface="+mn-lt"/>
          <a:ea typeface="+mn-ea"/>
          <a:cs typeface="+mn-cs"/>
        </a:defRPr>
      </a:lvl2pPr>
      <a:lvl3pPr marL="685777" algn="l" defTabSz="685777" rtl="0" eaLnBrk="1" latinLnBrk="0" hangingPunct="1">
        <a:defRPr sz="1400" kern="1200">
          <a:solidFill>
            <a:schemeClr val="tx1"/>
          </a:solidFill>
          <a:latin typeface="+mn-lt"/>
          <a:ea typeface="+mn-ea"/>
          <a:cs typeface="+mn-cs"/>
        </a:defRPr>
      </a:lvl3pPr>
      <a:lvl4pPr marL="1028665" algn="l" defTabSz="685777" rtl="0" eaLnBrk="1" latinLnBrk="0" hangingPunct="1">
        <a:defRPr sz="1400" kern="1200">
          <a:solidFill>
            <a:schemeClr val="tx1"/>
          </a:solidFill>
          <a:latin typeface="+mn-lt"/>
          <a:ea typeface="+mn-ea"/>
          <a:cs typeface="+mn-cs"/>
        </a:defRPr>
      </a:lvl4pPr>
      <a:lvl5pPr marL="1371555" algn="l" defTabSz="685777" rtl="0" eaLnBrk="1" latinLnBrk="0" hangingPunct="1">
        <a:defRPr sz="1400" kern="1200">
          <a:solidFill>
            <a:schemeClr val="tx1"/>
          </a:solidFill>
          <a:latin typeface="+mn-lt"/>
          <a:ea typeface="+mn-ea"/>
          <a:cs typeface="+mn-cs"/>
        </a:defRPr>
      </a:lvl5pPr>
      <a:lvl6pPr marL="1714441" algn="l" defTabSz="685777" rtl="0" eaLnBrk="1" latinLnBrk="0" hangingPunct="1">
        <a:defRPr sz="1400" kern="1200">
          <a:solidFill>
            <a:schemeClr val="tx1"/>
          </a:solidFill>
          <a:latin typeface="+mn-lt"/>
          <a:ea typeface="+mn-ea"/>
          <a:cs typeface="+mn-cs"/>
        </a:defRPr>
      </a:lvl6pPr>
      <a:lvl7pPr marL="2057332" algn="l" defTabSz="685777" rtl="0" eaLnBrk="1" latinLnBrk="0" hangingPunct="1">
        <a:defRPr sz="1400" kern="1200">
          <a:solidFill>
            <a:schemeClr val="tx1"/>
          </a:solidFill>
          <a:latin typeface="+mn-lt"/>
          <a:ea typeface="+mn-ea"/>
          <a:cs typeface="+mn-cs"/>
        </a:defRPr>
      </a:lvl7pPr>
      <a:lvl8pPr marL="2400220" algn="l" defTabSz="685777" rtl="0" eaLnBrk="1" latinLnBrk="0" hangingPunct="1">
        <a:defRPr sz="1400" kern="1200">
          <a:solidFill>
            <a:schemeClr val="tx1"/>
          </a:solidFill>
          <a:latin typeface="+mn-lt"/>
          <a:ea typeface="+mn-ea"/>
          <a:cs typeface="+mn-cs"/>
        </a:defRPr>
      </a:lvl8pPr>
      <a:lvl9pPr marL="2743110" algn="l" defTabSz="685777" rtl="0" eaLnBrk="1" latinLnBrk="0" hangingPunct="1">
        <a:defRPr sz="1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5"/>
          <p:cNvSpPr>
            <a:spLocks noGrp="1"/>
          </p:cNvSpPr>
          <p:nvPr>
            <p:ph type="title"/>
          </p:nvPr>
        </p:nvSpPr>
        <p:spPr bwMode="auto">
          <a:xfrm>
            <a:off x="438150" y="341314"/>
            <a:ext cx="8345488" cy="73183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lvl="0"/>
            <a:r>
              <a:rPr lang="en-GB" altLang="en-US" dirty="0"/>
              <a:t>Title Goes Here</a:t>
            </a:r>
          </a:p>
        </p:txBody>
      </p:sp>
      <p:sp>
        <p:nvSpPr>
          <p:cNvPr id="12" name="Rectangle 7"/>
          <p:cNvSpPr>
            <a:spLocks noChangeArrowheads="1"/>
          </p:cNvSpPr>
          <p:nvPr/>
        </p:nvSpPr>
        <p:spPr bwMode="ltGray">
          <a:xfrm>
            <a:off x="8515169" y="4742908"/>
            <a:ext cx="218953" cy="154518"/>
          </a:xfrm>
          <a:prstGeom prst="rect">
            <a:avLst/>
          </a:prstGeom>
          <a:noFill/>
          <a:ln w="9525" algn="ctr">
            <a:noFill/>
            <a:miter lim="800000"/>
            <a:headEnd/>
            <a:tailEnd/>
          </a:ln>
          <a:effectLst/>
        </p:spPr>
        <p:txBody>
          <a:bodyPr wrap="none" lIns="61586" tIns="30792" rIns="61586" bIns="30792" anchor="b">
            <a:spAutoFit/>
          </a:bodyPr>
          <a:lstStyle/>
          <a:p>
            <a:pPr algn="r" defTabSz="610729" fontAlgn="auto">
              <a:spcBef>
                <a:spcPts val="0"/>
              </a:spcBef>
              <a:spcAft>
                <a:spcPts val="0"/>
              </a:spcAft>
              <a:defRPr/>
            </a:pPr>
            <a:fld id="{6A1E46DC-7EF6-4EA2-B285-14272867D133}" type="slidenum">
              <a:rPr lang="en-US" sz="600">
                <a:solidFill>
                  <a:srgbClr val="000000">
                    <a:alpha val="25000"/>
                  </a:srgbClr>
                </a:solidFill>
                <a:latin typeface="Arial"/>
                <a:ea typeface=""/>
                <a:cs typeface="CiscoSans Thin"/>
              </a:rPr>
              <a:pPr algn="r" defTabSz="610729" fontAlgn="auto">
                <a:spcBef>
                  <a:spcPts val="0"/>
                </a:spcBef>
                <a:spcAft>
                  <a:spcPts val="0"/>
                </a:spcAft>
                <a:defRPr/>
              </a:pPr>
              <a:t>‹#›</a:t>
            </a:fld>
            <a:endParaRPr lang="en-US" sz="600" dirty="0">
              <a:solidFill>
                <a:srgbClr val="000000">
                  <a:alpha val="25000"/>
                </a:srgbClr>
              </a:solidFill>
              <a:latin typeface="Arial"/>
              <a:ea typeface=""/>
              <a:cs typeface="CiscoSans Thin"/>
            </a:endParaRPr>
          </a:p>
        </p:txBody>
      </p:sp>
      <p:sp>
        <p:nvSpPr>
          <p:cNvPr id="13" name="Rectangle 4"/>
          <p:cNvSpPr>
            <a:spLocks noChangeArrowheads="1"/>
          </p:cNvSpPr>
          <p:nvPr/>
        </p:nvSpPr>
        <p:spPr bwMode="ltGray">
          <a:xfrm>
            <a:off x="5867508" y="4741655"/>
            <a:ext cx="2658018" cy="154518"/>
          </a:xfrm>
          <a:prstGeom prst="rect">
            <a:avLst/>
          </a:prstGeom>
          <a:noFill/>
          <a:ln w="9525">
            <a:noFill/>
            <a:miter lim="800000"/>
            <a:headEnd/>
            <a:tailEnd/>
          </a:ln>
          <a:effectLst/>
        </p:spPr>
        <p:txBody>
          <a:bodyPr lIns="61586" tIns="30792" rIns="61586" bIns="30792" anchor="b">
            <a:spAutoFit/>
          </a:bodyPr>
          <a:lstStyle/>
          <a:p>
            <a:pPr defTabSz="610729" fontAlgn="auto">
              <a:spcBef>
                <a:spcPts val="0"/>
              </a:spcBef>
              <a:spcAft>
                <a:spcPts val="0"/>
              </a:spcAft>
              <a:defRPr/>
            </a:pPr>
            <a:r>
              <a:rPr lang="en-US" sz="600" dirty="0">
                <a:solidFill>
                  <a:srgbClr val="000000">
                    <a:alpha val="25000"/>
                  </a:srgbClr>
                </a:solidFill>
                <a:latin typeface="Arial"/>
                <a:ea typeface=""/>
                <a:cs typeface="CiscoSans Thin"/>
              </a:rPr>
              <a:t>© 2016  Cisco and/or its affiliates. All rights reserved.   Cisco Confidential</a:t>
            </a:r>
          </a:p>
        </p:txBody>
      </p:sp>
      <p:pic>
        <p:nvPicPr>
          <p:cNvPr id="1029" name="Picture 2"/>
          <p:cNvPicPr>
            <a:picLocks noChangeAspect="1" noChangeArrowheads="1"/>
          </p:cNvPicPr>
          <p:nvPr/>
        </p:nvPicPr>
        <p:blipFill>
          <a:blip r:embed="rId59">
            <a:extLst>
              <a:ext uri="{28A0092B-C50C-407E-A947-70E740481C1C}">
                <a14:useLocalDpi xmlns:a14="http://schemas.microsoft.com/office/drawing/2010/main" val="0"/>
              </a:ext>
            </a:extLst>
          </a:blip>
          <a:stretch>
            <a:fillRect/>
          </a:stretch>
        </p:blipFill>
        <p:spPr bwMode="auto">
          <a:xfrm>
            <a:off x="477679" y="4625975"/>
            <a:ext cx="424180" cy="2651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475509770"/>
      </p:ext>
    </p:extLst>
  </p:cSld>
  <p:clrMap bg1="lt1" tx1="dk1" bg2="lt2" tx2="dk2" accent1="accent1" accent2="accent2" accent3="accent3" accent4="accent4" accent5="accent5" accent6="accent6" hlink="hlink" folHlink="folHlink"/>
  <p:sldLayoutIdLst>
    <p:sldLayoutId id="2147484295" r:id="rId1"/>
    <p:sldLayoutId id="2147484296" r:id="rId2"/>
    <p:sldLayoutId id="2147484297" r:id="rId3"/>
    <p:sldLayoutId id="2147484298" r:id="rId4"/>
    <p:sldLayoutId id="2147484299" r:id="rId5"/>
    <p:sldLayoutId id="2147484300" r:id="rId6"/>
    <p:sldLayoutId id="2147484301" r:id="rId7"/>
    <p:sldLayoutId id="2147484302" r:id="rId8"/>
    <p:sldLayoutId id="2147484303" r:id="rId9"/>
    <p:sldLayoutId id="2147484304" r:id="rId10"/>
    <p:sldLayoutId id="2147484305" r:id="rId11"/>
    <p:sldLayoutId id="2147484306" r:id="rId12"/>
    <p:sldLayoutId id="2147484307" r:id="rId13"/>
    <p:sldLayoutId id="2147484308" r:id="rId14"/>
    <p:sldLayoutId id="2147484309" r:id="rId15"/>
    <p:sldLayoutId id="2147484310" r:id="rId16"/>
    <p:sldLayoutId id="2147484311" r:id="rId17"/>
    <p:sldLayoutId id="2147484312" r:id="rId18"/>
    <p:sldLayoutId id="2147484313" r:id="rId19"/>
    <p:sldLayoutId id="2147484314" r:id="rId20"/>
    <p:sldLayoutId id="2147484315" r:id="rId21"/>
    <p:sldLayoutId id="2147484316" r:id="rId22"/>
    <p:sldLayoutId id="2147484317" r:id="rId23"/>
    <p:sldLayoutId id="2147484318" r:id="rId24"/>
    <p:sldLayoutId id="2147484319" r:id="rId25"/>
    <p:sldLayoutId id="2147484320" r:id="rId26"/>
    <p:sldLayoutId id="2147484321" r:id="rId27"/>
    <p:sldLayoutId id="2147484322" r:id="rId28"/>
    <p:sldLayoutId id="2147484323" r:id="rId29"/>
    <p:sldLayoutId id="2147484324" r:id="rId30"/>
    <p:sldLayoutId id="2147484325" r:id="rId31"/>
    <p:sldLayoutId id="2147484326" r:id="rId32"/>
    <p:sldLayoutId id="2147484327" r:id="rId33"/>
    <p:sldLayoutId id="2147484328" r:id="rId34"/>
    <p:sldLayoutId id="2147484329" r:id="rId35"/>
    <p:sldLayoutId id="2147484330" r:id="rId36"/>
    <p:sldLayoutId id="2147484331" r:id="rId37"/>
    <p:sldLayoutId id="2147484332" r:id="rId38"/>
    <p:sldLayoutId id="2147484333" r:id="rId39"/>
    <p:sldLayoutId id="2147484334" r:id="rId40"/>
    <p:sldLayoutId id="2147484335" r:id="rId41"/>
    <p:sldLayoutId id="2147484336" r:id="rId42"/>
    <p:sldLayoutId id="2147484337" r:id="rId43"/>
    <p:sldLayoutId id="2147484338" r:id="rId44"/>
    <p:sldLayoutId id="2147484339" r:id="rId45"/>
    <p:sldLayoutId id="2147484340" r:id="rId46"/>
    <p:sldLayoutId id="2147484341" r:id="rId47"/>
    <p:sldLayoutId id="2147484342" r:id="rId48"/>
    <p:sldLayoutId id="2147484343" r:id="rId49"/>
    <p:sldLayoutId id="2147484344" r:id="rId50"/>
    <p:sldLayoutId id="2147484345" r:id="rId51"/>
    <p:sldLayoutId id="2147484346" r:id="rId52"/>
    <p:sldLayoutId id="2147484347" r:id="rId53"/>
    <p:sldLayoutId id="2147484349" r:id="rId54"/>
    <p:sldLayoutId id="2147484350" r:id="rId55"/>
    <p:sldLayoutId id="2147484351" r:id="rId56"/>
    <p:sldLayoutId id="2147484352" r:id="rId57"/>
  </p:sldLayoutIdLst>
  <p:transition spd="slow">
    <p:wipe/>
  </p:transition>
  <p:txStyles>
    <p:titleStyle>
      <a:lvl1pPr algn="l" defTabSz="684196" rtl="0" eaLnBrk="1" fontAlgn="base" hangingPunct="1">
        <a:lnSpc>
          <a:spcPct val="80000"/>
        </a:lnSpc>
        <a:spcBef>
          <a:spcPct val="0"/>
        </a:spcBef>
        <a:spcAft>
          <a:spcPct val="0"/>
        </a:spcAft>
        <a:defRPr lang="en-US" sz="3200" kern="1200" dirty="0">
          <a:solidFill>
            <a:schemeClr val="tx2"/>
          </a:solidFill>
          <a:latin typeface="+mj-lt"/>
          <a:ea typeface="ＭＳ Ｐゴシック" charset="0"/>
          <a:cs typeface="CiscoSans"/>
        </a:defRPr>
      </a:lvl1pPr>
      <a:lvl2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2pPr>
      <a:lvl3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3pPr>
      <a:lvl4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4pPr>
      <a:lvl5pPr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cs typeface="CiscoSans" pitchFamily="34" charset="0"/>
        </a:defRPr>
      </a:lvl5pPr>
      <a:lvl6pPr marL="457189"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378"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566"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754" algn="l" defTabSz="684196" rtl="0" eaLnBrk="1" fontAlgn="base" hangingPunct="1">
        <a:lnSpc>
          <a:spcPct val="80000"/>
        </a:lnSpc>
        <a:spcBef>
          <a:spcPct val="0"/>
        </a:spcBef>
        <a:spcAft>
          <a:spcPct val="0"/>
        </a:spcAft>
        <a:defRPr sz="3200">
          <a:solidFill>
            <a:srgbClr val="676767"/>
          </a:solidFill>
          <a:latin typeface="Arial" charset="0"/>
          <a:ea typeface="ＭＳ Ｐゴシック" charset="0"/>
        </a:defRPr>
      </a:lvl9pPr>
    </p:titleStyle>
    <p:bodyStyle>
      <a:lvl1pPr marL="169859" indent="-169859" algn="l" defTabSz="684196" rtl="0" eaLnBrk="1" fontAlgn="base" hangingPunct="1">
        <a:lnSpc>
          <a:spcPct val="95000"/>
        </a:lnSpc>
        <a:spcBef>
          <a:spcPts val="1075"/>
        </a:spcBef>
        <a:spcAft>
          <a:spcPct val="0"/>
        </a:spcAft>
        <a:buClr>
          <a:schemeClr val="tx2"/>
        </a:buClr>
        <a:buSzPct val="90000"/>
        <a:buFont typeface="Arial" charset="0"/>
        <a:buChar char="•"/>
        <a:defRPr lang="en-US" sz="1500" kern="1200" dirty="0">
          <a:solidFill>
            <a:schemeClr val="tx1"/>
          </a:solidFill>
          <a:latin typeface="+mn-lt"/>
          <a:ea typeface="ＭＳ Ｐゴシック" charset="0"/>
          <a:cs typeface="CiscoSans"/>
        </a:defRPr>
      </a:lvl1pPr>
      <a:lvl2pPr marL="358766" indent="-215894" algn="l" defTabSz="684196" rtl="0" eaLnBrk="1" fontAlgn="base" hangingPunct="1">
        <a:lnSpc>
          <a:spcPct val="95000"/>
        </a:lnSpc>
        <a:spcBef>
          <a:spcPts val="600"/>
        </a:spcBef>
        <a:spcAft>
          <a:spcPct val="0"/>
        </a:spcAft>
        <a:buClr>
          <a:schemeClr val="tx2"/>
        </a:buClr>
        <a:buFont typeface="Arial" charset="0"/>
        <a:buChar char="•"/>
        <a:defRPr lang="en-US" sz="1400" kern="1200" dirty="0">
          <a:solidFill>
            <a:schemeClr val="tx1"/>
          </a:solidFill>
          <a:latin typeface="+mn-lt"/>
          <a:ea typeface="ＭＳ Ｐゴシック" charset="0"/>
          <a:cs typeface="CiscoSans"/>
        </a:defRPr>
      </a:lvl2pPr>
      <a:lvl3pPr marL="431789" indent="-169859" algn="l" defTabSz="684196" rtl="0" eaLnBrk="1" fontAlgn="base" hangingPunct="1">
        <a:lnSpc>
          <a:spcPct val="95000"/>
        </a:lnSpc>
        <a:spcBef>
          <a:spcPts val="625"/>
        </a:spcBef>
        <a:spcAft>
          <a:spcPct val="0"/>
        </a:spcAft>
        <a:buFont typeface="Arial" charset="0"/>
        <a:buChar char="•"/>
        <a:defRPr lang="en-US" sz="1200" kern="1200" dirty="0">
          <a:solidFill>
            <a:schemeClr val="tx1"/>
          </a:solidFill>
          <a:latin typeface="+mn-lt"/>
          <a:ea typeface="ＭＳ Ｐゴシック" charset="0"/>
          <a:cs typeface="CiscoSans"/>
        </a:defRPr>
      </a:lvl3pPr>
      <a:lvl4pPr marL="503225"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4pPr>
      <a:lvl5pPr marL="574661" indent="-169859" algn="l" defTabSz="684196" rtl="0" eaLnBrk="1" fontAlgn="base" hangingPunct="1">
        <a:lnSpc>
          <a:spcPct val="95000"/>
        </a:lnSpc>
        <a:spcBef>
          <a:spcPts val="625"/>
        </a:spcBef>
        <a:spcAft>
          <a:spcPct val="0"/>
        </a:spcAft>
        <a:buFont typeface="Arial" charset="0"/>
        <a:buChar char="•"/>
        <a:defRPr lang="en-US" sz="1100" kern="1200" dirty="0">
          <a:solidFill>
            <a:schemeClr val="tx1"/>
          </a:solidFill>
          <a:latin typeface="+mn-lt"/>
          <a:ea typeface="ＭＳ Ｐゴシック" charset="0"/>
          <a:cs typeface="CiscoSans"/>
        </a:defRPr>
      </a:lvl5pPr>
      <a:lvl6pPr marL="863834" indent="-171441" algn="l" defTabSz="685760"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21" indent="-171418" algn="l" defTabSz="685760"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160" indent="0" algn="l" defTabSz="685760" rtl="0" eaLnBrk="1" latinLnBrk="0" hangingPunct="1">
        <a:spcBef>
          <a:spcPct val="20000"/>
        </a:spcBef>
        <a:buFont typeface="Arial" pitchFamily="34" charset="0"/>
        <a:buNone/>
        <a:defRPr sz="1500" kern="1200">
          <a:solidFill>
            <a:schemeClr val="tx1"/>
          </a:solidFill>
          <a:latin typeface="+mn-lt"/>
          <a:ea typeface="+mn-ea"/>
          <a:cs typeface="+mn-cs"/>
        </a:defRPr>
      </a:lvl8pPr>
      <a:lvl9pPr marL="2914481" indent="-171441" algn="l" defTabSz="68576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60" rtl="0" eaLnBrk="1" latinLnBrk="0" hangingPunct="1">
        <a:defRPr sz="1400" kern="1200">
          <a:solidFill>
            <a:schemeClr val="tx1"/>
          </a:solidFill>
          <a:latin typeface="+mn-lt"/>
          <a:ea typeface="+mn-ea"/>
          <a:cs typeface="+mn-cs"/>
        </a:defRPr>
      </a:lvl1pPr>
      <a:lvl2pPr marL="342878" algn="l" defTabSz="685760" rtl="0" eaLnBrk="1" latinLnBrk="0" hangingPunct="1">
        <a:defRPr sz="1400" kern="1200">
          <a:solidFill>
            <a:schemeClr val="tx1"/>
          </a:solidFill>
          <a:latin typeface="+mn-lt"/>
          <a:ea typeface="+mn-ea"/>
          <a:cs typeface="+mn-cs"/>
        </a:defRPr>
      </a:lvl2pPr>
      <a:lvl3pPr marL="685760" algn="l" defTabSz="685760" rtl="0" eaLnBrk="1" latinLnBrk="0" hangingPunct="1">
        <a:defRPr sz="1400" kern="1200">
          <a:solidFill>
            <a:schemeClr val="tx1"/>
          </a:solidFill>
          <a:latin typeface="+mn-lt"/>
          <a:ea typeface="+mn-ea"/>
          <a:cs typeface="+mn-cs"/>
        </a:defRPr>
      </a:lvl3pPr>
      <a:lvl4pPr marL="1028639" algn="l" defTabSz="685760" rtl="0" eaLnBrk="1" latinLnBrk="0" hangingPunct="1">
        <a:defRPr sz="1400" kern="1200">
          <a:solidFill>
            <a:schemeClr val="tx1"/>
          </a:solidFill>
          <a:latin typeface="+mn-lt"/>
          <a:ea typeface="+mn-ea"/>
          <a:cs typeface="+mn-cs"/>
        </a:defRPr>
      </a:lvl4pPr>
      <a:lvl5pPr marL="1371521" algn="l" defTabSz="685760" rtl="0" eaLnBrk="1" latinLnBrk="0" hangingPunct="1">
        <a:defRPr sz="1400" kern="1200">
          <a:solidFill>
            <a:schemeClr val="tx1"/>
          </a:solidFill>
          <a:latin typeface="+mn-lt"/>
          <a:ea typeface="+mn-ea"/>
          <a:cs typeface="+mn-cs"/>
        </a:defRPr>
      </a:lvl5pPr>
      <a:lvl6pPr marL="1714398" algn="l" defTabSz="685760" rtl="0" eaLnBrk="1" latinLnBrk="0" hangingPunct="1">
        <a:defRPr sz="1400" kern="1200">
          <a:solidFill>
            <a:schemeClr val="tx1"/>
          </a:solidFill>
          <a:latin typeface="+mn-lt"/>
          <a:ea typeface="+mn-ea"/>
          <a:cs typeface="+mn-cs"/>
        </a:defRPr>
      </a:lvl6pPr>
      <a:lvl7pPr marL="2057281" algn="l" defTabSz="685760" rtl="0" eaLnBrk="1" latinLnBrk="0" hangingPunct="1">
        <a:defRPr sz="1400" kern="1200">
          <a:solidFill>
            <a:schemeClr val="tx1"/>
          </a:solidFill>
          <a:latin typeface="+mn-lt"/>
          <a:ea typeface="+mn-ea"/>
          <a:cs typeface="+mn-cs"/>
        </a:defRPr>
      </a:lvl7pPr>
      <a:lvl8pPr marL="2400160" algn="l" defTabSz="685760" rtl="0" eaLnBrk="1" latinLnBrk="0" hangingPunct="1">
        <a:defRPr sz="1400" kern="1200">
          <a:solidFill>
            <a:schemeClr val="tx1"/>
          </a:solidFill>
          <a:latin typeface="+mn-lt"/>
          <a:ea typeface="+mn-ea"/>
          <a:cs typeface="+mn-cs"/>
        </a:defRPr>
      </a:lvl8pPr>
      <a:lvl9pPr marL="2743042" algn="l" defTabSz="68576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0.xml"/><Relationship Id="rId1" Type="http://schemas.openxmlformats.org/officeDocument/2006/relationships/slideLayout" Target="../slideLayouts/slideLayout22.xml"/></Relationships>
</file>

<file path=ppt/slides/_rels/slide1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1.xml"/><Relationship Id="rId1" Type="http://schemas.openxmlformats.org/officeDocument/2006/relationships/slideLayout" Target="../slideLayouts/slideLayout25.xml"/><Relationship Id="rId6" Type="http://schemas.openxmlformats.org/officeDocument/2006/relationships/hyperlink" Target="https://blog.talosintelligence.com/2018/04/icedid-banking-trojan.html" TargetMode="External"/><Relationship Id="rId5" Type="http://schemas.openxmlformats.org/officeDocument/2006/relationships/hyperlink" Target="http://blog.talosintelligence.com/2018/02/group-123-goes-wild.html" TargetMode="External"/><Relationship Id="rId4" Type="http://schemas.openxmlformats.org/officeDocument/2006/relationships/hyperlink" Target="https://blog.talosintelligence.com/2017/09/avast-distributes-malware.html"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3.xml"/><Relationship Id="rId1" Type="http://schemas.openxmlformats.org/officeDocument/2006/relationships/slideLayout" Target="../slideLayouts/slideLayout25.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_rels/slide16.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14.xml"/><Relationship Id="rId1" Type="http://schemas.openxmlformats.org/officeDocument/2006/relationships/slideLayout" Target="../slideLayouts/slideLayout25.xml"/><Relationship Id="rId4"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25.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18.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6.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7.xml"/><Relationship Id="rId1" Type="http://schemas.openxmlformats.org/officeDocument/2006/relationships/slideLayout" Target="../slideLayouts/slideLayout23.xml"/><Relationship Id="rId4" Type="http://schemas.openxmlformats.org/officeDocument/2006/relationships/image" Target="../media/image79.png"/></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18.xml"/><Relationship Id="rId1" Type="http://schemas.openxmlformats.org/officeDocument/2006/relationships/slideLayout" Target="../slideLayouts/slideLayout23.xml"/><Relationship Id="rId4" Type="http://schemas.openxmlformats.org/officeDocument/2006/relationships/image" Target="../media/image80.png"/></Relationships>
</file>

<file path=ppt/slides/_rels/slide2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9.xml"/><Relationship Id="rId1" Type="http://schemas.openxmlformats.org/officeDocument/2006/relationships/slideLayout" Target="../slideLayouts/slideLayout22.xml"/><Relationship Id="rId4" Type="http://schemas.openxmlformats.org/officeDocument/2006/relationships/image" Target="../media/image82.png"/></Relationships>
</file>

<file path=ppt/slides/_rels/slide24.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20.xml"/></Relationships>
</file>

<file path=ppt/slides/_rels/slide25.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20.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48.emf"/><Relationship Id="rId5" Type="http://schemas.openxmlformats.org/officeDocument/2006/relationships/oleObject" Target="../embeddings/oleObject2.bin"/><Relationship Id="rId4" Type="http://schemas.openxmlformats.org/officeDocument/2006/relationships/notesSlide" Target="../notesSlides/notesSlide2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hyperlink" Target="https://blogs.cisco.com/security/cognitive-intelligence-empowering-security-analysts-defeating-polymorphic-malware" TargetMode="External"/><Relationship Id="rId2" Type="http://schemas.openxmlformats.org/officeDocument/2006/relationships/notesSlide" Target="../notesSlides/notesSlide24.xml"/><Relationship Id="rId1" Type="http://schemas.openxmlformats.org/officeDocument/2006/relationships/slideLayout" Target="../slideLayouts/slideLayout26.xml"/><Relationship Id="rId5" Type="http://schemas.openxmlformats.org/officeDocument/2006/relationships/image" Target="../media/image85.png"/><Relationship Id="rId4" Type="http://schemas.openxmlformats.org/officeDocument/2006/relationships/hyperlink" Target="https://blogs.cisco.com/security/defeating-polymorphic-malware-with-cognitive-intelligence-part-2-command-line-argument-clustering" TargetMode="Externa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10.xml"/></Relationships>
</file>

<file path=ppt/slides/_rels/slide32.xml.rels><?xml version="1.0" encoding="UTF-8" standalone="yes"?>
<Relationships xmlns="http://schemas.openxmlformats.org/package/2006/relationships"><Relationship Id="rId8" Type="http://schemas.openxmlformats.org/officeDocument/2006/relationships/image" Target="../media/image91.png"/><Relationship Id="rId13" Type="http://schemas.openxmlformats.org/officeDocument/2006/relationships/image" Target="../media/image96.png"/><Relationship Id="rId18" Type="http://schemas.openxmlformats.org/officeDocument/2006/relationships/image" Target="../media/image101.png"/><Relationship Id="rId3" Type="http://schemas.openxmlformats.org/officeDocument/2006/relationships/image" Target="../media/image86.png"/><Relationship Id="rId21" Type="http://schemas.openxmlformats.org/officeDocument/2006/relationships/image" Target="../media/image104.png"/><Relationship Id="rId7" Type="http://schemas.openxmlformats.org/officeDocument/2006/relationships/image" Target="../media/image90.png"/><Relationship Id="rId12" Type="http://schemas.openxmlformats.org/officeDocument/2006/relationships/image" Target="../media/image95.png"/><Relationship Id="rId17" Type="http://schemas.openxmlformats.org/officeDocument/2006/relationships/image" Target="../media/image100.png"/><Relationship Id="rId2" Type="http://schemas.openxmlformats.org/officeDocument/2006/relationships/notesSlide" Target="../notesSlides/notesSlide26.xml"/><Relationship Id="rId16" Type="http://schemas.openxmlformats.org/officeDocument/2006/relationships/image" Target="../media/image99.jpeg"/><Relationship Id="rId20" Type="http://schemas.openxmlformats.org/officeDocument/2006/relationships/image" Target="../media/image103.png"/><Relationship Id="rId1" Type="http://schemas.openxmlformats.org/officeDocument/2006/relationships/slideLayout" Target="../slideLayouts/slideLayout22.xml"/><Relationship Id="rId6" Type="http://schemas.openxmlformats.org/officeDocument/2006/relationships/image" Target="../media/image89.png"/><Relationship Id="rId11" Type="http://schemas.openxmlformats.org/officeDocument/2006/relationships/image" Target="../media/image94.png"/><Relationship Id="rId5" Type="http://schemas.openxmlformats.org/officeDocument/2006/relationships/image" Target="../media/image88.png"/><Relationship Id="rId15" Type="http://schemas.openxmlformats.org/officeDocument/2006/relationships/image" Target="../media/image98.png"/><Relationship Id="rId10" Type="http://schemas.openxmlformats.org/officeDocument/2006/relationships/image" Target="../media/image93.png"/><Relationship Id="rId19" Type="http://schemas.openxmlformats.org/officeDocument/2006/relationships/image" Target="../media/image102.png"/><Relationship Id="rId4" Type="http://schemas.openxmlformats.org/officeDocument/2006/relationships/image" Target="../media/image87.png"/><Relationship Id="rId9" Type="http://schemas.openxmlformats.org/officeDocument/2006/relationships/image" Target="../media/image92.jpeg"/><Relationship Id="rId14" Type="http://schemas.openxmlformats.org/officeDocument/2006/relationships/image" Target="../media/image97.jpeg"/><Relationship Id="rId22" Type="http://schemas.openxmlformats.org/officeDocument/2006/relationships/hyperlink" Target="https://cisco.com/go/csta" TargetMode="Externa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4.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4.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9.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xml"/><Relationship Id="rId1" Type="http://schemas.openxmlformats.org/officeDocument/2006/relationships/slideLayout" Target="../slideLayouts/slideLayout22.xml"/><Relationship Id="rId4" Type="http://schemas.openxmlformats.org/officeDocument/2006/relationships/image" Target="../media/image30.png"/></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jpeg"/><Relationship Id="rId18" Type="http://schemas.openxmlformats.org/officeDocument/2006/relationships/image" Target="../media/image45.png"/><Relationship Id="rId3" Type="http://schemas.openxmlformats.org/officeDocument/2006/relationships/image" Target="../media/image31.png"/><Relationship Id="rId21" Type="http://schemas.openxmlformats.org/officeDocument/2006/relationships/image" Target="../media/image47.tiff"/><Relationship Id="rId7" Type="http://schemas.openxmlformats.org/officeDocument/2006/relationships/image" Target="../media/image34.emf"/><Relationship Id="rId12" Type="http://schemas.openxmlformats.org/officeDocument/2006/relationships/image" Target="../media/image39.emf"/><Relationship Id="rId17" Type="http://schemas.openxmlformats.org/officeDocument/2006/relationships/image" Target="../media/image44.png"/><Relationship Id="rId2" Type="http://schemas.openxmlformats.org/officeDocument/2006/relationships/notesSlide" Target="../notesSlides/notesSlide3.xml"/><Relationship Id="rId16" Type="http://schemas.openxmlformats.org/officeDocument/2006/relationships/image" Target="../media/image43.jpeg"/><Relationship Id="rId20" Type="http://schemas.openxmlformats.org/officeDocument/2006/relationships/image" Target="../media/image46.png"/><Relationship Id="rId1" Type="http://schemas.openxmlformats.org/officeDocument/2006/relationships/slideLayout" Target="../slideLayouts/slideLayout146.xml"/><Relationship Id="rId6" Type="http://schemas.openxmlformats.org/officeDocument/2006/relationships/image" Target="../media/image33.emf"/><Relationship Id="rId11" Type="http://schemas.openxmlformats.org/officeDocument/2006/relationships/image" Target="../media/image38.emf"/><Relationship Id="rId5" Type="http://schemas.openxmlformats.org/officeDocument/2006/relationships/image" Target="../media/image32.emf"/><Relationship Id="rId15" Type="http://schemas.openxmlformats.org/officeDocument/2006/relationships/image" Target="../media/image42.png"/><Relationship Id="rId10" Type="http://schemas.openxmlformats.org/officeDocument/2006/relationships/image" Target="../media/image37.png"/><Relationship Id="rId19" Type="http://schemas.microsoft.com/office/2007/relationships/hdphoto" Target="../media/hdphoto4.wdp"/><Relationship Id="rId4" Type="http://schemas.microsoft.com/office/2007/relationships/hdphoto" Target="../media/hdphoto3.wdp"/><Relationship Id="rId9" Type="http://schemas.openxmlformats.org/officeDocument/2006/relationships/image" Target="../media/image36.png"/><Relationship Id="rId14" Type="http://schemas.openxmlformats.org/officeDocument/2006/relationships/image" Target="../media/image4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49.jpe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8.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5.xml"/><Relationship Id="rId1" Type="http://schemas.openxmlformats.org/officeDocument/2006/relationships/slideLayout" Target="../slideLayouts/slideLayout2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6.xml"/><Relationship Id="rId1" Type="http://schemas.openxmlformats.org/officeDocument/2006/relationships/slideLayout" Target="../slideLayouts/slideLayout8.xml"/><Relationship Id="rId5" Type="http://schemas.openxmlformats.org/officeDocument/2006/relationships/image" Target="../media/image54.png"/><Relationship Id="rId4" Type="http://schemas.openxmlformats.org/officeDocument/2006/relationships/image" Target="../media/image53.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字幕 1">
            <a:extLst>
              <a:ext uri="{FF2B5EF4-FFF2-40B4-BE49-F238E27FC236}">
                <a16:creationId xmlns:a16="http://schemas.microsoft.com/office/drawing/2014/main" id="{7999FE13-E7B8-AD4A-BB34-E19F0EA0F1F7}"/>
              </a:ext>
            </a:extLst>
          </p:cNvPr>
          <p:cNvSpPr>
            <a:spLocks noGrp="1"/>
          </p:cNvSpPr>
          <p:nvPr>
            <p:ph type="subTitle" idx="1"/>
          </p:nvPr>
        </p:nvSpPr>
        <p:spPr/>
        <p:txBody>
          <a:bodyPr/>
          <a:lstStyle/>
          <a:p>
            <a:r>
              <a:rPr kumimoji="1" lang="en-US" altLang="ja-JP" dirty="0"/>
              <a:t>TME</a:t>
            </a:r>
            <a:r>
              <a:rPr kumimoji="1" lang="ja-JP" altLang="en-US"/>
              <a:t> 吉池克史</a:t>
            </a:r>
          </a:p>
        </p:txBody>
      </p:sp>
      <p:sp>
        <p:nvSpPr>
          <p:cNvPr id="3" name="テキスト プレースホルダー 2">
            <a:extLst>
              <a:ext uri="{FF2B5EF4-FFF2-40B4-BE49-F238E27FC236}">
                <a16:creationId xmlns:a16="http://schemas.microsoft.com/office/drawing/2014/main" id="{33E68FCD-9D0D-F745-98FF-C06C9BE96FE6}"/>
              </a:ext>
            </a:extLst>
          </p:cNvPr>
          <p:cNvSpPr>
            <a:spLocks noGrp="1"/>
          </p:cNvSpPr>
          <p:nvPr>
            <p:ph type="body" sz="quarter" idx="12"/>
          </p:nvPr>
        </p:nvSpPr>
        <p:spPr/>
        <p:txBody>
          <a:bodyPr/>
          <a:lstStyle/>
          <a:p>
            <a:r>
              <a:rPr kumimoji="1" lang="en-US" altLang="ja-JP" dirty="0"/>
              <a:t>2018</a:t>
            </a:r>
            <a:r>
              <a:rPr kumimoji="1" lang="ja-JP" altLang="en-US"/>
              <a:t>年</a:t>
            </a:r>
            <a:r>
              <a:rPr kumimoji="1" lang="en-US" altLang="ja-JP" dirty="0"/>
              <a:t>12</a:t>
            </a:r>
            <a:r>
              <a:rPr kumimoji="1" lang="ja-JP" altLang="en-US"/>
              <a:t>月</a:t>
            </a:r>
            <a:r>
              <a:rPr kumimoji="1" lang="en-US" altLang="ja-JP" dirty="0"/>
              <a:t>7</a:t>
            </a:r>
            <a:r>
              <a:rPr kumimoji="1" lang="ja-JP" altLang="en-US"/>
              <a:t>日</a:t>
            </a:r>
          </a:p>
        </p:txBody>
      </p:sp>
      <p:sp>
        <p:nvSpPr>
          <p:cNvPr id="4" name="テキスト プレースホルダー 3">
            <a:extLst>
              <a:ext uri="{FF2B5EF4-FFF2-40B4-BE49-F238E27FC236}">
                <a16:creationId xmlns:a16="http://schemas.microsoft.com/office/drawing/2014/main" id="{9FA9AD1E-1384-0D46-A2B6-6925231BB881}"/>
              </a:ext>
            </a:extLst>
          </p:cNvPr>
          <p:cNvSpPr>
            <a:spLocks noGrp="1"/>
          </p:cNvSpPr>
          <p:nvPr>
            <p:ph type="body" sz="quarter" idx="13"/>
          </p:nvPr>
        </p:nvSpPr>
        <p:spPr/>
        <p:txBody>
          <a:bodyPr/>
          <a:lstStyle/>
          <a:p>
            <a:endParaRPr kumimoji="1" lang="ja-JP" altLang="en-US"/>
          </a:p>
        </p:txBody>
      </p:sp>
      <p:sp>
        <p:nvSpPr>
          <p:cNvPr id="5" name="タイトル 4">
            <a:extLst>
              <a:ext uri="{FF2B5EF4-FFF2-40B4-BE49-F238E27FC236}">
                <a16:creationId xmlns:a16="http://schemas.microsoft.com/office/drawing/2014/main" id="{3619C3BB-313F-9945-B707-36EA69348108}"/>
              </a:ext>
            </a:extLst>
          </p:cNvPr>
          <p:cNvSpPr>
            <a:spLocks noGrp="1"/>
          </p:cNvSpPr>
          <p:nvPr>
            <p:ph type="ctrTitle"/>
          </p:nvPr>
        </p:nvSpPr>
        <p:spPr/>
        <p:txBody>
          <a:bodyPr/>
          <a:lstStyle/>
          <a:p>
            <a:r>
              <a:rPr kumimoji="1" lang="en-US" altLang="ja-JP" sz="3200" dirty="0">
                <a:latin typeface="CiscoSansJPN" pitchFamily="2" charset="-128"/>
                <a:ea typeface="CiscoSansJPN" pitchFamily="2" charset="-128"/>
                <a:cs typeface="CiscoSansJPN" pitchFamily="2" charset="-128"/>
              </a:rPr>
              <a:t>AMP4E</a:t>
            </a:r>
            <a:r>
              <a:rPr kumimoji="1" lang="ja-JP" altLang="en-US" sz="3200">
                <a:latin typeface="CiscoSansJPN" pitchFamily="2" charset="-128"/>
                <a:ea typeface="CiscoSansJPN" pitchFamily="2" charset="-128"/>
                <a:cs typeface="CiscoSansJPN" pitchFamily="2" charset="-128"/>
              </a:rPr>
              <a:t>・</a:t>
            </a:r>
            <a:r>
              <a:rPr kumimoji="1" lang="en-US" altLang="ja-JP" sz="3200" dirty="0">
                <a:latin typeface="CiscoSansJPN" pitchFamily="2" charset="-128"/>
                <a:ea typeface="CiscoSansJPN" pitchFamily="2" charset="-128"/>
                <a:cs typeface="CiscoSansJPN" pitchFamily="2" charset="-128"/>
              </a:rPr>
              <a:t>TG</a:t>
            </a:r>
            <a:r>
              <a:rPr kumimoji="1" lang="ja-JP" altLang="en-US" sz="3200">
                <a:latin typeface="CiscoSansJPN" pitchFamily="2" charset="-128"/>
                <a:ea typeface="CiscoSansJPN" pitchFamily="2" charset="-128"/>
                <a:cs typeface="CiscoSansJPN" pitchFamily="2" charset="-128"/>
              </a:rPr>
              <a:t>・</a:t>
            </a:r>
            <a:r>
              <a:rPr kumimoji="1" lang="en-US" altLang="ja-JP" sz="3200" dirty="0">
                <a:latin typeface="CiscoSansJPN" pitchFamily="2" charset="-128"/>
                <a:ea typeface="CiscoSansJPN" pitchFamily="2" charset="-128"/>
                <a:cs typeface="CiscoSansJPN" pitchFamily="2" charset="-128"/>
              </a:rPr>
              <a:t>Cognitive</a:t>
            </a:r>
            <a:r>
              <a:rPr kumimoji="1" lang="ja-JP" altLang="en-US" sz="3200">
                <a:latin typeface="CiscoSansJPN" pitchFamily="2" charset="-128"/>
                <a:ea typeface="CiscoSansJPN" pitchFamily="2" charset="-128"/>
                <a:cs typeface="CiscoSansJPN" pitchFamily="2" charset="-128"/>
              </a:rPr>
              <a:t> </a:t>
            </a:r>
            <a:r>
              <a:rPr kumimoji="1" lang="en-US" altLang="ja-JP" sz="3200" dirty="0">
                <a:latin typeface="CiscoSansJPN" pitchFamily="2" charset="-128"/>
                <a:ea typeface="CiscoSansJPN" pitchFamily="2" charset="-128"/>
                <a:cs typeface="CiscoSansJPN" pitchFamily="2" charset="-128"/>
              </a:rPr>
              <a:t>Intelligence</a:t>
            </a:r>
            <a:br>
              <a:rPr kumimoji="1" lang="en-US" altLang="ja-JP" sz="3200" dirty="0">
                <a:latin typeface="CiscoSansJPN" pitchFamily="2" charset="-128"/>
                <a:ea typeface="CiscoSansJPN" pitchFamily="2" charset="-128"/>
                <a:cs typeface="CiscoSansJPN" pitchFamily="2" charset="-128"/>
              </a:rPr>
            </a:br>
            <a:r>
              <a:rPr kumimoji="1" lang="ja-JP" altLang="en-US" sz="3200">
                <a:latin typeface="CiscoSansJPN" pitchFamily="2" charset="-128"/>
                <a:ea typeface="CiscoSansJPN" pitchFamily="2" charset="-128"/>
                <a:cs typeface="CiscoSansJPN" pitchFamily="2" charset="-128"/>
              </a:rPr>
              <a:t>アップデート</a:t>
            </a:r>
          </a:p>
        </p:txBody>
      </p:sp>
    </p:spTree>
    <p:extLst>
      <p:ext uri="{BB962C8B-B14F-4D97-AF65-F5344CB8AC3E}">
        <p14:creationId xmlns:p14="http://schemas.microsoft.com/office/powerpoint/2010/main" val="18998648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latin typeface="CiscoSansJPN" pitchFamily="2" charset="-128"/>
                <a:ea typeface="CiscoSansJPN" pitchFamily="2" charset="-128"/>
                <a:cs typeface="CiscoSansJPN" pitchFamily="2" charset="-128"/>
              </a:rPr>
              <a:t>認証とコンプライアンス</a:t>
            </a:r>
            <a:endParaRPr lang="en-US" dirty="0">
              <a:latin typeface="CiscoSansJPN" pitchFamily="2" charset="-128"/>
              <a:ea typeface="CiscoSansJPN" pitchFamily="2" charset="-128"/>
              <a:cs typeface="CiscoSansJPN" pitchFamily="2" charset="-128"/>
            </a:endParaRPr>
          </a:p>
        </p:txBody>
      </p:sp>
      <p:pic>
        <p:nvPicPr>
          <p:cNvPr id="3" name="Picture 2"/>
          <p:cNvPicPr>
            <a:picLocks noChangeAspect="1"/>
          </p:cNvPicPr>
          <p:nvPr/>
        </p:nvPicPr>
        <p:blipFill rotWithShape="1">
          <a:blip r:embed="rId3">
            <a:extLst>
              <a:ext uri="{28A0092B-C50C-407E-A947-70E740481C1C}">
                <a14:useLocalDpi xmlns:a14="http://schemas.microsoft.com/office/drawing/2010/main" val="0"/>
              </a:ext>
            </a:extLst>
          </a:blip>
          <a:srcRect t="17085"/>
          <a:stretch/>
        </p:blipFill>
        <p:spPr>
          <a:xfrm>
            <a:off x="437766" y="929522"/>
            <a:ext cx="2876318" cy="1447216"/>
          </a:xfrm>
          <a:prstGeom prst="rect">
            <a:avLst/>
          </a:prstGeom>
        </p:spPr>
      </p:pic>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37766" y="3351509"/>
            <a:ext cx="1732323" cy="965445"/>
          </a:xfrm>
          <a:prstGeom prst="rect">
            <a:avLst/>
          </a:prstGeom>
        </p:spPr>
      </p:pic>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208361" y="2319506"/>
            <a:ext cx="1711781" cy="972292"/>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208360" y="3351510"/>
            <a:ext cx="1711782" cy="965445"/>
          </a:xfrm>
          <a:prstGeom prst="rect">
            <a:avLst/>
          </a:prstGeom>
        </p:spPr>
      </p:pic>
      <p:sp>
        <p:nvSpPr>
          <p:cNvPr id="7" name="TextBox 6"/>
          <p:cNvSpPr txBox="1"/>
          <p:nvPr/>
        </p:nvSpPr>
        <p:spPr>
          <a:xfrm>
            <a:off x="437766" y="4353487"/>
            <a:ext cx="2796856" cy="369332"/>
          </a:xfrm>
          <a:prstGeom prst="rect">
            <a:avLst/>
          </a:prstGeom>
          <a:noFill/>
        </p:spPr>
        <p:txBody>
          <a:bodyPr wrap="none" rtlCol="0">
            <a:spAutoFit/>
          </a:bodyPr>
          <a:lstStyle/>
          <a:p>
            <a:r>
              <a:rPr lang="en-US" dirty="0">
                <a:latin typeface="CiscoSansJPN" pitchFamily="2" charset="-128"/>
                <a:ea typeface="CiscoSansJPN" pitchFamily="2" charset="-128"/>
                <a:cs typeface="CiscoSansJPN" pitchFamily="2" charset="-128"/>
              </a:rPr>
              <a:t>https://</a:t>
            </a:r>
            <a:r>
              <a:rPr lang="en-US" dirty="0" err="1">
                <a:latin typeface="CiscoSansJPN" pitchFamily="2" charset="-128"/>
                <a:ea typeface="CiscoSansJPN" pitchFamily="2" charset="-128"/>
                <a:cs typeface="CiscoSansJPN" pitchFamily="2" charset="-128"/>
              </a:rPr>
              <a:t>cs.co</a:t>
            </a:r>
            <a:r>
              <a:rPr lang="en-US" dirty="0">
                <a:latin typeface="CiscoSansJPN" pitchFamily="2" charset="-128"/>
                <a:ea typeface="CiscoSansJPN" pitchFamily="2" charset="-128"/>
                <a:cs typeface="CiscoSansJPN" pitchFamily="2" charset="-128"/>
              </a:rPr>
              <a:t>/privacy-ds</a:t>
            </a:r>
          </a:p>
        </p:txBody>
      </p:sp>
      <p:sp>
        <p:nvSpPr>
          <p:cNvPr id="9" name="TextBox 8"/>
          <p:cNvSpPr txBox="1"/>
          <p:nvPr/>
        </p:nvSpPr>
        <p:spPr>
          <a:xfrm>
            <a:off x="4602751" y="929522"/>
            <a:ext cx="4180503" cy="3970318"/>
          </a:xfrm>
          <a:prstGeom prst="rect">
            <a:avLst/>
          </a:prstGeom>
          <a:noFill/>
        </p:spPr>
        <p:txBody>
          <a:bodyPr wrap="square" rtlCol="0">
            <a:spAutoFit/>
          </a:bodyPr>
          <a:lstStyle/>
          <a:p>
            <a:pPr marL="285750" indent="-285750">
              <a:buFont typeface="Arial" charset="0"/>
              <a:buChar char="•"/>
            </a:pPr>
            <a:endParaRPr lang="en-US" b="1" dirty="0">
              <a:latin typeface="CiscoSansJPN" pitchFamily="2" charset="-128"/>
              <a:ea typeface="CiscoSansJPN" pitchFamily="2" charset="-128"/>
              <a:cs typeface="CiscoSansJPN" pitchFamily="2" charset="-128"/>
            </a:endParaRPr>
          </a:p>
          <a:p>
            <a:pPr marL="285750" indent="-285750">
              <a:buFont typeface="Arial" charset="0"/>
              <a:buChar char="•"/>
            </a:pPr>
            <a:endParaRPr lang="en-US" b="1" dirty="0">
              <a:latin typeface="CiscoSansJPN" pitchFamily="2" charset="-128"/>
              <a:ea typeface="CiscoSansJPN" pitchFamily="2" charset="-128"/>
              <a:cs typeface="CiscoSansJPN" pitchFamily="2" charset="-128"/>
            </a:endParaRPr>
          </a:p>
          <a:p>
            <a:pPr marL="285750" indent="-285750">
              <a:buFont typeface="Arial" charset="0"/>
              <a:buChar char="•"/>
            </a:pPr>
            <a:endParaRPr lang="en-US" b="1" dirty="0">
              <a:latin typeface="CiscoSansJPN" pitchFamily="2" charset="-128"/>
              <a:ea typeface="CiscoSansJPN" pitchFamily="2" charset="-128"/>
              <a:cs typeface="CiscoSansJPN" pitchFamily="2" charset="-128"/>
            </a:endParaRPr>
          </a:p>
          <a:p>
            <a:pPr marL="285750" indent="-285750">
              <a:buFont typeface="Arial" charset="0"/>
              <a:buChar char="•"/>
            </a:pPr>
            <a:endParaRPr lang="en-US" b="1" dirty="0">
              <a:latin typeface="CiscoSansJPN" pitchFamily="2" charset="-128"/>
              <a:ea typeface="CiscoSansJPN" pitchFamily="2" charset="-128"/>
              <a:cs typeface="CiscoSansJPN" pitchFamily="2" charset="-128"/>
            </a:endParaRPr>
          </a:p>
          <a:p>
            <a:pPr marL="285750" indent="-285750">
              <a:buFont typeface="Arial" charset="0"/>
              <a:buChar char="•"/>
            </a:pPr>
            <a:endParaRPr lang="en-US" b="1" dirty="0">
              <a:latin typeface="CiscoSansJPN" pitchFamily="2" charset="-128"/>
              <a:ea typeface="CiscoSansJPN" pitchFamily="2" charset="-128"/>
              <a:cs typeface="CiscoSansJPN" pitchFamily="2" charset="-128"/>
            </a:endParaRPr>
          </a:p>
          <a:p>
            <a:pPr marL="285750" indent="-285750">
              <a:buFont typeface="Arial" charset="0"/>
              <a:buChar char="•"/>
            </a:pPr>
            <a:r>
              <a:rPr lang="en-US" sz="1600" b="1" dirty="0">
                <a:latin typeface="CiscoSansJPN" pitchFamily="2" charset="-128"/>
                <a:ea typeface="CiscoSansJPN" pitchFamily="2" charset="-128"/>
                <a:cs typeface="CiscoSansJPN" pitchFamily="2" charset="-128"/>
              </a:rPr>
              <a:t>Funded</a:t>
            </a:r>
            <a:r>
              <a:rPr lang="en-US" sz="1600" dirty="0">
                <a:latin typeface="CiscoSansJPN" pitchFamily="2" charset="-128"/>
                <a:ea typeface="CiscoSansJPN" pitchFamily="2" charset="-128"/>
                <a:cs typeface="CiscoSansJPN" pitchFamily="2" charset="-128"/>
              </a:rPr>
              <a:t> through to Authority-to-Operate (ATO)</a:t>
            </a:r>
          </a:p>
          <a:p>
            <a:pPr marL="285750" indent="-285750">
              <a:buFont typeface="Arial" charset="0"/>
              <a:buChar char="•"/>
            </a:pPr>
            <a:r>
              <a:rPr lang="en-US" sz="1600" b="1" dirty="0">
                <a:latin typeface="CiscoSansJPN" pitchFamily="2" charset="-128"/>
                <a:ea typeface="CiscoSansJPN" pitchFamily="2" charset="-128"/>
                <a:cs typeface="CiscoSansJPN" pitchFamily="2" charset="-128"/>
              </a:rPr>
              <a:t>Business Committed</a:t>
            </a:r>
            <a:r>
              <a:rPr lang="en-US" sz="1600" dirty="0">
                <a:latin typeface="CiscoSansJPN" pitchFamily="2" charset="-128"/>
                <a:ea typeface="CiscoSansJPN" pitchFamily="2" charset="-128"/>
                <a:cs typeface="CiscoSansJPN" pitchFamily="2" charset="-128"/>
              </a:rPr>
              <a:t> May 29 2018</a:t>
            </a:r>
          </a:p>
          <a:p>
            <a:pPr marL="285750" indent="-285750">
              <a:buFont typeface="Arial" charset="0"/>
              <a:buChar char="•"/>
            </a:pPr>
            <a:r>
              <a:rPr lang="en-US" sz="1600" dirty="0">
                <a:latin typeface="CiscoSansJPN" pitchFamily="2" charset="-128"/>
                <a:ea typeface="CiscoSansJPN" pitchFamily="2" charset="-128"/>
                <a:cs typeface="CiscoSansJPN" pitchFamily="2" charset="-128"/>
              </a:rPr>
              <a:t>34 projects address 325 controls</a:t>
            </a:r>
          </a:p>
          <a:p>
            <a:pPr marL="285750" indent="-285750">
              <a:buFont typeface="Arial" charset="0"/>
              <a:buChar char="•"/>
            </a:pPr>
            <a:r>
              <a:rPr lang="en-US" sz="1600" dirty="0">
                <a:latin typeface="CiscoSansJPN" pitchFamily="2" charset="-128"/>
                <a:ea typeface="CiscoSansJPN" pitchFamily="2" charset="-128"/>
                <a:cs typeface="CiscoSansJPN" pitchFamily="2" charset="-128"/>
              </a:rPr>
              <a:t>13 Requisitions</a:t>
            </a:r>
          </a:p>
          <a:p>
            <a:pPr marL="285750" indent="-285750">
              <a:buFont typeface="Arial" charset="0"/>
              <a:buChar char="•"/>
            </a:pPr>
            <a:r>
              <a:rPr lang="en-US" sz="1600" dirty="0">
                <a:latin typeface="CiscoSansJPN" pitchFamily="2" charset="-128"/>
                <a:ea typeface="CiscoSansJPN" pitchFamily="2" charset="-128"/>
                <a:cs typeface="CiscoSansJPN" pitchFamily="2" charset="-128"/>
              </a:rPr>
              <a:t>Engineering Commit ~Oct 2018</a:t>
            </a:r>
          </a:p>
          <a:p>
            <a:pPr marL="285750" indent="-285750">
              <a:buFont typeface="Arial" charset="0"/>
              <a:buChar char="•"/>
            </a:pPr>
            <a:r>
              <a:rPr lang="en-US" sz="1600" dirty="0">
                <a:latin typeface="CiscoSansJPN" pitchFamily="2" charset="-128"/>
                <a:ea typeface="CiscoSansJPN" pitchFamily="2" charset="-128"/>
                <a:cs typeface="CiscoSansJPN" pitchFamily="2" charset="-128"/>
              </a:rPr>
              <a:t>Marketplace “In-process” ~Q2FY19</a:t>
            </a:r>
          </a:p>
          <a:p>
            <a:pPr marL="285750" indent="-285750">
              <a:buFont typeface="Arial" charset="0"/>
              <a:buChar char="•"/>
            </a:pPr>
            <a:r>
              <a:rPr lang="en-US" sz="1600" b="1" dirty="0">
                <a:latin typeface="CiscoSansJPN" pitchFamily="2" charset="-128"/>
                <a:ea typeface="CiscoSansJPN" pitchFamily="2" charset="-128"/>
                <a:cs typeface="CiscoSansJPN" pitchFamily="2" charset="-128"/>
              </a:rPr>
              <a:t>ATO: ~Q1FY20</a:t>
            </a:r>
          </a:p>
          <a:p>
            <a:pPr marL="285750" indent="-285750">
              <a:buFont typeface="Arial" charset="0"/>
              <a:buChar char="•"/>
            </a:pPr>
            <a:endParaRPr lang="en-US" sz="1600" dirty="0">
              <a:latin typeface="CiscoSansJPN" pitchFamily="2" charset="-128"/>
              <a:ea typeface="CiscoSansJPN" pitchFamily="2" charset="-128"/>
              <a:cs typeface="CiscoSansJPN" pitchFamily="2" charset="-128"/>
            </a:endParaRPr>
          </a:p>
          <a:p>
            <a:pPr marL="285750" indent="-285750">
              <a:buFont typeface="Arial" charset="0"/>
              <a:buChar char="•"/>
            </a:pPr>
            <a:endParaRPr lang="en-US" dirty="0">
              <a:latin typeface="CiscoSansJPN" pitchFamily="2" charset="-128"/>
              <a:ea typeface="CiscoSansJPN" pitchFamily="2" charset="-128"/>
              <a:cs typeface="CiscoSansJPN" pitchFamily="2" charset="-128"/>
            </a:endParaRPr>
          </a:p>
        </p:txBody>
      </p:sp>
      <p:pic>
        <p:nvPicPr>
          <p:cNvPr id="7174" name="Picture 6" descr="mage result for FedRAMP Moderate"/>
          <p:cNvPicPr>
            <a:picLocks noChangeAspect="1" noChangeArrowheads="1"/>
          </p:cNvPicPr>
          <p:nvPr/>
        </p:nvPicPr>
        <p:blipFill rotWithShape="1">
          <a:blip r:embed="rId7">
            <a:extLst>
              <a:ext uri="{28A0092B-C50C-407E-A947-70E740481C1C}">
                <a14:useLocalDpi xmlns:a14="http://schemas.microsoft.com/office/drawing/2010/main" val="0"/>
              </a:ext>
            </a:extLst>
          </a:blip>
          <a:srcRect l="30778" t="10322" r="31535" b="6096"/>
          <a:stretch/>
        </p:blipFill>
        <p:spPr bwMode="auto">
          <a:xfrm>
            <a:off x="4833758" y="929522"/>
            <a:ext cx="1011272" cy="1121409"/>
          </a:xfrm>
          <a:prstGeom prst="rect">
            <a:avLst/>
          </a:prstGeom>
          <a:noFill/>
          <a:extLst>
            <a:ext uri="{909E8E84-426E-40DD-AFC4-6F175D3DCCD1}">
              <a14:hiddenFill xmlns:a14="http://schemas.microsoft.com/office/drawing/2010/main">
                <a:solidFill>
                  <a:srgbClr val="FFFFFF"/>
                </a:solidFill>
              </a14:hiddenFill>
            </a:ext>
          </a:extLst>
        </p:spPr>
      </p:pic>
      <p:pic>
        <p:nvPicPr>
          <p:cNvPr id="7176" name="Picture 8" descr="mage result for eu gd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64784" y="2346993"/>
            <a:ext cx="1705305" cy="944806"/>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p:cNvSpPr txBox="1"/>
          <p:nvPr/>
        </p:nvSpPr>
        <p:spPr>
          <a:xfrm>
            <a:off x="5746746" y="929522"/>
            <a:ext cx="3273280" cy="1569660"/>
          </a:xfrm>
          <a:prstGeom prst="rect">
            <a:avLst/>
          </a:prstGeom>
          <a:noFill/>
        </p:spPr>
        <p:txBody>
          <a:bodyPr wrap="square" rtlCol="0">
            <a:spAutoFit/>
          </a:bodyPr>
          <a:lstStyle/>
          <a:p>
            <a:r>
              <a:rPr lang="en-US" sz="1600" dirty="0">
                <a:latin typeface="CiscoSansJPN" pitchFamily="2" charset="-128"/>
                <a:ea typeface="CiscoSansJPN" pitchFamily="2" charset="-128"/>
                <a:cs typeface="CiscoSansJPN" pitchFamily="2" charset="-128"/>
              </a:rPr>
              <a:t>AMP </a:t>
            </a:r>
            <a:r>
              <a:rPr lang="en-US" sz="1600" dirty="0" err="1">
                <a:latin typeface="CiscoSansJPN" pitchFamily="2" charset="-128"/>
                <a:ea typeface="CiscoSansJPN" pitchFamily="2" charset="-128"/>
                <a:cs typeface="CiscoSansJPN" pitchFamily="2" charset="-128"/>
              </a:rPr>
              <a:t>FedRAMP</a:t>
            </a:r>
            <a:r>
              <a:rPr lang="en-US" sz="1600" dirty="0">
                <a:latin typeface="CiscoSansJPN" pitchFamily="2" charset="-128"/>
                <a:ea typeface="CiscoSansJPN" pitchFamily="2" charset="-128"/>
                <a:cs typeface="CiscoSansJPN" pitchFamily="2" charset="-128"/>
              </a:rPr>
              <a:t> Moderate</a:t>
            </a:r>
          </a:p>
          <a:p>
            <a:r>
              <a:rPr lang="en-US" sz="1600" dirty="0">
                <a:latin typeface="CiscoSansJPN" pitchFamily="2" charset="-128"/>
                <a:ea typeface="CiscoSansJPN" pitchFamily="2" charset="-128"/>
                <a:cs typeface="CiscoSansJPN" pitchFamily="2" charset="-128"/>
              </a:rPr>
              <a:t>US Public Sector</a:t>
            </a:r>
          </a:p>
          <a:p>
            <a:pPr marL="742950" lvl="1" indent="-285750">
              <a:buFont typeface="Arial" charset="0"/>
              <a:buChar char="•"/>
            </a:pPr>
            <a:r>
              <a:rPr lang="en-US" sz="1600" dirty="0">
                <a:latin typeface="CiscoSansJPN" pitchFamily="2" charset="-128"/>
                <a:ea typeface="CiscoSansJPN" pitchFamily="2" charset="-128"/>
                <a:cs typeface="CiscoSansJPN" pitchFamily="2" charset="-128"/>
              </a:rPr>
              <a:t>SLED</a:t>
            </a:r>
          </a:p>
          <a:p>
            <a:pPr marL="742950" lvl="1" indent="-285750">
              <a:buFont typeface="Arial" charset="0"/>
              <a:buChar char="•"/>
            </a:pPr>
            <a:r>
              <a:rPr lang="en-US" sz="1600" dirty="0">
                <a:latin typeface="CiscoSansJPN" pitchFamily="2" charset="-128"/>
                <a:ea typeface="CiscoSansJPN" pitchFamily="2" charset="-128"/>
                <a:cs typeface="CiscoSansJPN" pitchFamily="2" charset="-128"/>
              </a:rPr>
              <a:t>Fed Civilian</a:t>
            </a:r>
          </a:p>
          <a:p>
            <a:pPr marL="742950" lvl="1" indent="-285750">
              <a:buFont typeface="Arial" charset="0"/>
              <a:buChar char="•"/>
            </a:pPr>
            <a:r>
              <a:rPr lang="en-US" sz="1600" dirty="0">
                <a:latin typeface="CiscoSansJPN" pitchFamily="2" charset="-128"/>
                <a:ea typeface="CiscoSansJPN" pitchFamily="2" charset="-128"/>
                <a:cs typeface="CiscoSansJPN" pitchFamily="2" charset="-128"/>
              </a:rPr>
              <a:t>Critical Infra &amp; Related</a:t>
            </a:r>
          </a:p>
          <a:p>
            <a:pPr marL="285750" indent="-285750">
              <a:buFont typeface="Arial" charset="0"/>
              <a:buChar char="•"/>
            </a:pPr>
            <a:endParaRPr lang="en-US" sz="1600" dirty="0">
              <a:latin typeface="CiscoSansJPN" pitchFamily="2" charset="-128"/>
              <a:ea typeface="CiscoSansJPN" pitchFamily="2" charset="-128"/>
              <a:cs typeface="CiscoSansJPN" pitchFamily="2" charset="-128"/>
            </a:endParaRPr>
          </a:p>
        </p:txBody>
      </p:sp>
      <p:sp>
        <p:nvSpPr>
          <p:cNvPr id="8" name="テキスト ボックス 7">
            <a:extLst>
              <a:ext uri="{FF2B5EF4-FFF2-40B4-BE49-F238E27FC236}">
                <a16:creationId xmlns:a16="http://schemas.microsoft.com/office/drawing/2014/main" id="{B74F1524-8AE0-A442-AA7F-382CBC875B30}"/>
              </a:ext>
            </a:extLst>
          </p:cNvPr>
          <p:cNvSpPr txBox="1"/>
          <p:nvPr/>
        </p:nvSpPr>
        <p:spPr>
          <a:xfrm>
            <a:off x="3613212" y="4364108"/>
            <a:ext cx="5554085" cy="369332"/>
          </a:xfrm>
          <a:prstGeom prst="rect">
            <a:avLst/>
          </a:prstGeom>
          <a:noFill/>
        </p:spPr>
        <p:txBody>
          <a:bodyPr wrap="none" rtlCol="0">
            <a:spAutoFit/>
          </a:bodyPr>
          <a:lstStyle/>
          <a:p>
            <a:r>
              <a:rPr kumimoji="1" lang="en-US" altLang="ja-JP" dirty="0">
                <a:latin typeface="CiscoSansJPN" pitchFamily="2" charset="-128"/>
                <a:ea typeface="CiscoSansJPN" pitchFamily="2" charset="-128"/>
                <a:cs typeface="CiscoSansJPN" pitchFamily="2" charset="-128"/>
              </a:rPr>
              <a:t>https://</a:t>
            </a:r>
            <a:r>
              <a:rPr kumimoji="1" lang="en-US" altLang="ja-JP" dirty="0" err="1">
                <a:latin typeface="CiscoSansJPN" pitchFamily="2" charset="-128"/>
                <a:ea typeface="CiscoSansJPN" pitchFamily="2" charset="-128"/>
                <a:cs typeface="CiscoSansJPN" pitchFamily="2" charset="-128"/>
              </a:rPr>
              <a:t>aws.amazon.com</a:t>
            </a:r>
            <a:r>
              <a:rPr kumimoji="1" lang="en-US" altLang="ja-JP" dirty="0">
                <a:latin typeface="CiscoSansJPN" pitchFamily="2" charset="-128"/>
                <a:ea typeface="CiscoSansJPN" pitchFamily="2" charset="-128"/>
                <a:cs typeface="CiscoSansJPN" pitchFamily="2" charset="-128"/>
              </a:rPr>
              <a:t>/</a:t>
            </a:r>
            <a:r>
              <a:rPr kumimoji="1" lang="en-US" altLang="ja-JP" dirty="0" err="1">
                <a:latin typeface="CiscoSansJPN" pitchFamily="2" charset="-128"/>
                <a:ea typeface="CiscoSansJPN" pitchFamily="2" charset="-128"/>
                <a:cs typeface="CiscoSansJPN" pitchFamily="2" charset="-128"/>
              </a:rPr>
              <a:t>jp</a:t>
            </a:r>
            <a:r>
              <a:rPr kumimoji="1" lang="en-US" altLang="ja-JP" dirty="0">
                <a:latin typeface="CiscoSansJPN" pitchFamily="2" charset="-128"/>
                <a:ea typeface="CiscoSansJPN" pitchFamily="2" charset="-128"/>
                <a:cs typeface="CiscoSansJPN" pitchFamily="2" charset="-128"/>
              </a:rPr>
              <a:t>/compliance/</a:t>
            </a:r>
            <a:r>
              <a:rPr kumimoji="1" lang="en-US" altLang="ja-JP" dirty="0" err="1">
                <a:latin typeface="CiscoSansJPN" pitchFamily="2" charset="-128"/>
                <a:ea typeface="CiscoSansJPN" pitchFamily="2" charset="-128"/>
                <a:cs typeface="CiscoSansJPN" pitchFamily="2" charset="-128"/>
              </a:rPr>
              <a:t>fedramp</a:t>
            </a:r>
            <a:r>
              <a:rPr kumimoji="1" lang="en-US" altLang="ja-JP" dirty="0">
                <a:latin typeface="CiscoSansJPN" pitchFamily="2" charset="-128"/>
                <a:ea typeface="CiscoSansJPN" pitchFamily="2" charset="-128"/>
                <a:cs typeface="CiscoSansJPN" pitchFamily="2" charset="-128"/>
              </a:rPr>
              <a:t>/</a:t>
            </a:r>
            <a:endParaRPr kumimoji="1" lang="ja-JP" altLang="en-US" dirty="0">
              <a:latin typeface="CiscoSansJPN" pitchFamily="2" charset="-128"/>
              <a:ea typeface="CiscoSansJPN" pitchFamily="2" charset="-128"/>
              <a:cs typeface="CiscoSansJPN" pitchFamily="2" charset="-128"/>
            </a:endParaRPr>
          </a:p>
        </p:txBody>
      </p:sp>
      <p:sp>
        <p:nvSpPr>
          <p:cNvPr id="10" name="円形吹き出し 9">
            <a:extLst>
              <a:ext uri="{FF2B5EF4-FFF2-40B4-BE49-F238E27FC236}">
                <a16:creationId xmlns:a16="http://schemas.microsoft.com/office/drawing/2014/main" id="{456E9933-1DE3-5341-B644-F79044E3FFF3}"/>
              </a:ext>
            </a:extLst>
          </p:cNvPr>
          <p:cNvSpPr/>
          <p:nvPr/>
        </p:nvSpPr>
        <p:spPr>
          <a:xfrm>
            <a:off x="7076657" y="-945"/>
            <a:ext cx="2009626" cy="1041991"/>
          </a:xfrm>
          <a:prstGeom prst="wedgeEllipseCallout">
            <a:avLst>
              <a:gd name="adj1" fmla="val -58926"/>
              <a:gd name="adj2" fmla="val 26446"/>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400" dirty="0">
                <a:latin typeface="CiscoSansJPN" pitchFamily="2" charset="-128"/>
                <a:ea typeface="CiscoSansJPN" pitchFamily="2" charset="-128"/>
                <a:cs typeface="CiscoSansJPN" pitchFamily="2" charset="-128"/>
              </a:rPr>
              <a:t>AWS</a:t>
            </a:r>
            <a:r>
              <a:rPr kumimoji="1" lang="ja-JP" altLang="en-US" sz="1400">
                <a:latin typeface="CiscoSansJPN" pitchFamily="2" charset="-128"/>
                <a:ea typeface="CiscoSansJPN" pitchFamily="2" charset="-128"/>
                <a:cs typeface="CiscoSansJPN" pitchFamily="2" charset="-128"/>
              </a:rPr>
              <a:t>が提供する米国政府向けのクラウド</a:t>
            </a:r>
            <a:endParaRPr kumimoji="1" lang="ja-JP" altLang="en-US" sz="1400" dirty="0">
              <a:latin typeface="CiscoSansJPN" pitchFamily="2" charset="-128"/>
              <a:ea typeface="CiscoSansJPN" pitchFamily="2" charset="-128"/>
              <a:cs typeface="CiscoSansJPN" pitchFamily="2" charset="-128"/>
            </a:endParaRPr>
          </a:p>
        </p:txBody>
      </p:sp>
    </p:spTree>
    <p:extLst>
      <p:ext uri="{BB962C8B-B14F-4D97-AF65-F5344CB8AC3E}">
        <p14:creationId xmlns:p14="http://schemas.microsoft.com/office/powerpoint/2010/main" val="15358820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ja-JP" altLang="en-US"/>
              <a:t>新機能</a:t>
            </a:r>
            <a:br>
              <a:rPr lang="en-US" dirty="0"/>
            </a:br>
            <a:r>
              <a:rPr lang="en-US" dirty="0"/>
              <a:t>AMP for Endpoints</a:t>
            </a:r>
          </a:p>
        </p:txBody>
      </p:sp>
    </p:spTree>
    <p:extLst>
      <p:ext uri="{BB962C8B-B14F-4D97-AF65-F5344CB8AC3E}">
        <p14:creationId xmlns:p14="http://schemas.microsoft.com/office/powerpoint/2010/main" val="88165013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様々な検知エンジン</a:t>
            </a:r>
            <a:br>
              <a:rPr lang="en-US" dirty="0"/>
            </a:br>
            <a:r>
              <a:rPr lang="ja-JP" altLang="en-US" sz="1800"/>
              <a:t>検出時間を短縮する為に</a:t>
            </a:r>
            <a:endParaRPr lang="en-US" dirty="0"/>
          </a:p>
        </p:txBody>
      </p:sp>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0535" y="1073150"/>
            <a:ext cx="6775597" cy="3691796"/>
          </a:xfrm>
          <a:prstGeom prst="rect">
            <a:avLst/>
          </a:prstGeom>
        </p:spPr>
      </p:pic>
      <p:sp>
        <p:nvSpPr>
          <p:cNvPr id="5" name="Explosion 1 4"/>
          <p:cNvSpPr/>
          <p:nvPr/>
        </p:nvSpPr>
        <p:spPr>
          <a:xfrm>
            <a:off x="4916128" y="2717887"/>
            <a:ext cx="825911" cy="344129"/>
          </a:xfrm>
          <a:prstGeom prst="irregularSeal1">
            <a:avLst/>
          </a:prstGeom>
          <a:solidFill>
            <a:srgbClr val="FFF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New</a:t>
            </a:r>
          </a:p>
        </p:txBody>
      </p:sp>
      <p:sp>
        <p:nvSpPr>
          <p:cNvPr id="6" name="Explosion 1 5"/>
          <p:cNvSpPr/>
          <p:nvPr/>
        </p:nvSpPr>
        <p:spPr>
          <a:xfrm>
            <a:off x="5451987" y="4000997"/>
            <a:ext cx="825911" cy="344129"/>
          </a:xfrm>
          <a:prstGeom prst="irregularSeal1">
            <a:avLst/>
          </a:prstGeom>
          <a:solidFill>
            <a:srgbClr val="FFF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New</a:t>
            </a:r>
          </a:p>
        </p:txBody>
      </p:sp>
      <p:sp>
        <p:nvSpPr>
          <p:cNvPr id="7" name="Explosion 1 6"/>
          <p:cNvSpPr/>
          <p:nvPr/>
        </p:nvSpPr>
        <p:spPr>
          <a:xfrm>
            <a:off x="2680376" y="2447500"/>
            <a:ext cx="825911" cy="344129"/>
          </a:xfrm>
          <a:prstGeom prst="irregularSeal1">
            <a:avLst/>
          </a:prstGeom>
          <a:solidFill>
            <a:srgbClr val="FFF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New</a:t>
            </a:r>
          </a:p>
        </p:txBody>
      </p:sp>
      <p:sp>
        <p:nvSpPr>
          <p:cNvPr id="8" name="Explosion 1 7"/>
          <p:cNvSpPr/>
          <p:nvPr/>
        </p:nvSpPr>
        <p:spPr>
          <a:xfrm>
            <a:off x="2728451" y="3140809"/>
            <a:ext cx="825911" cy="344129"/>
          </a:xfrm>
          <a:prstGeom prst="irregularSeal1">
            <a:avLst/>
          </a:prstGeom>
          <a:solidFill>
            <a:srgbClr val="FFFF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dirty="0"/>
              <a:t>New</a:t>
            </a:r>
          </a:p>
        </p:txBody>
      </p:sp>
    </p:spTree>
    <p:extLst>
      <p:ext uri="{BB962C8B-B14F-4D97-AF65-F5344CB8AC3E}">
        <p14:creationId xmlns:p14="http://schemas.microsoft.com/office/powerpoint/2010/main" val="123233662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7766" y="1073150"/>
            <a:ext cx="3931034" cy="3471141"/>
          </a:xfrm>
          <a:solidFill>
            <a:schemeClr val="accent1"/>
          </a:solidFill>
        </p:spPr>
        <p:txBody>
          <a:bodyPr numCol="2"/>
          <a:lstStyle/>
          <a:p>
            <a:pPr marL="57136" indent="0">
              <a:spcBef>
                <a:spcPts val="0"/>
              </a:spcBef>
              <a:buNone/>
            </a:pPr>
            <a:r>
              <a:rPr lang="en-US" sz="1200" dirty="0">
                <a:solidFill>
                  <a:srgbClr val="000000"/>
                </a:solidFill>
                <a:latin typeface="CiscoSansJPN" pitchFamily="2" charset="-128"/>
                <a:ea typeface="CiscoSansJPN" pitchFamily="2" charset="-128"/>
                <a:cs typeface="CiscoSansJPN" pitchFamily="2" charset="-128"/>
              </a:rPr>
              <a:t>The following 32-bit </a:t>
            </a:r>
            <a:r>
              <a:rPr lang="ja-JP" altLang="en-US" sz="1200">
                <a:solidFill>
                  <a:srgbClr val="000000"/>
                </a:solidFill>
                <a:latin typeface="CiscoSansJPN" pitchFamily="2" charset="-128"/>
                <a:ea typeface="CiscoSansJPN" pitchFamily="2" charset="-128"/>
                <a:cs typeface="CiscoSansJPN" pitchFamily="2" charset="-128"/>
              </a:rPr>
              <a:t>親プロセス及び子プロセスを監視</a:t>
            </a: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r>
              <a:rPr lang="en-US" sz="1200" dirty="0">
                <a:solidFill>
                  <a:srgbClr val="000000"/>
                </a:solidFill>
                <a:latin typeface="CiscoSansJPN" pitchFamily="2" charset="-128"/>
                <a:ea typeface="CiscoSansJPN" pitchFamily="2" charset="-128"/>
                <a:cs typeface="CiscoSansJPN" pitchFamily="2" charset="-128"/>
              </a:rPr>
              <a:t>Microsoft Excel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Microsoft Word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Microsoft PowerPoint</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Microsoft Outlook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Internet Explorer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Mozilla Firefox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Google Chrome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Microsoft Skype </a:t>
            </a:r>
          </a:p>
          <a:p>
            <a:pPr>
              <a:spcBef>
                <a:spcPts val="0"/>
              </a:spcBef>
            </a:pP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r>
              <a:rPr lang="en-US" altLang="ja-JP" sz="1200" dirty="0">
                <a:solidFill>
                  <a:srgbClr val="FF0000"/>
                </a:solidFill>
                <a:latin typeface="CiscoSansJPN" pitchFamily="2" charset="-128"/>
                <a:ea typeface="CiscoSansJPN" pitchFamily="2" charset="-128"/>
                <a:cs typeface="CiscoSansJPN" pitchFamily="2" charset="-128"/>
              </a:rPr>
              <a:t>64bit</a:t>
            </a:r>
            <a:r>
              <a:rPr lang="ja-JP" altLang="en-US" sz="1200">
                <a:solidFill>
                  <a:srgbClr val="FF0000"/>
                </a:solidFill>
                <a:latin typeface="CiscoSansJPN" pitchFamily="2" charset="-128"/>
                <a:ea typeface="CiscoSansJPN" pitchFamily="2" charset="-128"/>
                <a:cs typeface="CiscoSansJPN" pitchFamily="2" charset="-128"/>
              </a:rPr>
              <a:t>も対応しました</a:t>
            </a:r>
            <a:endParaRPr lang="en-US" sz="1200" dirty="0">
              <a:solidFill>
                <a:srgbClr val="FF0000"/>
              </a:solidFill>
              <a:latin typeface="CiscoSansJPN" pitchFamily="2" charset="-128"/>
              <a:ea typeface="CiscoSansJPN" pitchFamily="2" charset="-128"/>
              <a:cs typeface="CiscoSansJPN" pitchFamily="2" charset="-128"/>
            </a:endParaRPr>
          </a:p>
          <a:p>
            <a:pPr>
              <a:spcBef>
                <a:spcPts val="0"/>
              </a:spcBef>
            </a:pPr>
            <a:endParaRPr lang="en-US" sz="1200" dirty="0">
              <a:solidFill>
                <a:srgbClr val="000000"/>
              </a:solidFill>
              <a:latin typeface="CiscoSansJPN" pitchFamily="2" charset="-128"/>
              <a:ea typeface="CiscoSansJPN" pitchFamily="2" charset="-128"/>
              <a:cs typeface="CiscoSansJPN" pitchFamily="2" charset="-128"/>
            </a:endParaRPr>
          </a:p>
          <a:p>
            <a:pPr>
              <a:spcBef>
                <a:spcPts val="0"/>
              </a:spcBef>
            </a:pPr>
            <a:r>
              <a:rPr lang="en-US" sz="1200" dirty="0">
                <a:solidFill>
                  <a:srgbClr val="000000"/>
                </a:solidFill>
                <a:latin typeface="CiscoSansJPN" pitchFamily="2" charset="-128"/>
                <a:ea typeface="CiscoSansJPN" pitchFamily="2" charset="-128"/>
                <a:cs typeface="CiscoSansJPN" pitchFamily="2" charset="-128"/>
              </a:rPr>
              <a:t>TeamViewer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VLC Media player</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Microsoft Windows Script Host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Microsoft </a:t>
            </a:r>
            <a:r>
              <a:rPr lang="en-US" sz="1200" dirty="0" err="1">
                <a:solidFill>
                  <a:srgbClr val="000000"/>
                </a:solidFill>
                <a:latin typeface="CiscoSansJPN" pitchFamily="2" charset="-128"/>
                <a:ea typeface="CiscoSansJPN" pitchFamily="2" charset="-128"/>
                <a:cs typeface="CiscoSansJPN" pitchFamily="2" charset="-128"/>
              </a:rPr>
              <a:t>Powershell</a:t>
            </a:r>
            <a:r>
              <a:rPr lang="en-US" sz="1200" dirty="0">
                <a:solidFill>
                  <a:srgbClr val="000000"/>
                </a:solidFill>
                <a:latin typeface="CiscoSansJPN" pitchFamily="2" charset="-128"/>
                <a:ea typeface="CiscoSansJPN" pitchFamily="2" charset="-128"/>
                <a:cs typeface="CiscoSansJPN" pitchFamily="2" charset="-128"/>
              </a:rPr>
              <a:t>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Adobe Acrobat Reader </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Microsoft Register Server</a:t>
            </a:r>
          </a:p>
          <a:p>
            <a:pPr>
              <a:spcBef>
                <a:spcPts val="0"/>
              </a:spcBef>
            </a:pPr>
            <a:r>
              <a:rPr lang="en-US" sz="1200" dirty="0">
                <a:solidFill>
                  <a:srgbClr val="000000"/>
                </a:solidFill>
                <a:latin typeface="CiscoSansJPN" pitchFamily="2" charset="-128"/>
                <a:ea typeface="CiscoSansJPN" pitchFamily="2" charset="-128"/>
                <a:cs typeface="CiscoSansJPN" pitchFamily="2" charset="-128"/>
              </a:rPr>
              <a:t>Microsoft Task Scheduler Engine</a:t>
            </a:r>
            <a:r>
              <a:rPr lang="en-US" sz="1100" dirty="0">
                <a:solidFill>
                  <a:srgbClr val="000000"/>
                </a:solidFill>
                <a:latin typeface="CiscoSansJPN" pitchFamily="2" charset="-128"/>
                <a:ea typeface="CiscoSansJPN" pitchFamily="2" charset="-128"/>
                <a:cs typeface="CiscoSansJPN" pitchFamily="2" charset="-128"/>
              </a:rPr>
              <a:t>	</a:t>
            </a:r>
          </a:p>
          <a:p>
            <a:pPr>
              <a:spcBef>
                <a:spcPts val="0"/>
              </a:spcBef>
            </a:pPr>
            <a:endParaRPr lang="en-US" sz="1100" dirty="0">
              <a:latin typeface="CiscoSansJPN" pitchFamily="2" charset="-128"/>
              <a:ea typeface="CiscoSansJPN" pitchFamily="2" charset="-128"/>
              <a:cs typeface="CiscoSansJPN" pitchFamily="2" charset="-128"/>
            </a:endParaRPr>
          </a:p>
        </p:txBody>
      </p:sp>
      <p:sp>
        <p:nvSpPr>
          <p:cNvPr id="3" name="Title 2"/>
          <p:cNvSpPr>
            <a:spLocks noGrp="1"/>
          </p:cNvSpPr>
          <p:nvPr>
            <p:ph type="title"/>
          </p:nvPr>
        </p:nvSpPr>
        <p:spPr/>
        <p:txBody>
          <a:bodyPr/>
          <a:lstStyle/>
          <a:p>
            <a:r>
              <a:rPr lang="en-US" dirty="0">
                <a:latin typeface="CiscoSansJPN" pitchFamily="2" charset="-128"/>
                <a:ea typeface="CiscoSansJPN" pitchFamily="2" charset="-128"/>
                <a:cs typeface="CiscoSansJPN" pitchFamily="2" charset="-128"/>
              </a:rPr>
              <a:t>Exploit Prevention</a:t>
            </a:r>
            <a:r>
              <a:rPr lang="ja-JP" altLang="en-US">
                <a:latin typeface="CiscoSansJPN" pitchFamily="2" charset="-128"/>
                <a:ea typeface="CiscoSansJPN" pitchFamily="2" charset="-128"/>
                <a:cs typeface="CiscoSansJPN" pitchFamily="2" charset="-128"/>
              </a:rPr>
              <a:t>が監視しているアプリ一覧</a:t>
            </a:r>
            <a:br>
              <a:rPr lang="en-US" dirty="0">
                <a:latin typeface="CiscoSansJPN" pitchFamily="2" charset="-128"/>
                <a:ea typeface="CiscoSansJPN" pitchFamily="2" charset="-128"/>
                <a:cs typeface="CiscoSansJPN" pitchFamily="2" charset="-128"/>
              </a:rPr>
            </a:br>
            <a:r>
              <a:rPr lang="ja-JP" altLang="en-US" sz="1800">
                <a:latin typeface="CiscoSansJPN" pitchFamily="2" charset="-128"/>
                <a:ea typeface="CiscoSansJPN" pitchFamily="2" charset="-128"/>
                <a:cs typeface="CiscoSansJPN" pitchFamily="2" charset="-128"/>
              </a:rPr>
              <a:t>ファイルレスマルウェア対策</a:t>
            </a:r>
            <a:endParaRPr lang="en-US" dirty="0">
              <a:latin typeface="CiscoSansJPN" pitchFamily="2" charset="-128"/>
              <a:ea typeface="CiscoSansJPN" pitchFamily="2" charset="-128"/>
              <a:cs typeface="CiscoSansJPN" pitchFamily="2" charset="-128"/>
            </a:endParaRPr>
          </a:p>
        </p:txBody>
      </p:sp>
      <p:sp>
        <p:nvSpPr>
          <p:cNvPr id="51" name="Triangle 50"/>
          <p:cNvSpPr/>
          <p:nvPr/>
        </p:nvSpPr>
        <p:spPr>
          <a:xfrm rot="5400000">
            <a:off x="3052617" y="2389333"/>
            <a:ext cx="3471142" cy="838777"/>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JPN" pitchFamily="2" charset="-128"/>
              <a:ea typeface="CiscoSansJPN" pitchFamily="2" charset="-128"/>
              <a:cs typeface="CiscoSansJPN" pitchFamily="2" charset="-128"/>
            </a:endParaRPr>
          </a:p>
        </p:txBody>
      </p:sp>
      <p:sp>
        <p:nvSpPr>
          <p:cNvPr id="52" name="TextBox 51"/>
          <p:cNvSpPr txBox="1"/>
          <p:nvPr/>
        </p:nvSpPr>
        <p:spPr>
          <a:xfrm>
            <a:off x="5001950" y="726901"/>
            <a:ext cx="3901925" cy="738664"/>
          </a:xfrm>
          <a:prstGeom prst="rect">
            <a:avLst/>
          </a:prstGeom>
          <a:noFill/>
        </p:spPr>
        <p:txBody>
          <a:bodyPr wrap="square" rtlCol="0">
            <a:spAutoFit/>
          </a:bodyPr>
          <a:lstStyle/>
          <a:p>
            <a:endParaRPr lang="en-US" sz="1400" dirty="0">
              <a:latin typeface="CiscoSansJPN" pitchFamily="2" charset="-128"/>
              <a:ea typeface="CiscoSansJPN" pitchFamily="2" charset="-128"/>
              <a:cs typeface="CiscoSansJPN" pitchFamily="2" charset="-128"/>
            </a:endParaRPr>
          </a:p>
          <a:p>
            <a:r>
              <a:rPr lang="en-US" altLang="ja-JP" sz="1400" dirty="0">
                <a:latin typeface="CiscoSansJPN" pitchFamily="2" charset="-128"/>
                <a:ea typeface="CiscoSansJPN" pitchFamily="2" charset="-128"/>
                <a:cs typeface="CiscoSansJPN" pitchFamily="2" charset="-128"/>
              </a:rPr>
              <a:t>2018</a:t>
            </a:r>
            <a:r>
              <a:rPr lang="ja-JP" altLang="en-US" sz="1400">
                <a:latin typeface="CiscoSansJPN" pitchFamily="2" charset="-128"/>
                <a:ea typeface="CiscoSansJPN" pitchFamily="2" charset="-128"/>
                <a:cs typeface="CiscoSansJPN" pitchFamily="2" charset="-128"/>
              </a:rPr>
              <a:t>年</a:t>
            </a:r>
            <a:r>
              <a:rPr lang="en-US" altLang="ja-JP" sz="1400" dirty="0">
                <a:latin typeface="CiscoSansJPN" pitchFamily="2" charset="-128"/>
                <a:ea typeface="CiscoSansJPN" pitchFamily="2" charset="-128"/>
                <a:cs typeface="CiscoSansJPN" pitchFamily="2" charset="-128"/>
              </a:rPr>
              <a:t>6</a:t>
            </a:r>
            <a:r>
              <a:rPr lang="ja-JP" altLang="en-US" sz="1400">
                <a:latin typeface="CiscoSansJPN" pitchFamily="2" charset="-128"/>
                <a:ea typeface="CiscoSansJPN" pitchFamily="2" charset="-128"/>
                <a:cs typeface="CiscoSansJPN" pitchFamily="2" charset="-128"/>
              </a:rPr>
              <a:t>月</a:t>
            </a:r>
            <a:r>
              <a:rPr lang="en-US" sz="1400" dirty="0">
                <a:latin typeface="CiscoSansJPN" pitchFamily="2" charset="-128"/>
                <a:ea typeface="CiscoSansJPN" pitchFamily="2" charset="-128"/>
                <a:cs typeface="CiscoSansJPN" pitchFamily="2" charset="-128"/>
              </a:rPr>
              <a:t>: </a:t>
            </a:r>
            <a:r>
              <a:rPr lang="ja-JP" altLang="en-US" sz="1400">
                <a:latin typeface="CiscoSansJPN" pitchFamily="2" charset="-128"/>
                <a:ea typeface="CiscoSansJPN" pitchFamily="2" charset="-128"/>
                <a:cs typeface="CiscoSansJPN" pitchFamily="2" charset="-128"/>
              </a:rPr>
              <a:t>一日平均で</a:t>
            </a:r>
            <a:r>
              <a:rPr lang="en-US" altLang="ja-JP" sz="1400" dirty="0">
                <a:latin typeface="CiscoSansJPN" pitchFamily="2" charset="-128"/>
                <a:ea typeface="CiscoSansJPN" pitchFamily="2" charset="-128"/>
                <a:cs typeface="CiscoSansJPN" pitchFamily="2" charset="-128"/>
              </a:rPr>
              <a:t>428</a:t>
            </a:r>
            <a:r>
              <a:rPr lang="ja-JP" altLang="en-US" sz="1400">
                <a:latin typeface="CiscoSansJPN" pitchFamily="2" charset="-128"/>
                <a:ea typeface="CiscoSansJPN" pitchFamily="2" charset="-128"/>
                <a:cs typeface="CiscoSansJPN" pitchFamily="2" charset="-128"/>
              </a:rPr>
              <a:t>件のエクスプロイットをブロック</a:t>
            </a:r>
            <a:endParaRPr lang="en-US" sz="1400" dirty="0">
              <a:latin typeface="CiscoSansJPN" pitchFamily="2" charset="-128"/>
              <a:ea typeface="CiscoSansJPN" pitchFamily="2" charset="-128"/>
              <a:cs typeface="CiscoSansJPN" pitchFamily="2" charset="-128"/>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21938" y="1681542"/>
            <a:ext cx="4764573" cy="1809596"/>
          </a:xfrm>
          <a:prstGeom prst="rect">
            <a:avLst/>
          </a:prstGeom>
        </p:spPr>
      </p:pic>
      <p:sp>
        <p:nvSpPr>
          <p:cNvPr id="9" name="Rectangle 8"/>
          <p:cNvSpPr/>
          <p:nvPr/>
        </p:nvSpPr>
        <p:spPr>
          <a:xfrm>
            <a:off x="4811294" y="3491138"/>
            <a:ext cx="4283238" cy="1523494"/>
          </a:xfrm>
          <a:prstGeom prst="rect">
            <a:avLst/>
          </a:prstGeom>
        </p:spPr>
        <p:txBody>
          <a:bodyPr wrap="square">
            <a:spAutoFit/>
          </a:bodyPr>
          <a:lstStyle/>
          <a:p>
            <a:pPr defTabSz="685783"/>
            <a:r>
              <a:rPr lang="en-US" sz="900" dirty="0">
                <a:solidFill>
                  <a:srgbClr val="39393B"/>
                </a:solidFill>
                <a:latin typeface="CiscoSansJPN" pitchFamily="2" charset="-128"/>
                <a:ea typeface="CiscoSansJPN" pitchFamily="2" charset="-128"/>
                <a:cs typeface="CiscoSansJPN" pitchFamily="2" charset="-128"/>
              </a:rPr>
              <a:t>CCleaner: </a:t>
            </a:r>
            <a:r>
              <a:rPr lang="en-US" sz="900" dirty="0">
                <a:solidFill>
                  <a:srgbClr val="39393B"/>
                </a:solidFill>
                <a:latin typeface="CiscoSansJPN" pitchFamily="2" charset="-128"/>
                <a:ea typeface="CiscoSansJPN" pitchFamily="2" charset="-128"/>
                <a:cs typeface="CiscoSansJPN" pitchFamily="2" charset="-128"/>
                <a:hlinkClick r:id="rId4"/>
              </a:rPr>
              <a:t>https://blog.talosintelligence.com/2017/09/avast-distributes-malware.html</a:t>
            </a:r>
            <a:endParaRPr lang="en-US" sz="900" dirty="0">
              <a:solidFill>
                <a:srgbClr val="39393B"/>
              </a:solidFill>
              <a:latin typeface="CiscoSansJPN" pitchFamily="2" charset="-128"/>
              <a:ea typeface="CiscoSansJPN" pitchFamily="2" charset="-128"/>
              <a:cs typeface="CiscoSansJPN" pitchFamily="2" charset="-128"/>
            </a:endParaRPr>
          </a:p>
          <a:p>
            <a:pPr defTabSz="685783"/>
            <a:r>
              <a:rPr lang="en-US" sz="900" dirty="0">
                <a:solidFill>
                  <a:srgbClr val="39393B"/>
                </a:solidFill>
                <a:latin typeface="CiscoSansJPN" pitchFamily="2" charset="-128"/>
                <a:ea typeface="CiscoSansJPN" pitchFamily="2" charset="-128"/>
                <a:cs typeface="CiscoSansJPN" pitchFamily="2" charset="-128"/>
              </a:rPr>
              <a:t>0-day Flash: </a:t>
            </a:r>
            <a:r>
              <a:rPr lang="en-US" sz="900" dirty="0">
                <a:solidFill>
                  <a:srgbClr val="39393B"/>
                </a:solidFill>
                <a:latin typeface="CiscoSansJPN" pitchFamily="2" charset="-128"/>
                <a:ea typeface="CiscoSansJPN" pitchFamily="2" charset="-128"/>
                <a:cs typeface="CiscoSansJPN" pitchFamily="2" charset="-128"/>
                <a:hlinkClick r:id="rId5"/>
              </a:rPr>
              <a:t>http://blog.talosintelligence.com/2018/02/group-123-goes-wild.html</a:t>
            </a:r>
            <a:r>
              <a:rPr lang="en-US" sz="900" dirty="0">
                <a:solidFill>
                  <a:srgbClr val="39393B"/>
                </a:solidFill>
                <a:latin typeface="CiscoSansJPN" pitchFamily="2" charset="-128"/>
                <a:ea typeface="CiscoSansJPN" pitchFamily="2" charset="-128"/>
                <a:cs typeface="CiscoSansJPN" pitchFamily="2" charset="-128"/>
              </a:rPr>
              <a:t> </a:t>
            </a:r>
          </a:p>
          <a:p>
            <a:pPr defTabSz="685783"/>
            <a:r>
              <a:rPr lang="en-US" sz="900" dirty="0">
                <a:solidFill>
                  <a:srgbClr val="39393B"/>
                </a:solidFill>
                <a:latin typeface="CiscoSansJPN" pitchFamily="2" charset="-128"/>
                <a:ea typeface="CiscoSansJPN" pitchFamily="2" charset="-128"/>
                <a:cs typeface="CiscoSansJPN" pitchFamily="2" charset="-128"/>
              </a:rPr>
              <a:t>IcedID: Talos Analysis: </a:t>
            </a:r>
            <a:r>
              <a:rPr lang="en-US" sz="900" dirty="0">
                <a:solidFill>
                  <a:srgbClr val="39393B"/>
                </a:solidFill>
                <a:latin typeface="CiscoSansJPN" pitchFamily="2" charset="-128"/>
                <a:ea typeface="CiscoSansJPN" pitchFamily="2" charset="-128"/>
                <a:cs typeface="CiscoSansJPN" pitchFamily="2" charset="-128"/>
                <a:hlinkClick r:id="rId6"/>
              </a:rPr>
              <a:t>https://blog.talosintelligence.com/2018/04/icedid-banking-trojan.html</a:t>
            </a:r>
            <a:r>
              <a:rPr lang="en-US" sz="900" dirty="0">
                <a:solidFill>
                  <a:srgbClr val="39393B"/>
                </a:solidFill>
                <a:latin typeface="CiscoSansJPN" pitchFamily="2" charset="-128"/>
                <a:ea typeface="CiscoSansJPN" pitchFamily="2" charset="-128"/>
                <a:cs typeface="CiscoSansJPN" pitchFamily="2" charset="-128"/>
              </a:rPr>
              <a:t>  </a:t>
            </a:r>
          </a:p>
          <a:p>
            <a:pPr defTabSz="685783"/>
            <a:endParaRPr lang="en-US" sz="900" dirty="0">
              <a:solidFill>
                <a:srgbClr val="39393B"/>
              </a:solidFill>
              <a:latin typeface="CiscoSansJPN" pitchFamily="2" charset="-128"/>
              <a:ea typeface="CiscoSansJPN" pitchFamily="2" charset="-128"/>
              <a:cs typeface="CiscoSansJPN" pitchFamily="2" charset="-128"/>
            </a:endParaRPr>
          </a:p>
          <a:p>
            <a:r>
              <a:rPr lang="en-US" sz="1000" dirty="0">
                <a:latin typeface="CiscoSansJPN" pitchFamily="2" charset="-128"/>
                <a:ea typeface="CiscoSansJPN" pitchFamily="2" charset="-128"/>
                <a:cs typeface="CiscoSansJPN" pitchFamily="2" charset="-128"/>
              </a:rPr>
              <a:t>Subscribe to weekly Research and Efficacy reports:</a:t>
            </a:r>
          </a:p>
          <a:p>
            <a:r>
              <a:rPr lang="en-US" sz="1000" dirty="0">
                <a:latin typeface="CiscoSansJPN" pitchFamily="2" charset="-128"/>
                <a:ea typeface="CiscoSansJPN" pitchFamily="2" charset="-128"/>
                <a:cs typeface="CiscoSansJPN" pitchFamily="2" charset="-128"/>
              </a:rPr>
              <a:t>http://</a:t>
            </a:r>
            <a:r>
              <a:rPr lang="en-US" sz="1000" dirty="0" err="1">
                <a:latin typeface="CiscoSansJPN" pitchFamily="2" charset="-128"/>
                <a:ea typeface="CiscoSansJPN" pitchFamily="2" charset="-128"/>
                <a:cs typeface="CiscoSansJPN" pitchFamily="2" charset="-128"/>
              </a:rPr>
              <a:t>mailer.cloudapps.cisco.com</a:t>
            </a:r>
            <a:r>
              <a:rPr lang="en-US" sz="1000" dirty="0">
                <a:latin typeface="CiscoSansJPN" pitchFamily="2" charset="-128"/>
                <a:ea typeface="CiscoSansJPN" pitchFamily="2" charset="-128"/>
                <a:cs typeface="CiscoSansJPN" pitchFamily="2" charset="-128"/>
              </a:rPr>
              <a:t>/</a:t>
            </a:r>
            <a:r>
              <a:rPr lang="en-US" sz="1000" dirty="0" err="1">
                <a:latin typeface="CiscoSansJPN" pitchFamily="2" charset="-128"/>
                <a:ea typeface="CiscoSansJPN" pitchFamily="2" charset="-128"/>
                <a:cs typeface="CiscoSansJPN" pitchFamily="2" charset="-128"/>
              </a:rPr>
              <a:t>itsm</a:t>
            </a:r>
            <a:r>
              <a:rPr lang="en-US" sz="1000" dirty="0">
                <a:latin typeface="CiscoSansJPN" pitchFamily="2" charset="-128"/>
                <a:ea typeface="CiscoSansJPN" pitchFamily="2" charset="-128"/>
                <a:cs typeface="CiscoSansJPN" pitchFamily="2" charset="-128"/>
              </a:rPr>
              <a:t>/mailer/</a:t>
            </a:r>
            <a:r>
              <a:rPr lang="en-US" sz="1000" dirty="0" err="1">
                <a:latin typeface="CiscoSansJPN" pitchFamily="2" charset="-128"/>
                <a:ea typeface="CiscoSansJPN" pitchFamily="2" charset="-128"/>
                <a:cs typeface="CiscoSansJPN" pitchFamily="2" charset="-128"/>
              </a:rPr>
              <a:t>listDetails.do?list</a:t>
            </a:r>
            <a:r>
              <a:rPr lang="en-US" sz="1000" dirty="0">
                <a:latin typeface="CiscoSansJPN" pitchFamily="2" charset="-128"/>
                <a:ea typeface="CiscoSansJPN" pitchFamily="2" charset="-128"/>
                <a:cs typeface="CiscoSansJPN" pitchFamily="2" charset="-128"/>
              </a:rPr>
              <a:t>=amp-ret-weekly</a:t>
            </a:r>
            <a:r>
              <a:rPr lang="en-US" sz="900" dirty="0">
                <a:solidFill>
                  <a:srgbClr val="39393B"/>
                </a:solidFill>
                <a:latin typeface="CiscoSansJPN" pitchFamily="2" charset="-128"/>
                <a:ea typeface="CiscoSansJPN" pitchFamily="2" charset="-128"/>
                <a:cs typeface="CiscoSansJPN" pitchFamily="2" charset="-128"/>
              </a:rPr>
              <a:t> </a:t>
            </a:r>
          </a:p>
        </p:txBody>
      </p:sp>
      <p:graphicFrame>
        <p:nvGraphicFramePr>
          <p:cNvPr id="10" name="Table 9"/>
          <p:cNvGraphicFramePr>
            <a:graphicFrameLocks noGrp="1"/>
          </p:cNvGraphicFramePr>
          <p:nvPr>
            <p:extLst>
              <p:ext uri="{D42A27DB-BD31-4B8C-83A1-F6EECF244321}">
                <p14:modId xmlns:p14="http://schemas.microsoft.com/office/powerpoint/2010/main" val="4261409950"/>
              </p:ext>
            </p:extLst>
          </p:nvPr>
        </p:nvGraphicFramePr>
        <p:xfrm>
          <a:off x="728852" y="3424839"/>
          <a:ext cx="3302000" cy="812800"/>
        </p:xfrm>
        <a:graphic>
          <a:graphicData uri="http://schemas.openxmlformats.org/drawingml/2006/table">
            <a:tbl>
              <a:tblPr firstRow="1">
                <a:tableStyleId>{F5AB1C69-6EDB-4FF4-983F-18BD219EF322}</a:tableStyleId>
              </a:tblPr>
              <a:tblGrid>
                <a:gridCol w="825500">
                  <a:extLst>
                    <a:ext uri="{9D8B030D-6E8A-4147-A177-3AD203B41FA5}">
                      <a16:colId xmlns:a16="http://schemas.microsoft.com/office/drawing/2014/main" val="20000"/>
                    </a:ext>
                  </a:extLst>
                </a:gridCol>
                <a:gridCol w="825500">
                  <a:extLst>
                    <a:ext uri="{9D8B030D-6E8A-4147-A177-3AD203B41FA5}">
                      <a16:colId xmlns:a16="http://schemas.microsoft.com/office/drawing/2014/main" val="20001"/>
                    </a:ext>
                  </a:extLst>
                </a:gridCol>
                <a:gridCol w="825500">
                  <a:extLst>
                    <a:ext uri="{9D8B030D-6E8A-4147-A177-3AD203B41FA5}">
                      <a16:colId xmlns:a16="http://schemas.microsoft.com/office/drawing/2014/main" val="20002"/>
                    </a:ext>
                  </a:extLst>
                </a:gridCol>
                <a:gridCol w="825500">
                  <a:extLst>
                    <a:ext uri="{9D8B030D-6E8A-4147-A177-3AD203B41FA5}">
                      <a16:colId xmlns:a16="http://schemas.microsoft.com/office/drawing/2014/main" val="20003"/>
                    </a:ext>
                  </a:extLst>
                </a:gridCol>
              </a:tblGrid>
              <a:tr h="203200">
                <a:tc>
                  <a:txBody>
                    <a:bodyPr/>
                    <a:lstStyle/>
                    <a:p>
                      <a:pPr algn="l" fontAlgn="b"/>
                      <a:endParaRPr lang="en-US" sz="1200" b="1" i="0" u="none" strike="noStrike" dirty="0">
                        <a:solidFill>
                          <a:schemeClr val="bg2"/>
                        </a:solidFill>
                        <a:effectLst/>
                        <a:latin typeface="Calibri" charset="0"/>
                      </a:endParaRPr>
                    </a:p>
                  </a:txBody>
                  <a:tcPr marL="6350" marR="6350" marT="6350" marB="0" anchor="b"/>
                </a:tc>
                <a:tc>
                  <a:txBody>
                    <a:bodyPr/>
                    <a:lstStyle/>
                    <a:p>
                      <a:pPr algn="ctr" fontAlgn="b"/>
                      <a:r>
                        <a:rPr lang="en-US" sz="1200" u="none" strike="noStrike" dirty="0">
                          <a:solidFill>
                            <a:schemeClr val="bg2"/>
                          </a:solidFill>
                          <a:effectLst/>
                        </a:rPr>
                        <a:t>NAM</a:t>
                      </a:r>
                      <a:endParaRPr lang="en-US" sz="1200" b="1" i="0" u="none" strike="noStrike" dirty="0">
                        <a:solidFill>
                          <a:schemeClr val="bg2"/>
                        </a:solidFill>
                        <a:effectLst/>
                        <a:latin typeface="Calibri" charset="0"/>
                      </a:endParaRPr>
                    </a:p>
                  </a:txBody>
                  <a:tcPr marL="6350" marR="6350" marT="6350" marB="0" anchor="b"/>
                </a:tc>
                <a:tc>
                  <a:txBody>
                    <a:bodyPr/>
                    <a:lstStyle/>
                    <a:p>
                      <a:pPr algn="ctr" fontAlgn="b"/>
                      <a:r>
                        <a:rPr lang="en-US" sz="1200" u="none" strike="noStrike">
                          <a:solidFill>
                            <a:schemeClr val="bg2"/>
                          </a:solidFill>
                          <a:effectLst/>
                        </a:rPr>
                        <a:t>EU</a:t>
                      </a:r>
                      <a:endParaRPr lang="en-US" sz="1200" b="1" i="0" u="none" strike="noStrike">
                        <a:solidFill>
                          <a:schemeClr val="bg2"/>
                        </a:solidFill>
                        <a:effectLst/>
                        <a:latin typeface="Calibri" charset="0"/>
                      </a:endParaRPr>
                    </a:p>
                  </a:txBody>
                  <a:tcPr marL="6350" marR="6350" marT="6350" marB="0" anchor="b"/>
                </a:tc>
                <a:tc>
                  <a:txBody>
                    <a:bodyPr/>
                    <a:lstStyle/>
                    <a:p>
                      <a:pPr algn="ctr" fontAlgn="b"/>
                      <a:r>
                        <a:rPr lang="en-US" sz="1200" u="none" strike="noStrike" dirty="0">
                          <a:solidFill>
                            <a:schemeClr val="bg2"/>
                          </a:solidFill>
                          <a:effectLst/>
                        </a:rPr>
                        <a:t>APJC</a:t>
                      </a:r>
                      <a:endParaRPr lang="en-US" sz="1200" b="1" i="0" u="none" strike="noStrike" dirty="0">
                        <a:solidFill>
                          <a:schemeClr val="bg2"/>
                        </a:solidFill>
                        <a:effectLst/>
                        <a:latin typeface="Calibri" charset="0"/>
                      </a:endParaRPr>
                    </a:p>
                  </a:txBody>
                  <a:tcPr marL="6350" marR="6350" marT="6350" marB="0" anchor="b"/>
                </a:tc>
                <a:extLst>
                  <a:ext uri="{0D108BD9-81ED-4DB2-BD59-A6C34878D82A}">
                    <a16:rowId xmlns:a16="http://schemas.microsoft.com/office/drawing/2014/main" val="10000"/>
                  </a:ext>
                </a:extLst>
              </a:tr>
              <a:tr h="203200">
                <a:tc>
                  <a:txBody>
                    <a:bodyPr/>
                    <a:lstStyle/>
                    <a:p>
                      <a:pPr algn="l" fontAlgn="b"/>
                      <a:r>
                        <a:rPr lang="en-US" sz="1200" b="1" u="none" strike="noStrike" dirty="0" err="1">
                          <a:effectLst/>
                        </a:rPr>
                        <a:t>ExPrev</a:t>
                      </a:r>
                      <a:endParaRPr lang="en-US" sz="1200" b="1" i="0" u="none" strike="noStrike" dirty="0">
                        <a:solidFill>
                          <a:srgbClr val="000000"/>
                        </a:solidFill>
                        <a:effectLst/>
                        <a:latin typeface="-webkit-standard" charset="0"/>
                      </a:endParaRPr>
                    </a:p>
                  </a:txBody>
                  <a:tcPr marL="6350" marR="6350" marT="6350" marB="0" anchor="b"/>
                </a:tc>
                <a:tc>
                  <a:txBody>
                    <a:bodyPr/>
                    <a:lstStyle/>
                    <a:p>
                      <a:pPr algn="ctr" fontAlgn="b"/>
                      <a:r>
                        <a:rPr lang="hr-HR" sz="1200" b="1" u="none" strike="noStrike" dirty="0">
                          <a:effectLst/>
                        </a:rPr>
                        <a:t>48.80%</a:t>
                      </a:r>
                      <a:endParaRPr lang="hr-HR" sz="1200" b="1" i="0" u="none" strike="noStrike" dirty="0">
                        <a:solidFill>
                          <a:srgbClr val="000000"/>
                        </a:solidFill>
                        <a:effectLst/>
                        <a:latin typeface="-webkit-standard" charset="0"/>
                      </a:endParaRPr>
                    </a:p>
                  </a:txBody>
                  <a:tcPr marL="6350" marR="6350" marT="6350" marB="0" anchor="b"/>
                </a:tc>
                <a:tc>
                  <a:txBody>
                    <a:bodyPr/>
                    <a:lstStyle/>
                    <a:p>
                      <a:pPr algn="ctr" fontAlgn="b"/>
                      <a:r>
                        <a:rPr lang="hr-HR" sz="1200" b="1" u="none" strike="noStrike" dirty="0">
                          <a:effectLst/>
                        </a:rPr>
                        <a:t>48.80%</a:t>
                      </a:r>
                      <a:endParaRPr lang="hr-HR" sz="1200" b="1" i="0" u="none" strike="noStrike" dirty="0">
                        <a:solidFill>
                          <a:srgbClr val="000000"/>
                        </a:solidFill>
                        <a:effectLst/>
                        <a:latin typeface="-webkit-standard" charset="0"/>
                      </a:endParaRPr>
                    </a:p>
                  </a:txBody>
                  <a:tcPr marL="6350" marR="6350" marT="6350" marB="0" anchor="b"/>
                </a:tc>
                <a:tc>
                  <a:txBody>
                    <a:bodyPr/>
                    <a:lstStyle/>
                    <a:p>
                      <a:pPr algn="ctr" fontAlgn="b"/>
                      <a:r>
                        <a:rPr lang="hr-HR" sz="1200" b="1" u="none" strike="noStrike" dirty="0">
                          <a:effectLst/>
                        </a:rPr>
                        <a:t>72.20%</a:t>
                      </a:r>
                      <a:endParaRPr lang="hr-HR" sz="1200" b="1" i="0" u="none" strike="noStrike" dirty="0">
                        <a:solidFill>
                          <a:srgbClr val="000000"/>
                        </a:solidFill>
                        <a:effectLst/>
                        <a:latin typeface="-webkit-standard" charset="0"/>
                      </a:endParaRPr>
                    </a:p>
                  </a:txBody>
                  <a:tcPr marL="6350" marR="6350" marT="6350" marB="0" anchor="b"/>
                </a:tc>
                <a:extLst>
                  <a:ext uri="{0D108BD9-81ED-4DB2-BD59-A6C34878D82A}">
                    <a16:rowId xmlns:a16="http://schemas.microsoft.com/office/drawing/2014/main" val="10001"/>
                  </a:ext>
                </a:extLst>
              </a:tr>
              <a:tr h="203200">
                <a:tc>
                  <a:txBody>
                    <a:bodyPr/>
                    <a:lstStyle/>
                    <a:p>
                      <a:pPr algn="l" fontAlgn="b"/>
                      <a:r>
                        <a:rPr lang="en-US" sz="1200" u="none" strike="noStrike">
                          <a:effectLst/>
                        </a:rPr>
                        <a:t>SPP</a:t>
                      </a:r>
                      <a:endParaRPr lang="en-US" sz="1200" b="0" i="0" u="none" strike="noStrike">
                        <a:solidFill>
                          <a:srgbClr val="000000"/>
                        </a:solidFill>
                        <a:effectLst/>
                        <a:latin typeface="-webkit-standard" charset="0"/>
                      </a:endParaRPr>
                    </a:p>
                  </a:txBody>
                  <a:tcPr marL="6350" marR="6350" marT="6350" marB="0" anchor="b"/>
                </a:tc>
                <a:tc>
                  <a:txBody>
                    <a:bodyPr/>
                    <a:lstStyle/>
                    <a:p>
                      <a:pPr algn="ctr" fontAlgn="b"/>
                      <a:r>
                        <a:rPr lang="nb-NO" sz="1200" u="none" strike="noStrike" dirty="0">
                          <a:effectLst/>
                        </a:rPr>
                        <a:t>50.40%</a:t>
                      </a:r>
                      <a:endParaRPr lang="nb-NO" sz="1200" b="0" i="0" u="none" strike="noStrike" dirty="0">
                        <a:solidFill>
                          <a:srgbClr val="000000"/>
                        </a:solidFill>
                        <a:effectLst/>
                        <a:latin typeface="-webkit-standard" charset="0"/>
                      </a:endParaRPr>
                    </a:p>
                  </a:txBody>
                  <a:tcPr marL="6350" marR="6350" marT="6350" marB="0" anchor="b"/>
                </a:tc>
                <a:tc>
                  <a:txBody>
                    <a:bodyPr/>
                    <a:lstStyle/>
                    <a:p>
                      <a:pPr algn="ctr" fontAlgn="b"/>
                      <a:r>
                        <a:rPr lang="hr-HR" sz="1200" u="none" strike="noStrike" dirty="0">
                          <a:effectLst/>
                        </a:rPr>
                        <a:t>56.40%</a:t>
                      </a:r>
                      <a:endParaRPr lang="hr-HR" sz="1200" b="0" i="0" u="none" strike="noStrike" dirty="0">
                        <a:solidFill>
                          <a:srgbClr val="000000"/>
                        </a:solidFill>
                        <a:effectLst/>
                        <a:latin typeface="-webkit-standard" charset="0"/>
                      </a:endParaRPr>
                    </a:p>
                  </a:txBody>
                  <a:tcPr marL="6350" marR="6350" marT="6350" marB="0" anchor="b"/>
                </a:tc>
                <a:tc>
                  <a:txBody>
                    <a:bodyPr/>
                    <a:lstStyle/>
                    <a:p>
                      <a:pPr algn="ctr" fontAlgn="b"/>
                      <a:r>
                        <a:rPr lang="hr-HR" sz="1200" u="none" strike="noStrike">
                          <a:effectLst/>
                        </a:rPr>
                        <a:t>74.70%</a:t>
                      </a:r>
                      <a:endParaRPr lang="hr-HR" sz="1200" b="0" i="0" u="none" strike="noStrike">
                        <a:solidFill>
                          <a:srgbClr val="000000"/>
                        </a:solidFill>
                        <a:effectLst/>
                        <a:latin typeface="-webkit-standard" charset="0"/>
                      </a:endParaRPr>
                    </a:p>
                  </a:txBody>
                  <a:tcPr marL="6350" marR="6350" marT="6350" marB="0" anchor="b"/>
                </a:tc>
                <a:extLst>
                  <a:ext uri="{0D108BD9-81ED-4DB2-BD59-A6C34878D82A}">
                    <a16:rowId xmlns:a16="http://schemas.microsoft.com/office/drawing/2014/main" val="10002"/>
                  </a:ext>
                </a:extLst>
              </a:tr>
              <a:tr h="203200">
                <a:tc>
                  <a:txBody>
                    <a:bodyPr/>
                    <a:lstStyle/>
                    <a:p>
                      <a:pPr algn="l" fontAlgn="b"/>
                      <a:r>
                        <a:rPr lang="en-US" sz="1200" u="none" strike="noStrike">
                          <a:effectLst/>
                        </a:rPr>
                        <a:t>TETRA</a:t>
                      </a:r>
                      <a:endParaRPr lang="en-US" sz="1200" b="0" i="0" u="none" strike="noStrike">
                        <a:solidFill>
                          <a:srgbClr val="000000"/>
                        </a:solidFill>
                        <a:effectLst/>
                        <a:latin typeface="-webkit-standard" charset="0"/>
                      </a:endParaRPr>
                    </a:p>
                  </a:txBody>
                  <a:tcPr marL="6350" marR="6350" marT="6350" marB="0" anchor="b"/>
                </a:tc>
                <a:tc>
                  <a:txBody>
                    <a:bodyPr/>
                    <a:lstStyle/>
                    <a:p>
                      <a:pPr algn="ctr" fontAlgn="b"/>
                      <a:r>
                        <a:rPr lang="nb-NO" sz="1200" u="none" strike="noStrike" dirty="0">
                          <a:effectLst/>
                        </a:rPr>
                        <a:t>40.90%</a:t>
                      </a:r>
                      <a:endParaRPr lang="nb-NO" sz="1200" b="0" i="0" u="none" strike="noStrike" dirty="0">
                        <a:solidFill>
                          <a:srgbClr val="000000"/>
                        </a:solidFill>
                        <a:effectLst/>
                        <a:latin typeface="-webkit-standard" charset="0"/>
                      </a:endParaRPr>
                    </a:p>
                  </a:txBody>
                  <a:tcPr marL="6350" marR="6350" marT="6350" marB="0" anchor="b"/>
                </a:tc>
                <a:tc>
                  <a:txBody>
                    <a:bodyPr/>
                    <a:lstStyle/>
                    <a:p>
                      <a:pPr algn="ctr" fontAlgn="b"/>
                      <a:r>
                        <a:rPr lang="hr-HR" sz="1200" u="none" strike="noStrike" dirty="0">
                          <a:effectLst/>
                        </a:rPr>
                        <a:t>36.40%</a:t>
                      </a:r>
                      <a:endParaRPr lang="hr-HR" sz="1200" b="0" i="0" u="none" strike="noStrike" dirty="0">
                        <a:solidFill>
                          <a:srgbClr val="000000"/>
                        </a:solidFill>
                        <a:effectLst/>
                        <a:latin typeface="-webkit-standard" charset="0"/>
                      </a:endParaRPr>
                    </a:p>
                  </a:txBody>
                  <a:tcPr marL="6350" marR="6350" marT="6350" marB="0" anchor="b"/>
                </a:tc>
                <a:tc>
                  <a:txBody>
                    <a:bodyPr/>
                    <a:lstStyle/>
                    <a:p>
                      <a:pPr algn="ctr" fontAlgn="b"/>
                      <a:r>
                        <a:rPr lang="nb-NO" sz="1200" u="none" strike="noStrike" dirty="0">
                          <a:effectLst/>
                        </a:rPr>
                        <a:t>45.60%</a:t>
                      </a:r>
                      <a:endParaRPr lang="nb-NO" sz="1200" b="0" i="0" u="none" strike="noStrike" dirty="0">
                        <a:solidFill>
                          <a:srgbClr val="000000"/>
                        </a:solidFill>
                        <a:effectLst/>
                        <a:latin typeface="-webkit-standard" charset="0"/>
                      </a:endParaRPr>
                    </a:p>
                  </a:txBody>
                  <a:tcPr marL="6350" marR="6350" marT="6350" marB="0" anchor="b"/>
                </a:tc>
                <a:extLst>
                  <a:ext uri="{0D108BD9-81ED-4DB2-BD59-A6C34878D82A}">
                    <a16:rowId xmlns:a16="http://schemas.microsoft.com/office/drawing/2014/main" val="10003"/>
                  </a:ext>
                </a:extLst>
              </a:tr>
            </a:tbl>
          </a:graphicData>
        </a:graphic>
      </p:graphicFrame>
      <p:sp>
        <p:nvSpPr>
          <p:cNvPr id="11" name="TextBox 10"/>
          <p:cNvSpPr txBox="1"/>
          <p:nvPr/>
        </p:nvSpPr>
        <p:spPr>
          <a:xfrm>
            <a:off x="793122" y="4252885"/>
            <a:ext cx="2810385" cy="230832"/>
          </a:xfrm>
          <a:prstGeom prst="rect">
            <a:avLst/>
          </a:prstGeom>
          <a:noFill/>
        </p:spPr>
        <p:txBody>
          <a:bodyPr wrap="none" rtlCol="0">
            <a:spAutoFit/>
          </a:bodyPr>
          <a:lstStyle/>
          <a:p>
            <a:r>
              <a:rPr lang="en-US" sz="900" dirty="0">
                <a:ln w="0"/>
                <a:effectLst>
                  <a:outerShdw blurRad="38100" dist="19050" dir="2700000" algn="tl" rotWithShape="0">
                    <a:schemeClr val="dk1">
                      <a:alpha val="40000"/>
                    </a:schemeClr>
                  </a:outerShdw>
                </a:effectLst>
                <a:latin typeface="CiscoSansJPN" pitchFamily="2" charset="-128"/>
                <a:ea typeface="CiscoSansJPN" pitchFamily="2" charset="-128"/>
                <a:cs typeface="CiscoSansJPN" pitchFamily="2" charset="-128"/>
              </a:rPr>
              <a:t>Source: AMP Cloud Oct 2018 Active Connectors</a:t>
            </a:r>
          </a:p>
        </p:txBody>
      </p:sp>
    </p:spTree>
    <p:extLst>
      <p:ext uri="{BB962C8B-B14F-4D97-AF65-F5344CB8AC3E}">
        <p14:creationId xmlns:p14="http://schemas.microsoft.com/office/powerpoint/2010/main" val="816868816"/>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
          <p:cNvSpPr txBox="1">
            <a:spLocks/>
          </p:cNvSpPr>
          <p:nvPr/>
        </p:nvSpPr>
        <p:spPr>
          <a:xfrm>
            <a:off x="437766" y="1073150"/>
            <a:ext cx="3931034" cy="3471141"/>
          </a:xfrm>
          <a:prstGeom prst="rect">
            <a:avLst/>
          </a:prstGeom>
          <a:solidFill>
            <a:schemeClr val="accent1"/>
          </a:solidFill>
        </p:spPr>
        <p:txBody>
          <a:bodyPr lIns="91420" tIns="45710" rIns="91420" bIns="45710" numCol="2">
            <a:noAutofit/>
          </a:bodyPr>
          <a:lstStyle>
            <a:lvl1pPr marL="280928" indent="-223792" algn="l" defTabSz="684213" rtl="0" eaLnBrk="1" fontAlgn="base" hangingPunct="1">
              <a:lnSpc>
                <a:spcPct val="95000"/>
              </a:lnSpc>
              <a:spcBef>
                <a:spcPts val="1110"/>
              </a:spcBef>
              <a:spcAft>
                <a:spcPct val="0"/>
              </a:spcAft>
              <a:buClr>
                <a:schemeClr val="tx2"/>
              </a:buClr>
              <a:buSzPct val="80000"/>
              <a:buFont typeface="Arial"/>
              <a:buChar char="•"/>
              <a:defRPr lang="en-US" sz="2000" b="0" i="0" kern="1200">
                <a:solidFill>
                  <a:schemeClr val="tx2"/>
                </a:solidFill>
                <a:latin typeface="Arial Regular" charset="0"/>
                <a:ea typeface="ＭＳ Ｐゴシック" charset="0"/>
                <a:cs typeface="CiscoSans ExtraLight"/>
              </a:defRPr>
            </a:lvl1pPr>
            <a:lvl2pPr marL="507895" indent="-215855" algn="l" defTabSz="684213" rtl="0" eaLnBrk="1" fontAlgn="base" hangingPunct="1">
              <a:lnSpc>
                <a:spcPct val="95000"/>
              </a:lnSpc>
              <a:spcBef>
                <a:spcPts val="450"/>
              </a:spcBef>
              <a:spcAft>
                <a:spcPct val="0"/>
              </a:spcAft>
              <a:buClr>
                <a:schemeClr val="tx2"/>
              </a:buClr>
              <a:buSzPct val="80000"/>
              <a:buFont typeface="Arial"/>
              <a:buChar char="•"/>
              <a:defRPr lang="en-US" sz="1800" b="0" i="0" kern="1200">
                <a:solidFill>
                  <a:schemeClr val="tx2"/>
                </a:solidFill>
                <a:latin typeface="Arial Regular" charset="0"/>
                <a:ea typeface="ＭＳ Ｐゴシック" charset="0"/>
                <a:cs typeface="CiscoSans ExtraLight"/>
              </a:defRPr>
            </a:lvl2pPr>
            <a:lvl3pPr marL="747558" indent="-171415" algn="l" defTabSz="684213" rtl="0" eaLnBrk="1" fontAlgn="base" hangingPunct="1">
              <a:lnSpc>
                <a:spcPct val="95000"/>
              </a:lnSpc>
              <a:spcBef>
                <a:spcPts val="625"/>
              </a:spcBef>
              <a:spcAft>
                <a:spcPct val="0"/>
              </a:spcAft>
              <a:buClr>
                <a:schemeClr val="tx2"/>
              </a:buClr>
              <a:buSzPct val="80000"/>
              <a:buFont typeface="Arial"/>
              <a:buChar char="•"/>
              <a:defRPr lang="en-US" sz="1600" b="0" i="0" kern="1200">
                <a:solidFill>
                  <a:schemeClr val="tx2"/>
                </a:solidFill>
                <a:latin typeface="Arial Regular" charset="0"/>
                <a:ea typeface="ＭＳ Ｐゴシック" charset="0"/>
                <a:cs typeface="CiscoSans ExtraLight"/>
              </a:defRPr>
            </a:lvl3pPr>
            <a:lvl4pPr marL="911035" indent="-171415" algn="l" defTabSz="684213" rtl="0" eaLnBrk="1" fontAlgn="base" hangingPunct="1">
              <a:lnSpc>
                <a:spcPct val="95000"/>
              </a:lnSpc>
              <a:spcBef>
                <a:spcPts val="625"/>
              </a:spcBef>
              <a:spcAft>
                <a:spcPct val="0"/>
              </a:spcAft>
              <a:buClr>
                <a:schemeClr val="tx2"/>
              </a:buClr>
              <a:buSzPct val="80000"/>
              <a:buFont typeface="Arial"/>
              <a:buChar char="•"/>
              <a:defRPr lang="en-US" sz="1400" b="0" i="0" kern="1200">
                <a:solidFill>
                  <a:schemeClr val="tx2"/>
                </a:solidFill>
                <a:latin typeface="Arial Regular" charset="0"/>
                <a:ea typeface="ＭＳ Ｐゴシック" charset="0"/>
                <a:cs typeface="CiscoSans ExtraLight"/>
              </a:defRPr>
            </a:lvl4pPr>
            <a:lvl5pPr marL="1082450" indent="-168240" algn="l" defTabSz="684213" rtl="0" eaLnBrk="1" fontAlgn="base" hangingPunct="1">
              <a:lnSpc>
                <a:spcPct val="95000"/>
              </a:lnSpc>
              <a:spcBef>
                <a:spcPts val="625"/>
              </a:spcBef>
              <a:spcAft>
                <a:spcPct val="0"/>
              </a:spcAft>
              <a:buClr>
                <a:schemeClr val="tx2"/>
              </a:buClr>
              <a:buSzPct val="80000"/>
              <a:buFont typeface="Arial"/>
              <a:buChar char="•"/>
              <a:defRPr lang="en-US" sz="1200" b="0" i="0" kern="1200">
                <a:solidFill>
                  <a:schemeClr val="tx2"/>
                </a:solidFill>
                <a:latin typeface="Arial Regular" charset="0"/>
                <a:ea typeface="ＭＳ Ｐゴシック" charset="0"/>
                <a:cs typeface="CiscoSans ExtraLight"/>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a:spcBef>
                <a:spcPts val="0"/>
              </a:spcBef>
            </a:pPr>
            <a:endParaRPr lang="en-US" sz="1100" dirty="0">
              <a:latin typeface="CiscoSansJPN" pitchFamily="2" charset="-128"/>
              <a:ea typeface="CiscoSansJPN" pitchFamily="2" charset="-128"/>
              <a:cs typeface="CiscoSansJPN" pitchFamily="2" charset="-128"/>
            </a:endParaRPr>
          </a:p>
        </p:txBody>
      </p:sp>
      <p:sp>
        <p:nvSpPr>
          <p:cNvPr id="2" name="Text Placeholder 1"/>
          <p:cNvSpPr>
            <a:spLocks noGrp="1"/>
          </p:cNvSpPr>
          <p:nvPr>
            <p:ph type="body" sz="quarter" idx="10"/>
          </p:nvPr>
        </p:nvSpPr>
        <p:spPr>
          <a:xfrm>
            <a:off x="458083" y="1073147"/>
            <a:ext cx="3910715" cy="3058869"/>
          </a:xfrm>
        </p:spPr>
        <p:txBody>
          <a:bodyPr/>
          <a:lstStyle/>
          <a:p>
            <a:pPr marL="57136" indent="0">
              <a:buNone/>
            </a:pPr>
            <a:r>
              <a:rPr lang="en-US" sz="1400" dirty="0">
                <a:latin typeface="CiscoSansJPN" pitchFamily="2" charset="-128"/>
                <a:ea typeface="CiscoSansJPN" pitchFamily="2" charset="-128"/>
                <a:cs typeface="CiscoSansJPN" pitchFamily="2" charset="-128"/>
              </a:rPr>
              <a:t>Connector-side Behavioral Detection Engine</a:t>
            </a:r>
          </a:p>
          <a:p>
            <a:pPr lvl="1"/>
            <a:r>
              <a:rPr lang="en-US" sz="1200" dirty="0">
                <a:latin typeface="CiscoSansJPN" pitchFamily="2" charset="-128"/>
                <a:ea typeface="CiscoSansJPN" pitchFamily="2" charset="-128"/>
                <a:cs typeface="CiscoSansJPN" pitchFamily="2" charset="-128"/>
              </a:rPr>
              <a:t>Windows Connector v6.1.5 and above</a:t>
            </a:r>
          </a:p>
          <a:p>
            <a:pPr lvl="1"/>
            <a:r>
              <a:rPr lang="en-US" sz="1200" dirty="0">
                <a:latin typeface="CiscoSansJPN" pitchFamily="2" charset="-128"/>
                <a:ea typeface="CiscoSansJPN" pitchFamily="2" charset="-128"/>
                <a:cs typeface="CiscoSansJPN" pitchFamily="2" charset="-128"/>
              </a:rPr>
              <a:t>Phase1: Ransomware</a:t>
            </a:r>
          </a:p>
          <a:p>
            <a:endParaRPr lang="en-US" sz="1600" dirty="0">
              <a:latin typeface="CiscoSansJPN" pitchFamily="2" charset="-128"/>
              <a:ea typeface="CiscoSansJPN" pitchFamily="2" charset="-128"/>
              <a:cs typeface="CiscoSansJPN" pitchFamily="2" charset="-128"/>
            </a:endParaRPr>
          </a:p>
        </p:txBody>
      </p:sp>
      <p:sp>
        <p:nvSpPr>
          <p:cNvPr id="3" name="Title 2"/>
          <p:cNvSpPr>
            <a:spLocks noGrp="1"/>
          </p:cNvSpPr>
          <p:nvPr>
            <p:ph type="title"/>
          </p:nvPr>
        </p:nvSpPr>
        <p:spPr/>
        <p:txBody>
          <a:bodyPr/>
          <a:lstStyle/>
          <a:p>
            <a:r>
              <a:rPr lang="en-US" dirty="0">
                <a:latin typeface="CiscoSansJPN" pitchFamily="2" charset="-128"/>
                <a:ea typeface="CiscoSansJPN" pitchFamily="2" charset="-128"/>
                <a:cs typeface="CiscoSansJPN" pitchFamily="2" charset="-128"/>
              </a:rPr>
              <a:t>Malicious Activity Protection (MAP)</a:t>
            </a:r>
            <a:br>
              <a:rPr lang="en-US" dirty="0">
                <a:latin typeface="CiscoSansJPN" pitchFamily="2" charset="-128"/>
                <a:ea typeface="CiscoSansJPN" pitchFamily="2" charset="-128"/>
                <a:cs typeface="CiscoSansJPN" pitchFamily="2" charset="-128"/>
              </a:rPr>
            </a:br>
            <a:r>
              <a:rPr lang="ja-JP" altLang="en-US" sz="1800">
                <a:latin typeface="CiscoSansJPN" pitchFamily="2" charset="-128"/>
                <a:ea typeface="CiscoSansJPN" pitchFamily="2" charset="-128"/>
                <a:cs typeface="CiscoSansJPN" pitchFamily="2" charset="-128"/>
              </a:rPr>
              <a:t>エンドポイント上でのマルウェア活動を防御</a:t>
            </a:r>
            <a:endParaRPr lang="en-US" dirty="0">
              <a:latin typeface="CiscoSansJPN" pitchFamily="2" charset="-128"/>
              <a:ea typeface="CiscoSansJPN" pitchFamily="2" charset="-128"/>
              <a:cs typeface="CiscoSansJPN" pitchFamily="2" charset="-128"/>
            </a:endParaRPr>
          </a:p>
        </p:txBody>
      </p:sp>
      <p:sp>
        <p:nvSpPr>
          <p:cNvPr id="9" name="Rectangle 3"/>
          <p:cNvSpPr>
            <a:spLocks noChangeArrowheads="1"/>
          </p:cNvSpPr>
          <p:nvPr/>
        </p:nvSpPr>
        <p:spPr bwMode="auto">
          <a:xfrm>
            <a:off x="2928599" y="557251"/>
            <a:ext cx="18473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br>
              <a:rPr kumimoji="0" lang="x-none" altLang="x-none" sz="1800" b="0" i="0" u="none" strike="noStrike" cap="none" normalizeH="0" baseline="0">
                <a:ln>
                  <a:noFill/>
                </a:ln>
                <a:solidFill>
                  <a:schemeClr val="tx1"/>
                </a:solidFill>
                <a:effectLst/>
                <a:latin typeface="CiscoSansJPN" pitchFamily="2" charset="-128"/>
                <a:ea typeface="CiscoSansJPN" pitchFamily="2" charset="-128"/>
                <a:cs typeface="CiscoSansJPN" pitchFamily="2" charset="-128"/>
              </a:rPr>
            </a:br>
            <a:endParaRPr kumimoji="0" lang="x-none" altLang="x-none" sz="1800" b="0" i="0" u="none" strike="noStrike" cap="none" normalizeH="0" baseline="0">
              <a:ln>
                <a:noFill/>
              </a:ln>
              <a:solidFill>
                <a:schemeClr val="tx1"/>
              </a:solidFill>
              <a:effectLst/>
              <a:latin typeface="CiscoSansJPN" pitchFamily="2" charset="-128"/>
              <a:ea typeface="CiscoSansJPN" pitchFamily="2" charset="-128"/>
              <a:cs typeface="CiscoSansJPN" pitchFamily="2" charset="-128"/>
            </a:endParaRPr>
          </a:p>
        </p:txBody>
      </p:sp>
      <p:sp>
        <p:nvSpPr>
          <p:cNvPr id="11" name="TextBox 10"/>
          <p:cNvSpPr txBox="1"/>
          <p:nvPr/>
        </p:nvSpPr>
        <p:spPr>
          <a:xfrm>
            <a:off x="750014" y="4262766"/>
            <a:ext cx="3379451" cy="261610"/>
          </a:xfrm>
          <a:prstGeom prst="rect">
            <a:avLst/>
          </a:prstGeom>
          <a:noFill/>
        </p:spPr>
        <p:txBody>
          <a:bodyPr wrap="none" rtlCol="0">
            <a:spAutoFit/>
          </a:bodyPr>
          <a:lstStyle/>
          <a:p>
            <a:r>
              <a:rPr lang="en-US" sz="1100" dirty="0">
                <a:ln w="0"/>
                <a:effectLst>
                  <a:outerShdw blurRad="38100" dist="19050" dir="2700000" algn="tl" rotWithShape="0">
                    <a:schemeClr val="dk1">
                      <a:alpha val="40000"/>
                    </a:schemeClr>
                  </a:outerShdw>
                </a:effectLst>
                <a:latin typeface="CiscoSansJPN" pitchFamily="2" charset="-128"/>
                <a:ea typeface="CiscoSansJPN" pitchFamily="2" charset="-128"/>
                <a:cs typeface="CiscoSansJPN" pitchFamily="2" charset="-128"/>
              </a:rPr>
              <a:t>Source: AMP Cloud Oct 2018 Active Connectors</a:t>
            </a:r>
          </a:p>
        </p:txBody>
      </p:sp>
      <p:graphicFrame>
        <p:nvGraphicFramePr>
          <p:cNvPr id="4" name="Table 3"/>
          <p:cNvGraphicFramePr>
            <a:graphicFrameLocks noGrp="1"/>
          </p:cNvGraphicFramePr>
          <p:nvPr>
            <p:extLst>
              <p:ext uri="{D42A27DB-BD31-4B8C-83A1-F6EECF244321}">
                <p14:modId xmlns:p14="http://schemas.microsoft.com/office/powerpoint/2010/main" val="674550671"/>
              </p:ext>
            </p:extLst>
          </p:nvPr>
        </p:nvGraphicFramePr>
        <p:xfrm>
          <a:off x="631855" y="3286318"/>
          <a:ext cx="3753848" cy="1002125"/>
        </p:xfrm>
        <a:graphic>
          <a:graphicData uri="http://schemas.openxmlformats.org/drawingml/2006/table">
            <a:tbl>
              <a:tblPr firstRow="1">
                <a:tableStyleId>{F2DE63D5-997A-4646-A377-4702673A728D}</a:tableStyleId>
              </a:tblPr>
              <a:tblGrid>
                <a:gridCol w="1194773">
                  <a:extLst>
                    <a:ext uri="{9D8B030D-6E8A-4147-A177-3AD203B41FA5}">
                      <a16:colId xmlns:a16="http://schemas.microsoft.com/office/drawing/2014/main" val="20000"/>
                    </a:ext>
                  </a:extLst>
                </a:gridCol>
                <a:gridCol w="884903">
                  <a:extLst>
                    <a:ext uri="{9D8B030D-6E8A-4147-A177-3AD203B41FA5}">
                      <a16:colId xmlns:a16="http://schemas.microsoft.com/office/drawing/2014/main" val="20001"/>
                    </a:ext>
                  </a:extLst>
                </a:gridCol>
                <a:gridCol w="884903">
                  <a:extLst>
                    <a:ext uri="{9D8B030D-6E8A-4147-A177-3AD203B41FA5}">
                      <a16:colId xmlns:a16="http://schemas.microsoft.com/office/drawing/2014/main" val="20002"/>
                    </a:ext>
                  </a:extLst>
                </a:gridCol>
                <a:gridCol w="789269">
                  <a:extLst>
                    <a:ext uri="{9D8B030D-6E8A-4147-A177-3AD203B41FA5}">
                      <a16:colId xmlns:a16="http://schemas.microsoft.com/office/drawing/2014/main" val="20003"/>
                    </a:ext>
                  </a:extLst>
                </a:gridCol>
              </a:tblGrid>
              <a:tr h="245041">
                <a:tc>
                  <a:txBody>
                    <a:bodyPr/>
                    <a:lstStyle/>
                    <a:p>
                      <a:pPr algn="r" rtl="0" fontAlgn="ctr"/>
                      <a:r>
                        <a:rPr lang="en-US" sz="1200" u="none" strike="noStrike" dirty="0">
                          <a:solidFill>
                            <a:schemeClr val="bg2"/>
                          </a:solidFill>
                          <a:effectLst/>
                        </a:rPr>
                        <a:t>MAP Setting</a:t>
                      </a:r>
                      <a:endParaRPr lang="en-US" sz="1200" b="1" i="0" u="none" strike="noStrike" dirty="0">
                        <a:solidFill>
                          <a:schemeClr val="bg2"/>
                        </a:solidFill>
                        <a:effectLst/>
                        <a:latin typeface="Calibri" charset="0"/>
                      </a:endParaRPr>
                    </a:p>
                  </a:txBody>
                  <a:tcPr marL="6350" marR="6350" marT="6350" marB="0" anchor="ctr"/>
                </a:tc>
                <a:tc>
                  <a:txBody>
                    <a:bodyPr/>
                    <a:lstStyle/>
                    <a:p>
                      <a:pPr algn="ctr" rtl="0" fontAlgn="ctr"/>
                      <a:r>
                        <a:rPr lang="en-US" sz="1200" u="none" strike="noStrike" dirty="0">
                          <a:solidFill>
                            <a:schemeClr val="bg2"/>
                          </a:solidFill>
                          <a:effectLst/>
                        </a:rPr>
                        <a:t>NAM</a:t>
                      </a:r>
                      <a:endParaRPr lang="en-US" sz="1200" b="1" i="0" u="none" strike="noStrike" dirty="0">
                        <a:solidFill>
                          <a:schemeClr val="bg2"/>
                        </a:solidFill>
                        <a:effectLst/>
                        <a:latin typeface="Calibri" charset="0"/>
                      </a:endParaRPr>
                    </a:p>
                  </a:txBody>
                  <a:tcPr marL="6350" marR="6350" marT="6350" marB="0" anchor="ctr"/>
                </a:tc>
                <a:tc>
                  <a:txBody>
                    <a:bodyPr/>
                    <a:lstStyle/>
                    <a:p>
                      <a:pPr algn="ctr" rtl="0" fontAlgn="ctr"/>
                      <a:r>
                        <a:rPr lang="en-US" sz="1200" u="none" strike="noStrike" dirty="0">
                          <a:solidFill>
                            <a:schemeClr val="bg2"/>
                          </a:solidFill>
                          <a:effectLst/>
                        </a:rPr>
                        <a:t>EU</a:t>
                      </a:r>
                      <a:endParaRPr lang="en-US" sz="1200" b="1" i="0" u="none" strike="noStrike" dirty="0">
                        <a:solidFill>
                          <a:schemeClr val="bg2"/>
                        </a:solidFill>
                        <a:effectLst/>
                        <a:latin typeface="Calibri" charset="0"/>
                      </a:endParaRPr>
                    </a:p>
                  </a:txBody>
                  <a:tcPr marL="6350" marR="6350" marT="6350" marB="0" anchor="ctr"/>
                </a:tc>
                <a:tc>
                  <a:txBody>
                    <a:bodyPr/>
                    <a:lstStyle/>
                    <a:p>
                      <a:pPr algn="ctr" rtl="0" fontAlgn="ctr"/>
                      <a:r>
                        <a:rPr lang="en-US" sz="1200" u="none" strike="noStrike" dirty="0">
                          <a:solidFill>
                            <a:schemeClr val="bg2"/>
                          </a:solidFill>
                          <a:effectLst/>
                        </a:rPr>
                        <a:t>APJC</a:t>
                      </a:r>
                      <a:endParaRPr lang="en-US" sz="1200" b="1" i="0" u="none" strike="noStrike" dirty="0">
                        <a:solidFill>
                          <a:schemeClr val="bg2"/>
                        </a:solidFill>
                        <a:effectLst/>
                        <a:latin typeface="Calibri" charset="0"/>
                      </a:endParaRPr>
                    </a:p>
                  </a:txBody>
                  <a:tcPr marL="6350" marR="6350" marT="6350" marB="0" anchor="ctr"/>
                </a:tc>
                <a:extLst>
                  <a:ext uri="{0D108BD9-81ED-4DB2-BD59-A6C34878D82A}">
                    <a16:rowId xmlns:a16="http://schemas.microsoft.com/office/drawing/2014/main" val="10000"/>
                  </a:ext>
                </a:extLst>
              </a:tr>
              <a:tr h="241300">
                <a:tc>
                  <a:txBody>
                    <a:bodyPr/>
                    <a:lstStyle/>
                    <a:p>
                      <a:pPr algn="r" rtl="0" fontAlgn="ctr"/>
                      <a:r>
                        <a:rPr lang="en-US" sz="1200" b="1" u="none" strike="noStrike" dirty="0">
                          <a:effectLst/>
                        </a:rPr>
                        <a:t>ENABLED</a:t>
                      </a:r>
                      <a:endParaRPr lang="en-US" sz="1200" b="1" i="0" u="none" strike="noStrike" dirty="0">
                        <a:solidFill>
                          <a:srgbClr val="000000"/>
                        </a:solidFill>
                        <a:effectLst/>
                        <a:latin typeface="Calibri" charset="0"/>
                      </a:endParaRPr>
                    </a:p>
                  </a:txBody>
                  <a:tcPr marL="6350" marR="6350" marT="6350" marB="0" anchor="ctr">
                    <a:solidFill>
                      <a:schemeClr val="bg2"/>
                    </a:solidFill>
                  </a:tcPr>
                </a:tc>
                <a:tc>
                  <a:txBody>
                    <a:bodyPr/>
                    <a:lstStyle/>
                    <a:p>
                      <a:pPr algn="ctr" rtl="0" fontAlgn="b"/>
                      <a:r>
                        <a:rPr lang="hr-HR" sz="1200" b="1" u="none" strike="noStrike" dirty="0">
                          <a:effectLst/>
                        </a:rPr>
                        <a:t>16.70%</a:t>
                      </a:r>
                      <a:endParaRPr lang="hr-HR" sz="1200" b="1" i="0" u="none" strike="noStrike" dirty="0">
                        <a:solidFill>
                          <a:srgbClr val="000000"/>
                        </a:solidFill>
                        <a:effectLst/>
                        <a:latin typeface="Calibri" charset="0"/>
                      </a:endParaRPr>
                    </a:p>
                  </a:txBody>
                  <a:tcPr marL="6350" marR="6350" marT="6350" marB="0" anchor="b">
                    <a:solidFill>
                      <a:schemeClr val="bg2"/>
                    </a:solidFill>
                  </a:tcPr>
                </a:tc>
                <a:tc>
                  <a:txBody>
                    <a:bodyPr/>
                    <a:lstStyle/>
                    <a:p>
                      <a:pPr algn="ctr" rtl="0" fontAlgn="b"/>
                      <a:r>
                        <a:rPr lang="hr-HR" sz="1200" b="1" u="none" strike="noStrike" dirty="0">
                          <a:effectLst/>
                        </a:rPr>
                        <a:t>23.60%</a:t>
                      </a:r>
                      <a:endParaRPr lang="hr-HR" sz="1200" b="1" i="0" u="none" strike="noStrike" dirty="0">
                        <a:solidFill>
                          <a:srgbClr val="000000"/>
                        </a:solidFill>
                        <a:effectLst/>
                        <a:latin typeface="Calibri" charset="0"/>
                      </a:endParaRPr>
                    </a:p>
                  </a:txBody>
                  <a:tcPr marL="6350" marR="6350" marT="6350" marB="0" anchor="b">
                    <a:solidFill>
                      <a:schemeClr val="bg2"/>
                    </a:solidFill>
                  </a:tcPr>
                </a:tc>
                <a:tc>
                  <a:txBody>
                    <a:bodyPr/>
                    <a:lstStyle/>
                    <a:p>
                      <a:pPr algn="ctr" rtl="0" fontAlgn="b"/>
                      <a:r>
                        <a:rPr lang="pt-BR" sz="1200" b="1" u="none" strike="noStrike" dirty="0">
                          <a:effectLst/>
                        </a:rPr>
                        <a:t>32.30%</a:t>
                      </a:r>
                      <a:endParaRPr lang="pt-BR" sz="1200" b="1" i="0" u="none" strike="noStrike" dirty="0">
                        <a:solidFill>
                          <a:srgbClr val="000000"/>
                        </a:solidFill>
                        <a:effectLst/>
                        <a:latin typeface="Calibri" charset="0"/>
                      </a:endParaRPr>
                    </a:p>
                  </a:txBody>
                  <a:tcPr marL="6350" marR="6350" marT="6350" marB="0" anchor="b">
                    <a:solidFill>
                      <a:schemeClr val="bg2"/>
                    </a:solidFill>
                  </a:tcPr>
                </a:tc>
                <a:extLst>
                  <a:ext uri="{0D108BD9-81ED-4DB2-BD59-A6C34878D82A}">
                    <a16:rowId xmlns:a16="http://schemas.microsoft.com/office/drawing/2014/main" val="10001"/>
                  </a:ext>
                </a:extLst>
              </a:tr>
              <a:tr h="241300">
                <a:tc>
                  <a:txBody>
                    <a:bodyPr/>
                    <a:lstStyle/>
                    <a:p>
                      <a:pPr algn="r" rtl="0" fontAlgn="ctr"/>
                      <a:r>
                        <a:rPr lang="en-US" sz="1200" u="none" strike="noStrike" dirty="0">
                          <a:effectLst/>
                        </a:rPr>
                        <a:t>Audit</a:t>
                      </a:r>
                      <a:endParaRPr lang="en-US" sz="1200" b="0" i="0" u="none" strike="noStrike" dirty="0">
                        <a:solidFill>
                          <a:srgbClr val="000000"/>
                        </a:solidFill>
                        <a:effectLst/>
                        <a:latin typeface="Calibri" charset="0"/>
                      </a:endParaRPr>
                    </a:p>
                  </a:txBody>
                  <a:tcPr marL="6350" marR="6350" marT="6350" marB="0" anchor="ctr">
                    <a:solidFill>
                      <a:schemeClr val="bg2"/>
                    </a:solidFill>
                  </a:tcPr>
                </a:tc>
                <a:tc>
                  <a:txBody>
                    <a:bodyPr/>
                    <a:lstStyle/>
                    <a:p>
                      <a:pPr algn="ctr" rtl="0" fontAlgn="ctr"/>
                      <a:r>
                        <a:rPr lang="hr-HR" sz="1200" u="none" strike="noStrike" dirty="0">
                          <a:effectLst/>
                        </a:rPr>
                        <a:t>4.20%</a:t>
                      </a:r>
                      <a:endParaRPr lang="hr-HR" sz="1200" b="0" i="0" u="none" strike="noStrike" dirty="0">
                        <a:solidFill>
                          <a:srgbClr val="000000"/>
                        </a:solidFill>
                        <a:effectLst/>
                        <a:latin typeface="Calibri" charset="0"/>
                      </a:endParaRPr>
                    </a:p>
                  </a:txBody>
                  <a:tcPr marL="6350" marR="6350" marT="6350" marB="0" anchor="ctr">
                    <a:solidFill>
                      <a:schemeClr val="bg2"/>
                    </a:solidFill>
                  </a:tcPr>
                </a:tc>
                <a:tc>
                  <a:txBody>
                    <a:bodyPr/>
                    <a:lstStyle/>
                    <a:p>
                      <a:pPr algn="ctr" rtl="0" fontAlgn="ctr"/>
                      <a:r>
                        <a:rPr lang="hr-HR" sz="1200" u="none" strike="noStrike" dirty="0">
                          <a:effectLst/>
                        </a:rPr>
                        <a:t>12.60%</a:t>
                      </a:r>
                      <a:endParaRPr lang="hr-HR" sz="1200" b="0" i="0" u="none" strike="noStrike" dirty="0">
                        <a:solidFill>
                          <a:srgbClr val="000000"/>
                        </a:solidFill>
                        <a:effectLst/>
                        <a:latin typeface="Calibri" charset="0"/>
                      </a:endParaRPr>
                    </a:p>
                  </a:txBody>
                  <a:tcPr marL="6350" marR="6350" marT="6350" marB="0" anchor="ctr">
                    <a:solidFill>
                      <a:schemeClr val="bg2"/>
                    </a:solidFill>
                  </a:tcPr>
                </a:tc>
                <a:tc>
                  <a:txBody>
                    <a:bodyPr/>
                    <a:lstStyle/>
                    <a:p>
                      <a:pPr algn="ctr" rtl="0" fontAlgn="ctr"/>
                      <a:r>
                        <a:rPr lang="nb-NO" sz="1200" u="none" strike="noStrike" dirty="0">
                          <a:effectLst/>
                        </a:rPr>
                        <a:t>11.60%</a:t>
                      </a:r>
                      <a:endParaRPr lang="nb-NO" sz="1200" b="0" i="0" u="none" strike="noStrike" dirty="0">
                        <a:solidFill>
                          <a:srgbClr val="000000"/>
                        </a:solidFill>
                        <a:effectLst/>
                        <a:latin typeface="Calibri" charset="0"/>
                      </a:endParaRPr>
                    </a:p>
                  </a:txBody>
                  <a:tcPr marL="6350" marR="6350" marT="6350" marB="0" anchor="ctr">
                    <a:solidFill>
                      <a:schemeClr val="bg2"/>
                    </a:solidFill>
                  </a:tcPr>
                </a:tc>
                <a:extLst>
                  <a:ext uri="{0D108BD9-81ED-4DB2-BD59-A6C34878D82A}">
                    <a16:rowId xmlns:a16="http://schemas.microsoft.com/office/drawing/2014/main" val="10002"/>
                  </a:ext>
                </a:extLst>
              </a:tr>
              <a:tr h="274484">
                <a:tc>
                  <a:txBody>
                    <a:bodyPr/>
                    <a:lstStyle/>
                    <a:p>
                      <a:pPr algn="r" rtl="0" fontAlgn="ctr"/>
                      <a:r>
                        <a:rPr lang="en-US" sz="1200" u="none" strike="noStrike" dirty="0">
                          <a:effectLst/>
                        </a:rPr>
                        <a:t>Block/Quarantine</a:t>
                      </a:r>
                      <a:endParaRPr lang="en-US" sz="1200" b="0" i="0" u="none" strike="noStrike" dirty="0">
                        <a:solidFill>
                          <a:srgbClr val="000000"/>
                        </a:solidFill>
                        <a:effectLst/>
                        <a:latin typeface="Calibri" charset="0"/>
                      </a:endParaRPr>
                    </a:p>
                  </a:txBody>
                  <a:tcPr marL="6350" marR="6350" marT="6350" marB="0" anchor="ctr">
                    <a:solidFill>
                      <a:schemeClr val="bg2"/>
                    </a:solidFill>
                  </a:tcPr>
                </a:tc>
                <a:tc>
                  <a:txBody>
                    <a:bodyPr/>
                    <a:lstStyle/>
                    <a:p>
                      <a:pPr algn="ctr" rtl="0" fontAlgn="ctr"/>
                      <a:r>
                        <a:rPr lang="hr-HR" sz="1200" u="none" strike="noStrike" dirty="0">
                          <a:effectLst/>
                        </a:rPr>
                        <a:t>12.50%</a:t>
                      </a:r>
                      <a:endParaRPr lang="hr-HR" sz="1200" b="0" i="0" u="none" strike="noStrike" dirty="0">
                        <a:solidFill>
                          <a:srgbClr val="000000"/>
                        </a:solidFill>
                        <a:effectLst/>
                        <a:latin typeface="Calibri" charset="0"/>
                      </a:endParaRPr>
                    </a:p>
                  </a:txBody>
                  <a:tcPr marL="6350" marR="6350" marT="6350" marB="0" anchor="ctr">
                    <a:solidFill>
                      <a:schemeClr val="bg2"/>
                    </a:solidFill>
                  </a:tcPr>
                </a:tc>
                <a:tc>
                  <a:txBody>
                    <a:bodyPr/>
                    <a:lstStyle/>
                    <a:p>
                      <a:pPr algn="ctr" rtl="0" fontAlgn="ctr"/>
                      <a:r>
                        <a:rPr lang="pt-BR" sz="1200" u="none" strike="noStrike" dirty="0">
                          <a:effectLst/>
                        </a:rPr>
                        <a:t>11.00%</a:t>
                      </a:r>
                      <a:endParaRPr lang="pt-BR" sz="1200" b="0" i="0" u="none" strike="noStrike" dirty="0">
                        <a:solidFill>
                          <a:srgbClr val="000000"/>
                        </a:solidFill>
                        <a:effectLst/>
                        <a:latin typeface="Calibri" charset="0"/>
                      </a:endParaRPr>
                    </a:p>
                  </a:txBody>
                  <a:tcPr marL="6350" marR="6350" marT="6350" marB="0" anchor="ctr">
                    <a:solidFill>
                      <a:schemeClr val="bg2"/>
                    </a:solidFill>
                  </a:tcPr>
                </a:tc>
                <a:tc>
                  <a:txBody>
                    <a:bodyPr/>
                    <a:lstStyle/>
                    <a:p>
                      <a:pPr algn="ctr" rtl="0" fontAlgn="ctr"/>
                      <a:r>
                        <a:rPr lang="nb-NO" sz="1200" u="none" strike="noStrike" dirty="0">
                          <a:effectLst/>
                        </a:rPr>
                        <a:t>20.80%</a:t>
                      </a:r>
                      <a:endParaRPr lang="nb-NO" sz="1200" b="0" i="0" u="none" strike="noStrike" dirty="0">
                        <a:solidFill>
                          <a:srgbClr val="000000"/>
                        </a:solidFill>
                        <a:effectLst/>
                        <a:latin typeface="Calibri" charset="0"/>
                      </a:endParaRPr>
                    </a:p>
                  </a:txBody>
                  <a:tcPr marL="6350" marR="6350" marT="6350" marB="0" anchor="ctr">
                    <a:solidFill>
                      <a:schemeClr val="bg2"/>
                    </a:solidFill>
                  </a:tcPr>
                </a:tc>
                <a:extLst>
                  <a:ext uri="{0D108BD9-81ED-4DB2-BD59-A6C34878D82A}">
                    <a16:rowId xmlns:a16="http://schemas.microsoft.com/office/drawing/2014/main" val="10003"/>
                  </a:ext>
                </a:extLst>
              </a:tr>
            </a:tbl>
          </a:graphicData>
        </a:graphic>
      </p:graphicFrame>
      <p:sp>
        <p:nvSpPr>
          <p:cNvPr id="13" name="Triangle 12"/>
          <p:cNvSpPr/>
          <p:nvPr/>
        </p:nvSpPr>
        <p:spPr>
          <a:xfrm rot="5400000">
            <a:off x="3052617" y="2389333"/>
            <a:ext cx="3471142" cy="838777"/>
          </a:xfrm>
          <a:prstGeom prst="triangl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JPN" pitchFamily="2" charset="-128"/>
              <a:ea typeface="CiscoSansJPN" pitchFamily="2" charset="-128"/>
              <a:cs typeface="CiscoSansJPN" pitchFamily="2" charset="-128"/>
            </a:endParaRPr>
          </a:p>
        </p:txBody>
      </p:sp>
      <p:sp>
        <p:nvSpPr>
          <p:cNvPr id="14" name="Rectangle 13"/>
          <p:cNvSpPr/>
          <p:nvPr/>
        </p:nvSpPr>
        <p:spPr>
          <a:xfrm>
            <a:off x="5207577" y="2424315"/>
            <a:ext cx="3502052" cy="2092881"/>
          </a:xfrm>
          <a:prstGeom prst="rect">
            <a:avLst/>
          </a:prstGeom>
        </p:spPr>
        <p:txBody>
          <a:bodyPr wrap="square">
            <a:spAutoFit/>
          </a:bodyPr>
          <a:lstStyle/>
          <a:p>
            <a:pPr marL="285750" indent="-285750">
              <a:buFont typeface="Arial" charset="0"/>
              <a:buChar char="•"/>
            </a:pPr>
            <a:r>
              <a:rPr lang="en-US" sz="1200" b="1" dirty="0">
                <a:solidFill>
                  <a:schemeClr val="bg1"/>
                </a:solidFill>
                <a:latin typeface="CiscoSansJPN" pitchFamily="2" charset="-128"/>
                <a:ea typeface="CiscoSansJPN" pitchFamily="2" charset="-128"/>
                <a:cs typeface="CiscoSansJPN" pitchFamily="2" charset="-128"/>
              </a:rPr>
              <a:t>Device Trajectory </a:t>
            </a:r>
            <a:r>
              <a:rPr lang="ja-JP" altLang="en-US" sz="1200">
                <a:solidFill>
                  <a:schemeClr val="bg1"/>
                </a:solidFill>
                <a:latin typeface="CiscoSansJPN" pitchFamily="2" charset="-128"/>
                <a:ea typeface="CiscoSansJPN" pitchFamily="2" charset="-128"/>
                <a:cs typeface="CiscoSansJPN" pitchFamily="2" charset="-128"/>
              </a:rPr>
              <a:t>何が起きたかを明確に表示してくれる</a:t>
            </a:r>
            <a:endParaRPr lang="en-US" sz="1200" dirty="0">
              <a:solidFill>
                <a:schemeClr val="bg1"/>
              </a:solidFill>
              <a:latin typeface="CiscoSansJPN" pitchFamily="2" charset="-128"/>
              <a:ea typeface="CiscoSansJPN" pitchFamily="2" charset="-128"/>
              <a:cs typeface="CiscoSansJPN" pitchFamily="2" charset="-128"/>
            </a:endParaRPr>
          </a:p>
          <a:p>
            <a:pPr marL="285750" indent="-285750">
              <a:buFont typeface="Arial" charset="0"/>
              <a:buChar char="•"/>
            </a:pPr>
            <a:r>
              <a:rPr lang="en-US" sz="1200" b="1" dirty="0">
                <a:solidFill>
                  <a:schemeClr val="bg1"/>
                </a:solidFill>
                <a:latin typeface="CiscoSansJPN" pitchFamily="2" charset="-128"/>
                <a:ea typeface="CiscoSansJPN" pitchFamily="2" charset="-128"/>
                <a:cs typeface="CiscoSansJPN" pitchFamily="2" charset="-128"/>
              </a:rPr>
              <a:t>Command Line Capture</a:t>
            </a:r>
            <a:r>
              <a:rPr lang="en-US" sz="1200" dirty="0">
                <a:solidFill>
                  <a:schemeClr val="bg1"/>
                </a:solidFill>
                <a:latin typeface="CiscoSansJPN" pitchFamily="2" charset="-128"/>
                <a:ea typeface="CiscoSansJPN" pitchFamily="2" charset="-128"/>
                <a:cs typeface="CiscoSansJPN" pitchFamily="2" charset="-128"/>
              </a:rPr>
              <a:t> AMSI</a:t>
            </a:r>
            <a:r>
              <a:rPr lang="ja-JP" altLang="en-US" sz="1200">
                <a:solidFill>
                  <a:schemeClr val="bg1"/>
                </a:solidFill>
                <a:latin typeface="CiscoSansJPN" pitchFamily="2" charset="-128"/>
                <a:ea typeface="CiscoSansJPN" pitchFamily="2" charset="-128"/>
                <a:cs typeface="CiscoSansJPN" pitchFamily="2" charset="-128"/>
              </a:rPr>
              <a:t>を停止したことを表示</a:t>
            </a:r>
            <a:endParaRPr lang="en-US" sz="1200" dirty="0">
              <a:solidFill>
                <a:schemeClr val="bg1"/>
              </a:solidFill>
              <a:latin typeface="CiscoSansJPN" pitchFamily="2" charset="-128"/>
              <a:ea typeface="CiscoSansJPN" pitchFamily="2" charset="-128"/>
              <a:cs typeface="CiscoSansJPN" pitchFamily="2" charset="-128"/>
            </a:endParaRPr>
          </a:p>
          <a:p>
            <a:pPr marL="285750" indent="-285750">
              <a:buFont typeface="Arial" charset="0"/>
              <a:buChar char="•"/>
            </a:pPr>
            <a:r>
              <a:rPr lang="en-US" sz="1200" b="1" dirty="0">
                <a:solidFill>
                  <a:schemeClr val="bg1"/>
                </a:solidFill>
                <a:latin typeface="CiscoSansJPN" pitchFamily="2" charset="-128"/>
                <a:ea typeface="CiscoSansJPN" pitchFamily="2" charset="-128"/>
                <a:cs typeface="CiscoSansJPN" pitchFamily="2" charset="-128"/>
              </a:rPr>
              <a:t>Low Prevalence </a:t>
            </a:r>
            <a:r>
              <a:rPr lang="ja-JP" altLang="en-US" sz="1200">
                <a:solidFill>
                  <a:schemeClr val="bg1"/>
                </a:solidFill>
                <a:latin typeface="CiscoSansJPN" pitchFamily="2" charset="-128"/>
                <a:ea typeface="CiscoSansJPN" pitchFamily="2" charset="-128"/>
                <a:cs typeface="CiscoSansJPN" pitchFamily="2" charset="-128"/>
              </a:rPr>
              <a:t>自動解析が発動</a:t>
            </a:r>
            <a:endParaRPr lang="en-US" sz="1200" dirty="0">
              <a:solidFill>
                <a:schemeClr val="bg1"/>
              </a:solidFill>
              <a:latin typeface="CiscoSansJPN" pitchFamily="2" charset="-128"/>
              <a:ea typeface="CiscoSansJPN" pitchFamily="2" charset="-128"/>
              <a:cs typeface="CiscoSansJPN" pitchFamily="2" charset="-128"/>
            </a:endParaRPr>
          </a:p>
          <a:p>
            <a:pPr marL="285750" indent="-285750">
              <a:buFont typeface="Arial" charset="0"/>
              <a:buChar char="•"/>
            </a:pPr>
            <a:r>
              <a:rPr lang="en-US" sz="1200" b="1" dirty="0">
                <a:solidFill>
                  <a:schemeClr val="bg1"/>
                </a:solidFill>
                <a:latin typeface="CiscoSansJPN" pitchFamily="2" charset="-128"/>
                <a:ea typeface="CiscoSansJPN" pitchFamily="2" charset="-128"/>
                <a:cs typeface="CiscoSansJPN" pitchFamily="2" charset="-128"/>
              </a:rPr>
              <a:t>Cloud IOC </a:t>
            </a:r>
            <a:r>
              <a:rPr lang="ja-JP" altLang="en-US" sz="1200">
                <a:solidFill>
                  <a:schemeClr val="bg1"/>
                </a:solidFill>
                <a:latin typeface="CiscoSansJPN" pitchFamily="2" charset="-128"/>
                <a:ea typeface="CiscoSansJPN" pitchFamily="2" charset="-128"/>
                <a:cs typeface="CiscoSansJPN" pitchFamily="2" charset="-128"/>
              </a:rPr>
              <a:t>ランサムウェアのシャドーコピーを検出</a:t>
            </a:r>
            <a:endParaRPr lang="en-US" sz="1200" dirty="0">
              <a:solidFill>
                <a:schemeClr val="bg1"/>
              </a:solidFill>
              <a:latin typeface="CiscoSansJPN" pitchFamily="2" charset="-128"/>
              <a:ea typeface="CiscoSansJPN" pitchFamily="2" charset="-128"/>
              <a:cs typeface="CiscoSansJPN" pitchFamily="2" charset="-128"/>
            </a:endParaRPr>
          </a:p>
          <a:p>
            <a:pPr marL="285750" indent="-285750">
              <a:buFont typeface="Arial" charset="0"/>
              <a:buChar char="•"/>
            </a:pPr>
            <a:r>
              <a:rPr lang="en-US" sz="1200" b="1" dirty="0">
                <a:solidFill>
                  <a:schemeClr val="bg1"/>
                </a:solidFill>
                <a:latin typeface="CiscoSansJPN" pitchFamily="2" charset="-128"/>
                <a:ea typeface="CiscoSansJPN" pitchFamily="2" charset="-128"/>
                <a:cs typeface="CiscoSansJPN" pitchFamily="2" charset="-128"/>
              </a:rPr>
              <a:t>MAP Engine </a:t>
            </a:r>
            <a:r>
              <a:rPr lang="ja-JP" altLang="en-US" sz="1200">
                <a:solidFill>
                  <a:schemeClr val="bg1"/>
                </a:solidFill>
                <a:latin typeface="CiscoSansJPN" pitchFamily="2" charset="-128"/>
                <a:ea typeface="CiscoSansJPN" pitchFamily="2" charset="-128"/>
                <a:cs typeface="CiscoSansJPN" pitchFamily="2" charset="-128"/>
              </a:rPr>
              <a:t>いくつかのファイルが暗号化され始めた時点で検出と防御を実施</a:t>
            </a:r>
            <a:endParaRPr lang="en-US" sz="1200" dirty="0">
              <a:solidFill>
                <a:schemeClr val="bg1"/>
              </a:solidFill>
              <a:latin typeface="CiscoSansJPN" pitchFamily="2" charset="-128"/>
              <a:ea typeface="CiscoSansJPN" pitchFamily="2" charset="-128"/>
              <a:cs typeface="CiscoSansJPN" pitchFamily="2" charset="-128"/>
            </a:endParaRPr>
          </a:p>
          <a:p>
            <a:pPr marL="628650" lvl="1" indent="-171450">
              <a:buFont typeface="Arial" charset="0"/>
              <a:buChar char="•"/>
            </a:pPr>
            <a:r>
              <a:rPr lang="en-US" sz="1100" dirty="0">
                <a:solidFill>
                  <a:schemeClr val="bg1"/>
                </a:solidFill>
                <a:latin typeface="CiscoSansJPN" pitchFamily="2" charset="-128"/>
                <a:ea typeface="CiscoSansJPN" pitchFamily="2" charset="-128"/>
                <a:cs typeface="CiscoSansJPN" pitchFamily="2" charset="-128"/>
              </a:rPr>
              <a:t>IOC Event</a:t>
            </a:r>
            <a:r>
              <a:rPr lang="ja-JP" altLang="en-US" sz="1100">
                <a:solidFill>
                  <a:schemeClr val="bg1"/>
                </a:solidFill>
                <a:latin typeface="CiscoSansJPN" pitchFamily="2" charset="-128"/>
                <a:ea typeface="CiscoSansJPN" pitchFamily="2" charset="-128"/>
                <a:cs typeface="CiscoSansJPN" pitchFamily="2" charset="-128"/>
              </a:rPr>
              <a:t>は</a:t>
            </a:r>
            <a:r>
              <a:rPr lang="en-US" altLang="ja-JP" sz="1100" dirty="0">
                <a:solidFill>
                  <a:schemeClr val="bg1"/>
                </a:solidFill>
                <a:latin typeface="CiscoSansJPN" pitchFamily="2" charset="-128"/>
                <a:ea typeface="CiscoSansJPN" pitchFamily="2" charset="-128"/>
                <a:cs typeface="CiscoSansJPN" pitchFamily="2" charset="-128"/>
              </a:rPr>
              <a:t>MAP</a:t>
            </a:r>
            <a:r>
              <a:rPr lang="ja-JP" altLang="en-US" sz="1100">
                <a:solidFill>
                  <a:schemeClr val="bg1"/>
                </a:solidFill>
                <a:latin typeface="CiscoSansJPN" pitchFamily="2" charset="-128"/>
                <a:ea typeface="CiscoSansJPN" pitchFamily="2" charset="-128"/>
                <a:cs typeface="CiscoSansJPN" pitchFamily="2" charset="-128"/>
              </a:rPr>
              <a:t>が反応する前に具体的な対象ファイルを特定</a:t>
            </a:r>
            <a:endParaRPr lang="en-US" sz="1200" dirty="0">
              <a:solidFill>
                <a:schemeClr val="bg1"/>
              </a:solidFill>
              <a:latin typeface="CiscoSansJPN" pitchFamily="2" charset="-128"/>
              <a:ea typeface="CiscoSansJPN" pitchFamily="2" charset="-128"/>
              <a:cs typeface="CiscoSansJPN" pitchFamily="2" charset="-128"/>
            </a:endParaRPr>
          </a:p>
        </p:txBody>
      </p:sp>
      <p:sp>
        <p:nvSpPr>
          <p:cNvPr id="7" name="Rectangle 6"/>
          <p:cNvSpPr/>
          <p:nvPr/>
        </p:nvSpPr>
        <p:spPr>
          <a:xfrm>
            <a:off x="4673606" y="1113158"/>
            <a:ext cx="4109648" cy="1169551"/>
          </a:xfrm>
          <a:prstGeom prst="rect">
            <a:avLst/>
          </a:prstGeom>
        </p:spPr>
        <p:txBody>
          <a:bodyPr wrap="square">
            <a:spAutoFit/>
          </a:bodyPr>
          <a:lstStyle/>
          <a:p>
            <a:pPr marL="57136" indent="0">
              <a:buNone/>
            </a:pPr>
            <a:r>
              <a:rPr lang="en-US" sz="1400" dirty="0">
                <a:latin typeface="CiscoSansJPN" pitchFamily="2" charset="-128"/>
                <a:ea typeface="CiscoSansJPN" pitchFamily="2" charset="-128"/>
                <a:cs typeface="CiscoSansJPN" pitchFamily="2" charset="-128"/>
              </a:rPr>
              <a:t>Date: </a:t>
            </a:r>
            <a:r>
              <a:rPr lang="en-US" altLang="ja-JP" sz="1400" dirty="0">
                <a:latin typeface="CiscoSansJPN" pitchFamily="2" charset="-128"/>
                <a:ea typeface="CiscoSansJPN" pitchFamily="2" charset="-128"/>
                <a:cs typeface="CiscoSansJPN" pitchFamily="2" charset="-128"/>
              </a:rPr>
              <a:t>2018</a:t>
            </a:r>
            <a:r>
              <a:rPr lang="ja-JP" altLang="en-US" sz="1400">
                <a:latin typeface="CiscoSansJPN" pitchFamily="2" charset="-128"/>
                <a:ea typeface="CiscoSansJPN" pitchFamily="2" charset="-128"/>
                <a:cs typeface="CiscoSansJPN" pitchFamily="2" charset="-128"/>
              </a:rPr>
              <a:t>年</a:t>
            </a:r>
            <a:r>
              <a:rPr lang="en-US" altLang="ja-JP" sz="1400" dirty="0">
                <a:latin typeface="CiscoSansJPN" pitchFamily="2" charset="-128"/>
                <a:ea typeface="CiscoSansJPN" pitchFamily="2" charset="-128"/>
                <a:cs typeface="CiscoSansJPN" pitchFamily="2" charset="-128"/>
              </a:rPr>
              <a:t>6</a:t>
            </a:r>
            <a:r>
              <a:rPr lang="ja-JP" altLang="en-US" sz="1400">
                <a:latin typeface="CiscoSansJPN" pitchFamily="2" charset="-128"/>
                <a:ea typeface="CiscoSansJPN" pitchFamily="2" charset="-128"/>
                <a:cs typeface="CiscoSansJPN" pitchFamily="2" charset="-128"/>
              </a:rPr>
              <a:t>月</a:t>
            </a:r>
            <a:r>
              <a:rPr lang="en-US" altLang="ja-JP" sz="1400" dirty="0">
                <a:latin typeface="CiscoSansJPN" pitchFamily="2" charset="-128"/>
                <a:ea typeface="CiscoSansJPN" pitchFamily="2" charset="-128"/>
                <a:cs typeface="CiscoSansJPN" pitchFamily="2" charset="-128"/>
              </a:rPr>
              <a:t>29</a:t>
            </a:r>
            <a:r>
              <a:rPr lang="ja-JP" altLang="en-US" sz="1400">
                <a:latin typeface="CiscoSansJPN" pitchFamily="2" charset="-128"/>
                <a:ea typeface="CiscoSansJPN" pitchFamily="2" charset="-128"/>
                <a:cs typeface="CiscoSansJPN" pitchFamily="2" charset="-128"/>
              </a:rPr>
              <a:t>日</a:t>
            </a:r>
            <a:endParaRPr lang="en-US" sz="1400" dirty="0">
              <a:latin typeface="CiscoSansJPN" pitchFamily="2" charset="-128"/>
              <a:ea typeface="CiscoSansJPN" pitchFamily="2" charset="-128"/>
              <a:cs typeface="CiscoSansJPN" pitchFamily="2" charset="-128"/>
            </a:endParaRPr>
          </a:p>
          <a:p>
            <a:pPr marL="57136" indent="0">
              <a:buNone/>
            </a:pPr>
            <a:r>
              <a:rPr lang="en-US" sz="1400" dirty="0">
                <a:latin typeface="CiscoSansJPN" pitchFamily="2" charset="-128"/>
                <a:ea typeface="CiscoSansJPN" pitchFamily="2" charset="-128"/>
                <a:cs typeface="CiscoSansJPN" pitchFamily="2" charset="-128"/>
              </a:rPr>
              <a:t>Customer: </a:t>
            </a:r>
            <a:r>
              <a:rPr lang="ja-JP" altLang="en-US" sz="1400">
                <a:latin typeface="CiscoSansJPN" pitchFamily="2" charset="-128"/>
                <a:ea typeface="CiscoSansJPN" pitchFamily="2" charset="-128"/>
                <a:cs typeface="CiscoSansJPN" pitchFamily="2" charset="-128"/>
              </a:rPr>
              <a:t>医学研究機関</a:t>
            </a:r>
            <a:endParaRPr lang="en-US" sz="1400" dirty="0">
              <a:latin typeface="CiscoSansJPN" pitchFamily="2" charset="-128"/>
              <a:ea typeface="CiscoSansJPN" pitchFamily="2" charset="-128"/>
              <a:cs typeface="CiscoSansJPN" pitchFamily="2" charset="-128"/>
            </a:endParaRPr>
          </a:p>
          <a:p>
            <a:pPr marL="57136" indent="0">
              <a:buNone/>
            </a:pPr>
            <a:r>
              <a:rPr lang="en-US" sz="1400" dirty="0">
                <a:latin typeface="CiscoSansJPN" pitchFamily="2" charset="-128"/>
                <a:ea typeface="CiscoSansJPN" pitchFamily="2" charset="-128"/>
                <a:cs typeface="CiscoSansJPN" pitchFamily="2" charset="-128"/>
              </a:rPr>
              <a:t>Status</a:t>
            </a:r>
            <a:r>
              <a:rPr lang="en-US" sz="1200" dirty="0">
                <a:latin typeface="CiscoSansJPN" pitchFamily="2" charset="-128"/>
                <a:ea typeface="CiscoSansJPN" pitchFamily="2" charset="-128"/>
                <a:cs typeface="CiscoSansJPN" pitchFamily="2" charset="-128"/>
              </a:rPr>
              <a:t>: </a:t>
            </a:r>
            <a:r>
              <a:rPr lang="en-US" sz="1200" dirty="0">
                <a:solidFill>
                  <a:srgbClr val="00B050"/>
                </a:solidFill>
                <a:latin typeface="CiscoSansJPN" pitchFamily="2" charset="-128"/>
                <a:ea typeface="CiscoSansJPN" pitchFamily="2" charset="-128"/>
                <a:cs typeface="CiscoSansJPN" pitchFamily="2" charset="-128"/>
              </a:rPr>
              <a:t>PROTECTED</a:t>
            </a:r>
          </a:p>
          <a:p>
            <a:pPr lvl="1"/>
            <a:r>
              <a:rPr lang="en-US" sz="1400" dirty="0" err="1">
                <a:latin typeface="CiscoSansJPN" pitchFamily="2" charset="-128"/>
                <a:ea typeface="CiscoSansJPN" pitchFamily="2" charset="-128"/>
                <a:cs typeface="CiscoSansJPN" pitchFamily="2" charset="-128"/>
              </a:rPr>
              <a:t>BitPaymer</a:t>
            </a:r>
            <a:r>
              <a:rPr lang="en-US" sz="1400" dirty="0">
                <a:latin typeface="CiscoSansJPN" pitchFamily="2" charset="-128"/>
                <a:ea typeface="CiscoSansJPN" pitchFamily="2" charset="-128"/>
                <a:cs typeface="CiscoSansJPN" pitchFamily="2" charset="-128"/>
              </a:rPr>
              <a:t> (</a:t>
            </a:r>
            <a:r>
              <a:rPr lang="en-US" sz="1400" dirty="0" err="1">
                <a:latin typeface="CiscoSansJPN" pitchFamily="2" charset="-128"/>
                <a:ea typeface="CiscoSansJPN" pitchFamily="2" charset="-128"/>
                <a:cs typeface="CiscoSansJPN" pitchFamily="2" charset="-128"/>
              </a:rPr>
              <a:t>FriedEx</a:t>
            </a:r>
            <a:r>
              <a:rPr lang="en-US" sz="1400" dirty="0">
                <a:latin typeface="CiscoSansJPN" pitchFamily="2" charset="-128"/>
                <a:ea typeface="CiscoSansJPN" pitchFamily="2" charset="-128"/>
                <a:cs typeface="CiscoSansJPN" pitchFamily="2" charset="-128"/>
              </a:rPr>
              <a:t>)</a:t>
            </a:r>
            <a:r>
              <a:rPr lang="ja-JP" altLang="en-US" sz="1400">
                <a:latin typeface="CiscoSansJPN" pitchFamily="2" charset="-128"/>
                <a:ea typeface="CiscoSansJPN" pitchFamily="2" charset="-128"/>
                <a:cs typeface="CiscoSansJPN" pitchFamily="2" charset="-128"/>
              </a:rPr>
              <a:t>の亜種がスコットランドにある</a:t>
            </a:r>
            <a:r>
              <a:rPr lang="en-US" sz="1400" dirty="0">
                <a:latin typeface="CiscoSansJPN" pitchFamily="2" charset="-128"/>
                <a:ea typeface="CiscoSansJPN" pitchFamily="2" charset="-128"/>
                <a:cs typeface="CiscoSansJPN" pitchFamily="2" charset="-128"/>
              </a:rPr>
              <a:t>NHS</a:t>
            </a:r>
            <a:r>
              <a:rPr lang="ja-JP" altLang="en-US" sz="1400">
                <a:latin typeface="CiscoSansJPN" pitchFamily="2" charset="-128"/>
                <a:ea typeface="CiscoSansJPN" pitchFamily="2" charset="-128"/>
                <a:cs typeface="CiscoSansJPN" pitchFamily="2" charset="-128"/>
              </a:rPr>
              <a:t>ホスピタルに感染</a:t>
            </a:r>
            <a:endParaRPr lang="en-US" sz="1400" dirty="0">
              <a:latin typeface="CiscoSansJPN" pitchFamily="2" charset="-128"/>
              <a:ea typeface="CiscoSansJPN" pitchFamily="2" charset="-128"/>
              <a:cs typeface="CiscoSansJPN" pitchFamily="2" charset="-128"/>
            </a:endParaRPr>
          </a:p>
        </p:txBody>
      </p:sp>
      <p:pic>
        <p:nvPicPr>
          <p:cNvPr id="15" name="Picture 1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5684" y="1819793"/>
            <a:ext cx="2926883" cy="14028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62462270"/>
      </p:ext>
    </p:extLst>
  </p:cSld>
  <p:clrMapOvr>
    <a:masterClrMapping/>
  </p:clrMapOvr>
  <p:transition spd="med">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t="16225" r="49062"/>
          <a:stretch/>
        </p:blipFill>
        <p:spPr>
          <a:xfrm>
            <a:off x="4778613" y="1049417"/>
            <a:ext cx="3841656" cy="2139155"/>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8612" y="1295616"/>
            <a:ext cx="3722433" cy="1712464"/>
          </a:xfrm>
          <a:prstGeom prst="rect">
            <a:avLst/>
          </a:prstGeom>
        </p:spPr>
      </p:pic>
      <p:sp>
        <p:nvSpPr>
          <p:cNvPr id="2" name="Text Placeholder 1"/>
          <p:cNvSpPr>
            <a:spLocks noGrp="1"/>
          </p:cNvSpPr>
          <p:nvPr>
            <p:ph type="body" sz="quarter" idx="10"/>
          </p:nvPr>
        </p:nvSpPr>
        <p:spPr>
          <a:xfrm>
            <a:off x="464443" y="968827"/>
            <a:ext cx="4152281" cy="3167385"/>
          </a:xfrm>
        </p:spPr>
        <p:txBody>
          <a:bodyPr/>
          <a:lstStyle/>
          <a:p>
            <a:r>
              <a:rPr lang="en-US" sz="1799" dirty="0">
                <a:latin typeface="CiscoSansJPN" pitchFamily="2" charset="-128"/>
                <a:ea typeface="CiscoSansJPN" pitchFamily="2" charset="-128"/>
                <a:cs typeface="CiscoSansJPN" pitchFamily="2" charset="-128"/>
              </a:rPr>
              <a:t>iOS 11.3</a:t>
            </a:r>
            <a:r>
              <a:rPr lang="ja-JP" altLang="en-US" sz="1799">
                <a:latin typeface="CiscoSansJPN" pitchFamily="2" charset="-128"/>
                <a:ea typeface="CiscoSansJPN" pitchFamily="2" charset="-128"/>
                <a:cs typeface="CiscoSansJPN" pitchFamily="2" charset="-128"/>
              </a:rPr>
              <a:t>以降</a:t>
            </a:r>
            <a:endParaRPr lang="en-US" sz="1799" dirty="0">
              <a:latin typeface="CiscoSansJPN" pitchFamily="2" charset="-128"/>
              <a:ea typeface="CiscoSansJPN" pitchFamily="2" charset="-128"/>
              <a:cs typeface="CiscoSansJPN" pitchFamily="2" charset="-128"/>
            </a:endParaRPr>
          </a:p>
          <a:p>
            <a:r>
              <a:rPr lang="ja-JP" altLang="en-US" sz="1799">
                <a:latin typeface="CiscoSansJPN" pitchFamily="2" charset="-128"/>
                <a:ea typeface="CiscoSansJPN" pitchFamily="2" charset="-128"/>
                <a:cs typeface="CiscoSansJPN" pitchFamily="2" charset="-128"/>
              </a:rPr>
              <a:t>追加</a:t>
            </a:r>
            <a:r>
              <a:rPr lang="en-US" altLang="ja-JP" sz="1799" dirty="0">
                <a:latin typeface="CiscoSansJPN" pitchFamily="2" charset="-128"/>
                <a:ea typeface="CiscoSansJPN" pitchFamily="2" charset="-128"/>
                <a:cs typeface="CiscoSansJPN" pitchFamily="2" charset="-128"/>
              </a:rPr>
              <a:t>MDM</a:t>
            </a:r>
            <a:r>
              <a:rPr lang="ja-JP" altLang="en-US" sz="1799">
                <a:latin typeface="CiscoSansJPN" pitchFamily="2" charset="-128"/>
                <a:ea typeface="CiscoSansJPN" pitchFamily="2" charset="-128"/>
                <a:cs typeface="CiscoSansJPN" pitchFamily="2" charset="-128"/>
              </a:rPr>
              <a:t>サポート</a:t>
            </a:r>
            <a:endParaRPr lang="en-US" sz="1799" dirty="0">
              <a:latin typeface="CiscoSansJPN" pitchFamily="2" charset="-128"/>
              <a:ea typeface="CiscoSansJPN" pitchFamily="2" charset="-128"/>
              <a:cs typeface="CiscoSansJPN" pitchFamily="2" charset="-128"/>
            </a:endParaRPr>
          </a:p>
          <a:p>
            <a:pPr lvl="1"/>
            <a:r>
              <a:rPr lang="en-US" sz="1500" dirty="0" err="1">
                <a:latin typeface="CiscoSansJPN" pitchFamily="2" charset="-128"/>
                <a:ea typeface="CiscoSansJPN" pitchFamily="2" charset="-128"/>
                <a:cs typeface="CiscoSansJPN" pitchFamily="2" charset="-128"/>
              </a:rPr>
              <a:t>MobileIron</a:t>
            </a:r>
            <a:r>
              <a:rPr lang="en-US" sz="1500" dirty="0">
                <a:latin typeface="CiscoSansJPN" pitchFamily="2" charset="-128"/>
                <a:ea typeface="CiscoSansJPN" pitchFamily="2" charset="-128"/>
                <a:cs typeface="CiscoSansJPN" pitchFamily="2" charset="-128"/>
              </a:rPr>
              <a:t> Enterprise Mobility Management (EMM) On-</a:t>
            </a:r>
            <a:r>
              <a:rPr lang="en-US" sz="1500" dirty="0" err="1">
                <a:latin typeface="CiscoSansJPN" pitchFamily="2" charset="-128"/>
                <a:ea typeface="CiscoSansJPN" pitchFamily="2" charset="-128"/>
                <a:cs typeface="CiscoSansJPN" pitchFamily="2" charset="-128"/>
              </a:rPr>
              <a:t>Prem</a:t>
            </a:r>
            <a:r>
              <a:rPr lang="en-US" sz="1500" dirty="0">
                <a:latin typeface="CiscoSansJPN" pitchFamily="2" charset="-128"/>
                <a:ea typeface="CiscoSansJPN" pitchFamily="2" charset="-128"/>
                <a:cs typeface="CiscoSansJPN" pitchFamily="2" charset="-128"/>
              </a:rPr>
              <a:t> 9.4 or higher</a:t>
            </a:r>
          </a:p>
          <a:p>
            <a:pPr lvl="1"/>
            <a:r>
              <a:rPr lang="en-US" sz="1500" dirty="0" err="1">
                <a:latin typeface="CiscoSansJPN" pitchFamily="2" charset="-128"/>
                <a:ea typeface="CiscoSansJPN" pitchFamily="2" charset="-128"/>
                <a:cs typeface="CiscoSansJPN" pitchFamily="2" charset="-128"/>
              </a:rPr>
              <a:t>AirWatch</a:t>
            </a:r>
            <a:r>
              <a:rPr lang="en-US" sz="1500" dirty="0">
                <a:latin typeface="CiscoSansJPN" pitchFamily="2" charset="-128"/>
                <a:ea typeface="CiscoSansJPN" pitchFamily="2" charset="-128"/>
                <a:cs typeface="CiscoSansJPN" pitchFamily="2" charset="-128"/>
              </a:rPr>
              <a:t> Mobility Management Cloud 9.2 or higher</a:t>
            </a:r>
          </a:p>
          <a:p>
            <a:pPr lvl="1"/>
            <a:r>
              <a:rPr lang="en-US" sz="1500" dirty="0">
                <a:latin typeface="CiscoSansJPN" pitchFamily="2" charset="-128"/>
                <a:ea typeface="CiscoSansJPN" pitchFamily="2" charset="-128"/>
                <a:cs typeface="CiscoSansJPN" pitchFamily="2" charset="-128"/>
              </a:rPr>
              <a:t>IBM MaaS360, </a:t>
            </a:r>
            <a:r>
              <a:rPr lang="en-US" sz="1500" dirty="0" err="1">
                <a:latin typeface="CiscoSansJPN" pitchFamily="2" charset="-128"/>
                <a:ea typeface="CiscoSansJPN" pitchFamily="2" charset="-128"/>
                <a:cs typeface="CiscoSansJPN" pitchFamily="2" charset="-128"/>
              </a:rPr>
              <a:t>Jamf</a:t>
            </a:r>
            <a:r>
              <a:rPr lang="en-US" sz="1500" dirty="0">
                <a:latin typeface="CiscoSansJPN" pitchFamily="2" charset="-128"/>
                <a:ea typeface="CiscoSansJPN" pitchFamily="2" charset="-128"/>
                <a:cs typeface="CiscoSansJPN" pitchFamily="2" charset="-128"/>
              </a:rPr>
              <a:t> Pro </a:t>
            </a:r>
          </a:p>
          <a:p>
            <a:pPr lvl="1"/>
            <a:r>
              <a:rPr lang="en-US" sz="1500" dirty="0">
                <a:latin typeface="CiscoSansJPN" pitchFamily="2" charset="-128"/>
                <a:ea typeface="CiscoSansJPN" pitchFamily="2" charset="-128"/>
                <a:cs typeface="CiscoSansJPN" pitchFamily="2" charset="-128"/>
              </a:rPr>
              <a:t>Generic MDM</a:t>
            </a:r>
          </a:p>
          <a:p>
            <a:r>
              <a:rPr lang="ja-JP" altLang="en-US" sz="1799">
                <a:latin typeface="CiscoSansJPN" pitchFamily="2" charset="-128"/>
                <a:ea typeface="CiscoSansJPN" pitchFamily="2" charset="-128"/>
                <a:cs typeface="CiscoSansJPN" pitchFamily="2" charset="-128"/>
              </a:rPr>
              <a:t>ブロック機能</a:t>
            </a:r>
            <a:r>
              <a:rPr lang="en-US" altLang="ja-JP" sz="1799" dirty="0">
                <a:latin typeface="CiscoSansJPN" pitchFamily="2" charset="-128"/>
                <a:ea typeface="CiscoSansJPN" pitchFamily="2" charset="-128"/>
                <a:cs typeface="CiscoSansJPN" pitchFamily="2" charset="-128"/>
              </a:rPr>
              <a:t> v1.1</a:t>
            </a:r>
            <a:r>
              <a:rPr lang="ja-JP" altLang="en-US" sz="1799">
                <a:latin typeface="CiscoSansJPN" pitchFamily="2" charset="-128"/>
                <a:ea typeface="CiscoSansJPN" pitchFamily="2" charset="-128"/>
                <a:cs typeface="CiscoSansJPN" pitchFamily="2" charset="-128"/>
              </a:rPr>
              <a:t>以降順次</a:t>
            </a:r>
            <a:endParaRPr lang="en-US" sz="1799" dirty="0">
              <a:latin typeface="CiscoSansJPN" pitchFamily="2" charset="-128"/>
              <a:ea typeface="CiscoSansJPN" pitchFamily="2" charset="-128"/>
              <a:cs typeface="CiscoSansJPN" pitchFamily="2" charset="-128"/>
            </a:endParaRPr>
          </a:p>
          <a:p>
            <a:pPr lvl="1"/>
            <a:r>
              <a:rPr lang="en-US" sz="1500" dirty="0">
                <a:latin typeface="CiscoSansJPN" pitchFamily="2" charset="-128"/>
                <a:ea typeface="CiscoSansJPN" pitchFamily="2" charset="-128"/>
                <a:cs typeface="CiscoSansJPN" pitchFamily="2" charset="-128"/>
              </a:rPr>
              <a:t>Network IP Block </a:t>
            </a:r>
          </a:p>
          <a:p>
            <a:pPr lvl="1"/>
            <a:r>
              <a:rPr lang="en-US" sz="1500" dirty="0">
                <a:latin typeface="CiscoSansJPN" pitchFamily="2" charset="-128"/>
                <a:ea typeface="CiscoSansJPN" pitchFamily="2" charset="-128"/>
                <a:cs typeface="CiscoSansJPN" pitchFamily="2" charset="-128"/>
              </a:rPr>
              <a:t>User Custom Blacklist/Whitelist</a:t>
            </a:r>
          </a:p>
          <a:p>
            <a:pPr lvl="1"/>
            <a:r>
              <a:rPr lang="en-US" sz="1500" dirty="0">
                <a:latin typeface="CiscoSansJPN" pitchFamily="2" charset="-128"/>
                <a:ea typeface="CiscoSansJPN" pitchFamily="2" charset="-128"/>
                <a:cs typeface="CiscoSansJPN" pitchFamily="2" charset="-128"/>
              </a:rPr>
              <a:t>Clarity Audit and Protect Policies</a:t>
            </a:r>
          </a:p>
          <a:p>
            <a:pPr lvl="1"/>
            <a:endParaRPr lang="en-US" sz="1500" dirty="0">
              <a:latin typeface="CiscoSansJPN" pitchFamily="2" charset="-128"/>
              <a:ea typeface="CiscoSansJPN" pitchFamily="2" charset="-128"/>
              <a:cs typeface="CiscoSansJPN" pitchFamily="2" charset="-128"/>
            </a:endParaRPr>
          </a:p>
        </p:txBody>
      </p:sp>
      <p:sp>
        <p:nvSpPr>
          <p:cNvPr id="3" name="Title 2"/>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r>
              <a:rPr lang="en-US" dirty="0">
                <a:latin typeface="CiscoSansJPN" pitchFamily="2" charset="-128"/>
                <a:ea typeface="CiscoSansJPN" pitchFamily="2" charset="-128"/>
                <a:cs typeface="CiscoSansJPN" pitchFamily="2" charset="-128"/>
              </a:rPr>
              <a:t>Cisco Security Connector (Clarity)</a:t>
            </a:r>
          </a:p>
        </p:txBody>
      </p:sp>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511596" y="3191503"/>
            <a:ext cx="4274516" cy="1045425"/>
          </a:xfrm>
          <a:prstGeom prst="rect">
            <a:avLst/>
          </a:prstGeom>
        </p:spPr>
      </p:pic>
      <p:pic>
        <p:nvPicPr>
          <p:cNvPr id="5" name="Picture 4"/>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30588" y="4129704"/>
            <a:ext cx="3913958" cy="678488"/>
          </a:xfrm>
          <a:prstGeom prst="rect">
            <a:avLst/>
          </a:prstGeom>
        </p:spPr>
      </p:pic>
      <p:pic>
        <p:nvPicPr>
          <p:cNvPr id="7"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69787" y="1644805"/>
            <a:ext cx="531259" cy="745142"/>
          </a:xfrm>
          <a:prstGeom prst="rect">
            <a:avLst/>
          </a:prstGeom>
        </p:spPr>
      </p:pic>
    </p:spTree>
    <p:extLst>
      <p:ext uri="{BB962C8B-B14F-4D97-AF65-F5344CB8AC3E}">
        <p14:creationId xmlns:p14="http://schemas.microsoft.com/office/powerpoint/2010/main" val="953236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ja-JP" altLang="en-US">
                <a:latin typeface="CiscoSansJPN" pitchFamily="2" charset="-128"/>
                <a:ea typeface="CiscoSansJPN" pitchFamily="2" charset="-128"/>
                <a:cs typeface="CiscoSansJPN" pitchFamily="2" charset="-128"/>
              </a:rPr>
              <a:t>継続的なポータルの機能拡張</a:t>
            </a:r>
            <a:r>
              <a:rPr lang="en-US" dirty="0">
                <a:latin typeface="CiscoSansJPN" pitchFamily="2" charset="-128"/>
                <a:ea typeface="CiscoSansJPN" pitchFamily="2" charset="-128"/>
                <a:cs typeface="CiscoSansJPN" pitchFamily="2" charset="-128"/>
              </a:rPr>
              <a:t>: </a:t>
            </a:r>
            <a:br>
              <a:rPr lang="en-US" dirty="0">
                <a:latin typeface="CiscoSansJPN" pitchFamily="2" charset="-128"/>
                <a:ea typeface="CiscoSansJPN" pitchFamily="2" charset="-128"/>
                <a:cs typeface="CiscoSansJPN" pitchFamily="2" charset="-128"/>
              </a:rPr>
            </a:br>
            <a:r>
              <a:rPr lang="ja-JP" altLang="en-US" sz="2000">
                <a:latin typeface="CiscoSansJPN" pitchFamily="2" charset="-128"/>
                <a:ea typeface="CiscoSansJPN" pitchFamily="2" charset="-128"/>
                <a:cs typeface="CiscoSansJPN" pitchFamily="2" charset="-128"/>
              </a:rPr>
              <a:t>ユーザビリティの向上</a:t>
            </a:r>
            <a:r>
              <a:rPr lang="en-US" sz="2000" dirty="0">
                <a:latin typeface="CiscoSansJPN" pitchFamily="2" charset="-128"/>
                <a:ea typeface="CiscoSansJPN" pitchFamily="2" charset="-128"/>
                <a:cs typeface="CiscoSansJPN" pitchFamily="2" charset="-128"/>
              </a:rPr>
              <a:t>: </a:t>
            </a:r>
            <a:r>
              <a:rPr lang="ja-JP" altLang="en-US" sz="2000">
                <a:latin typeface="CiscoSansJPN" pitchFamily="2" charset="-128"/>
                <a:ea typeface="CiscoSansJPN" pitchFamily="2" charset="-128"/>
                <a:cs typeface="CiscoSansJPN" pitchFamily="2" charset="-128"/>
              </a:rPr>
              <a:t>除外リストの管理</a:t>
            </a:r>
            <a:endParaRPr lang="en-US" sz="2000" dirty="0">
              <a:latin typeface="CiscoSansJPN" pitchFamily="2" charset="-128"/>
              <a:ea typeface="CiscoSansJPN" pitchFamily="2" charset="-128"/>
              <a:cs typeface="CiscoSansJPN" pitchFamily="2" charset="-128"/>
            </a:endParaRPr>
          </a:p>
        </p:txBody>
      </p:sp>
      <p:grpSp>
        <p:nvGrpSpPr>
          <p:cNvPr id="6" name="Group 5"/>
          <p:cNvGrpSpPr/>
          <p:nvPr/>
        </p:nvGrpSpPr>
        <p:grpSpPr>
          <a:xfrm>
            <a:off x="437762" y="1241658"/>
            <a:ext cx="4817631" cy="3060835"/>
            <a:chOff x="437764" y="1241659"/>
            <a:chExt cx="2738572" cy="1650377"/>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b="75181"/>
            <a:stretch/>
          </p:blipFill>
          <p:spPr>
            <a:xfrm>
              <a:off x="437765" y="1241659"/>
              <a:ext cx="2738571" cy="866274"/>
            </a:xfrm>
            <a:prstGeom prst="rect">
              <a:avLst/>
            </a:prstGeom>
          </p:spPr>
        </p:pic>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t="77535"/>
            <a:stretch/>
          </p:blipFill>
          <p:spPr>
            <a:xfrm>
              <a:off x="437764" y="2107933"/>
              <a:ext cx="2738571" cy="784103"/>
            </a:xfrm>
            <a:prstGeom prst="rect">
              <a:avLst/>
            </a:prstGeom>
          </p:spPr>
        </p:pic>
      </p:grpSp>
      <p:sp>
        <p:nvSpPr>
          <p:cNvPr id="8" name="Rectangle 7"/>
          <p:cNvSpPr/>
          <p:nvPr/>
        </p:nvSpPr>
        <p:spPr>
          <a:xfrm>
            <a:off x="1299411" y="4071486"/>
            <a:ext cx="1078029" cy="231007"/>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iscoSansJPN" pitchFamily="2" charset="-128"/>
              <a:ea typeface="CiscoSansJPN" pitchFamily="2" charset="-128"/>
              <a:cs typeface="CiscoSansJPN" pitchFamily="2" charset="-128"/>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8546" y="1371999"/>
            <a:ext cx="3304708" cy="2843062"/>
          </a:xfrm>
          <a:prstGeom prst="rect">
            <a:avLst/>
          </a:prstGeom>
        </p:spPr>
      </p:pic>
      <p:cxnSp>
        <p:nvCxnSpPr>
          <p:cNvPr id="10" name="Straight Arrow Connector 9"/>
          <p:cNvCxnSpPr/>
          <p:nvPr/>
        </p:nvCxnSpPr>
        <p:spPr>
          <a:xfrm flipV="1">
            <a:off x="2377440" y="3575383"/>
            <a:ext cx="3108960" cy="61160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6816633"/>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341313"/>
            <a:ext cx="8345488" cy="731837"/>
          </a:xfrm>
        </p:spPr>
        <p:txBody>
          <a:bodyPr/>
          <a:lstStyle/>
          <a:p>
            <a:r>
              <a:rPr lang="ja-JP" altLang="en-US"/>
              <a:t>継続的なポータルの機能拡張</a:t>
            </a:r>
            <a:r>
              <a:rPr lang="en-US" dirty="0"/>
              <a:t>:</a:t>
            </a:r>
            <a:br>
              <a:rPr lang="en-US" dirty="0"/>
            </a:br>
            <a:r>
              <a:rPr lang="ja-JP" altLang="en-US" sz="2000"/>
              <a:t>レポート機能</a:t>
            </a:r>
            <a:endParaRPr lang="en-US" sz="2000" dirty="0"/>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9703" y="3169326"/>
            <a:ext cx="1853500" cy="1572667"/>
          </a:xfrm>
          <a:prstGeom prst="rect">
            <a:avLst/>
          </a:prstGeom>
        </p:spPr>
      </p:pic>
      <p:sp>
        <p:nvSpPr>
          <p:cNvPr id="6" name="TextBox 5"/>
          <p:cNvSpPr txBox="1"/>
          <p:nvPr/>
        </p:nvSpPr>
        <p:spPr>
          <a:xfrm>
            <a:off x="681899" y="1026331"/>
            <a:ext cx="1754006" cy="369332"/>
          </a:xfrm>
          <a:prstGeom prst="rect">
            <a:avLst/>
          </a:prstGeom>
          <a:noFill/>
        </p:spPr>
        <p:txBody>
          <a:bodyPr wrap="none" rtlCol="0">
            <a:spAutoFit/>
          </a:bodyPr>
          <a:lstStyle/>
          <a:p>
            <a:r>
              <a:rPr lang="en-US" dirty="0">
                <a:latin typeface="+mn-lt"/>
              </a:rPr>
              <a:t>Threat Severity</a:t>
            </a:r>
          </a:p>
        </p:txBody>
      </p:sp>
      <p:sp>
        <p:nvSpPr>
          <p:cNvPr id="7" name="TextBox 6"/>
          <p:cNvSpPr txBox="1"/>
          <p:nvPr/>
        </p:nvSpPr>
        <p:spPr>
          <a:xfrm>
            <a:off x="3126377" y="1025025"/>
            <a:ext cx="3347391" cy="369332"/>
          </a:xfrm>
          <a:prstGeom prst="rect">
            <a:avLst/>
          </a:prstGeom>
          <a:noFill/>
        </p:spPr>
        <p:txBody>
          <a:bodyPr wrap="none" rtlCol="0">
            <a:spAutoFit/>
          </a:bodyPr>
          <a:lstStyle/>
          <a:p>
            <a:r>
              <a:rPr lang="en-US" dirty="0">
                <a:latin typeface="+mn-lt"/>
              </a:rPr>
              <a:t>New Weekly &amp; Monthly Report</a:t>
            </a:r>
          </a:p>
        </p:txBody>
      </p:sp>
      <p:sp>
        <p:nvSpPr>
          <p:cNvPr id="8" name="TextBox 7"/>
          <p:cNvSpPr txBox="1"/>
          <p:nvPr/>
        </p:nvSpPr>
        <p:spPr>
          <a:xfrm>
            <a:off x="6724552" y="1025025"/>
            <a:ext cx="1510350" cy="369332"/>
          </a:xfrm>
          <a:prstGeom prst="rect">
            <a:avLst/>
          </a:prstGeom>
          <a:noFill/>
        </p:spPr>
        <p:txBody>
          <a:bodyPr wrap="none" rtlCol="0">
            <a:spAutoFit/>
          </a:bodyPr>
          <a:lstStyle/>
          <a:p>
            <a:r>
              <a:rPr lang="en-US" dirty="0">
                <a:latin typeface="+mn-lt"/>
              </a:rPr>
              <a:t>AV Definition</a:t>
            </a: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3663" y="1357162"/>
            <a:ext cx="2695884" cy="3624328"/>
          </a:xfrm>
          <a:prstGeom prst="rect">
            <a:avLst/>
          </a:prstGeom>
        </p:spPr>
      </p:pic>
      <p:pic>
        <p:nvPicPr>
          <p:cNvPr id="10" name="Picture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10961" y="1394357"/>
            <a:ext cx="2933039" cy="3100641"/>
          </a:xfrm>
          <a:prstGeom prst="rect">
            <a:avLst/>
          </a:prstGeom>
        </p:spPr>
      </p:pic>
      <p:sp>
        <p:nvSpPr>
          <p:cNvPr id="11" name="TextBox 10"/>
          <p:cNvSpPr txBox="1"/>
          <p:nvPr/>
        </p:nvSpPr>
        <p:spPr>
          <a:xfrm>
            <a:off x="681899" y="2760011"/>
            <a:ext cx="2129109" cy="369332"/>
          </a:xfrm>
          <a:prstGeom prst="rect">
            <a:avLst/>
          </a:prstGeom>
          <a:noFill/>
        </p:spPr>
        <p:txBody>
          <a:bodyPr wrap="none" rtlCol="0">
            <a:spAutoFit/>
          </a:bodyPr>
          <a:lstStyle/>
          <a:p>
            <a:r>
              <a:rPr lang="en-US" dirty="0">
                <a:latin typeface="+mn-lt"/>
              </a:rPr>
              <a:t>Granular Reporting</a:t>
            </a:r>
          </a:p>
        </p:txBody>
      </p:sp>
      <p:pic>
        <p:nvPicPr>
          <p:cNvPr id="12" name="Picture 1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1898" y="1394357"/>
            <a:ext cx="2201845" cy="1325671"/>
          </a:xfrm>
          <a:prstGeom prst="rect">
            <a:avLst/>
          </a:prstGeom>
        </p:spPr>
      </p:pic>
    </p:spTree>
    <p:extLst>
      <p:ext uri="{BB962C8B-B14F-4D97-AF65-F5344CB8AC3E}">
        <p14:creationId xmlns:p14="http://schemas.microsoft.com/office/powerpoint/2010/main" val="416462609"/>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37766" y="341313"/>
            <a:ext cx="8345488" cy="731837"/>
          </a:xfrm>
        </p:spPr>
        <p:txBody>
          <a:bodyPr/>
          <a:lstStyle/>
          <a:p>
            <a:r>
              <a:rPr lang="ja-JP" altLang="en-US"/>
              <a:t>継続的なポータルの機能拡張</a:t>
            </a:r>
            <a:r>
              <a:rPr lang="en-US" dirty="0"/>
              <a:t>:</a:t>
            </a:r>
            <a:br>
              <a:rPr lang="en-US" dirty="0"/>
            </a:br>
            <a:r>
              <a:rPr lang="ja-JP" altLang="en-US" sz="2000"/>
              <a:t>ベータ機能</a:t>
            </a:r>
            <a:endParaRPr lang="en-US" sz="2000" dirty="0"/>
          </a:p>
        </p:txBody>
      </p:sp>
      <p:pic>
        <p:nvPicPr>
          <p:cNvPr id="4" name="図 3">
            <a:extLst>
              <a:ext uri="{FF2B5EF4-FFF2-40B4-BE49-F238E27FC236}">
                <a16:creationId xmlns:a16="http://schemas.microsoft.com/office/drawing/2014/main" id="{61C5F401-42EE-5A43-985A-6B298270D21F}"/>
              </a:ext>
            </a:extLst>
          </p:cNvPr>
          <p:cNvPicPr>
            <a:picLocks noChangeAspect="1"/>
          </p:cNvPicPr>
          <p:nvPr/>
        </p:nvPicPr>
        <p:blipFill>
          <a:blip r:embed="rId3"/>
          <a:stretch>
            <a:fillRect/>
          </a:stretch>
        </p:blipFill>
        <p:spPr>
          <a:xfrm>
            <a:off x="4948369" y="870012"/>
            <a:ext cx="4195631" cy="4273488"/>
          </a:xfrm>
          <a:prstGeom prst="rect">
            <a:avLst/>
          </a:prstGeom>
        </p:spPr>
      </p:pic>
      <p:sp>
        <p:nvSpPr>
          <p:cNvPr id="13" name="テキスト ボックス 12">
            <a:extLst>
              <a:ext uri="{FF2B5EF4-FFF2-40B4-BE49-F238E27FC236}">
                <a16:creationId xmlns:a16="http://schemas.microsoft.com/office/drawing/2014/main" id="{7A3218A2-3EAA-0943-98F4-0EFD10522565}"/>
              </a:ext>
            </a:extLst>
          </p:cNvPr>
          <p:cNvSpPr txBox="1"/>
          <p:nvPr/>
        </p:nvSpPr>
        <p:spPr>
          <a:xfrm>
            <a:off x="321781" y="1855432"/>
            <a:ext cx="4493538" cy="2308324"/>
          </a:xfrm>
          <a:prstGeom prst="rect">
            <a:avLst/>
          </a:prstGeom>
          <a:noFill/>
        </p:spPr>
        <p:txBody>
          <a:bodyPr wrap="none" rtlCol="0">
            <a:spAutoFit/>
          </a:bodyPr>
          <a:lstStyle/>
          <a:p>
            <a:r>
              <a:rPr kumimoji="1" lang="ja-JP" altLang="en-US" sz="1600">
                <a:latin typeface="CiscoSansJPN" pitchFamily="2" charset="-128"/>
                <a:ea typeface="CiscoSansJPN" pitchFamily="2" charset="-128"/>
                <a:cs typeface="CiscoSansJPN" pitchFamily="2" charset="-128"/>
              </a:rPr>
              <a:t>管理＞ベータ機能</a:t>
            </a:r>
            <a:endParaRPr kumimoji="1" lang="en-US" altLang="ja-JP" sz="1600" dirty="0">
              <a:latin typeface="CiscoSansJPN" pitchFamily="2" charset="-128"/>
              <a:ea typeface="CiscoSansJPN" pitchFamily="2" charset="-128"/>
              <a:cs typeface="CiscoSansJPN" pitchFamily="2" charset="-128"/>
            </a:endParaRPr>
          </a:p>
          <a:p>
            <a:r>
              <a:rPr kumimoji="1" lang="ja-JP" altLang="en-US" sz="1600">
                <a:latin typeface="CiscoSansJPN" pitchFamily="2" charset="-128"/>
                <a:ea typeface="CiscoSansJPN" pitchFamily="2" charset="-128"/>
                <a:cs typeface="CiscoSansJPN" pitchFamily="2" charset="-128"/>
              </a:rPr>
              <a:t>今後実装される新機能を予め</a:t>
            </a:r>
            <a:endParaRPr kumimoji="1" lang="en-US" altLang="ja-JP" sz="1600" dirty="0">
              <a:latin typeface="CiscoSansJPN" pitchFamily="2" charset="-128"/>
              <a:ea typeface="CiscoSansJPN" pitchFamily="2" charset="-128"/>
              <a:cs typeface="CiscoSansJPN" pitchFamily="2" charset="-128"/>
            </a:endParaRPr>
          </a:p>
          <a:p>
            <a:r>
              <a:rPr kumimoji="1" lang="ja-JP" altLang="en-US" sz="1600">
                <a:latin typeface="CiscoSansJPN" pitchFamily="2" charset="-128"/>
                <a:ea typeface="CiscoSansJPN" pitchFamily="2" charset="-128"/>
                <a:cs typeface="CiscoSansJPN" pitchFamily="2" charset="-128"/>
              </a:rPr>
              <a:t>お試しいただけます</a:t>
            </a:r>
            <a:endParaRPr kumimoji="1" lang="en-US" altLang="ja-JP" sz="1600" dirty="0">
              <a:latin typeface="CiscoSansJPN" pitchFamily="2" charset="-128"/>
              <a:ea typeface="CiscoSansJPN" pitchFamily="2" charset="-128"/>
              <a:cs typeface="CiscoSansJPN" pitchFamily="2" charset="-128"/>
            </a:endParaRPr>
          </a:p>
          <a:p>
            <a:r>
              <a:rPr kumimoji="1" lang="ja-JP" altLang="en-US" sz="1600">
                <a:latin typeface="CiscoSansJPN" pitchFamily="2" charset="-128"/>
                <a:ea typeface="CiscoSansJPN" pitchFamily="2" charset="-128"/>
                <a:cs typeface="CiscoSansJPN" pitchFamily="2" charset="-128"/>
              </a:rPr>
              <a:t>また英語になりますがフィードバックも</a:t>
            </a:r>
            <a:endParaRPr kumimoji="1" lang="en-US" altLang="ja-JP" sz="1600" dirty="0">
              <a:latin typeface="CiscoSansJPN" pitchFamily="2" charset="-128"/>
              <a:ea typeface="CiscoSansJPN" pitchFamily="2" charset="-128"/>
              <a:cs typeface="CiscoSansJPN" pitchFamily="2" charset="-128"/>
            </a:endParaRPr>
          </a:p>
          <a:p>
            <a:r>
              <a:rPr kumimoji="1" lang="ja-JP" altLang="en-US" sz="1600">
                <a:latin typeface="CiscoSansJPN" pitchFamily="2" charset="-128"/>
                <a:ea typeface="CiscoSansJPN" pitchFamily="2" charset="-128"/>
                <a:cs typeface="CiscoSansJPN" pitchFamily="2" charset="-128"/>
              </a:rPr>
              <a:t>受け付けておりますので、是非お試しいただき</a:t>
            </a:r>
            <a:endParaRPr kumimoji="1" lang="en-US" altLang="ja-JP" sz="1600" dirty="0">
              <a:latin typeface="CiscoSansJPN" pitchFamily="2" charset="-128"/>
              <a:ea typeface="CiscoSansJPN" pitchFamily="2" charset="-128"/>
              <a:cs typeface="CiscoSansJPN" pitchFamily="2" charset="-128"/>
            </a:endParaRPr>
          </a:p>
          <a:p>
            <a:r>
              <a:rPr kumimoji="1" lang="ja-JP" altLang="en-US" sz="1600">
                <a:latin typeface="CiscoSansJPN" pitchFamily="2" charset="-128"/>
                <a:ea typeface="CiscoSansJPN" pitchFamily="2" charset="-128"/>
                <a:cs typeface="CiscoSansJPN" pitchFamily="2" charset="-128"/>
              </a:rPr>
              <a:t>ご意見をいただければと思います</a:t>
            </a:r>
            <a:endParaRPr kumimoji="1" lang="en-US" altLang="ja-JP" sz="1600" dirty="0">
              <a:latin typeface="CiscoSansJPN" pitchFamily="2" charset="-128"/>
              <a:ea typeface="CiscoSansJPN" pitchFamily="2" charset="-128"/>
              <a:cs typeface="CiscoSansJPN" pitchFamily="2" charset="-128"/>
            </a:endParaRPr>
          </a:p>
          <a:p>
            <a:r>
              <a:rPr kumimoji="1" lang="ja-JP" altLang="en-US" sz="1600">
                <a:latin typeface="CiscoSansJPN" pitchFamily="2" charset="-128"/>
                <a:ea typeface="CiscoSansJPN" pitchFamily="2" charset="-128"/>
                <a:cs typeface="CiscoSansJPN" pitchFamily="2" charset="-128"/>
              </a:rPr>
              <a:t>（私に言っていただいても結構です）</a:t>
            </a:r>
            <a:endParaRPr kumimoji="1" lang="en-US" altLang="ja-JP" sz="1600" dirty="0">
              <a:latin typeface="CiscoSansJPN" pitchFamily="2" charset="-128"/>
              <a:ea typeface="CiscoSansJPN" pitchFamily="2" charset="-128"/>
              <a:cs typeface="CiscoSansJPN" pitchFamily="2" charset="-128"/>
            </a:endParaRPr>
          </a:p>
          <a:p>
            <a:pPr marL="285750" indent="-285750">
              <a:buFont typeface="Arial" panose="020B0604020202020204" pitchFamily="34" charset="0"/>
              <a:buChar char="•"/>
            </a:pPr>
            <a:r>
              <a:rPr kumimoji="1" lang="en-US" altLang="ja-JP" sz="1600" dirty="0">
                <a:latin typeface="CiscoSansJPN" pitchFamily="2" charset="-128"/>
                <a:ea typeface="CiscoSansJPN" pitchFamily="2" charset="-128"/>
                <a:cs typeface="CiscoSansJPN" pitchFamily="2" charset="-128"/>
              </a:rPr>
              <a:t>Device</a:t>
            </a:r>
            <a:r>
              <a:rPr kumimoji="1" lang="ja-JP" altLang="en-US" sz="1600">
                <a:latin typeface="CiscoSansJPN" pitchFamily="2" charset="-128"/>
                <a:ea typeface="CiscoSansJPN" pitchFamily="2" charset="-128"/>
                <a:cs typeface="CiscoSansJPN" pitchFamily="2" charset="-128"/>
              </a:rPr>
              <a:t> </a:t>
            </a:r>
            <a:r>
              <a:rPr kumimoji="1" lang="en-US" altLang="ja-JP" sz="1600" dirty="0">
                <a:latin typeface="CiscoSansJPN" pitchFamily="2" charset="-128"/>
                <a:ea typeface="CiscoSansJPN" pitchFamily="2" charset="-128"/>
                <a:cs typeface="CiscoSansJPN" pitchFamily="2" charset="-128"/>
              </a:rPr>
              <a:t>Trajectory</a:t>
            </a:r>
            <a:r>
              <a:rPr kumimoji="1" lang="ja-JP" altLang="en-US" sz="1600">
                <a:latin typeface="CiscoSansJPN" pitchFamily="2" charset="-128"/>
                <a:ea typeface="CiscoSansJPN" pitchFamily="2" charset="-128"/>
                <a:cs typeface="CiscoSansJPN" pitchFamily="2" charset="-128"/>
              </a:rPr>
              <a:t> </a:t>
            </a:r>
            <a:r>
              <a:rPr kumimoji="1" lang="en-US" altLang="ja-JP" sz="1600" dirty="0">
                <a:latin typeface="CiscoSansJPN" pitchFamily="2" charset="-128"/>
                <a:ea typeface="CiscoSansJPN" pitchFamily="2" charset="-128"/>
                <a:cs typeface="CiscoSansJPN" pitchFamily="2" charset="-128"/>
              </a:rPr>
              <a:t>2</a:t>
            </a:r>
          </a:p>
          <a:p>
            <a:pPr marL="285750" indent="-285750">
              <a:buFont typeface="Arial" panose="020B0604020202020204" pitchFamily="34" charset="0"/>
              <a:buChar char="•"/>
            </a:pPr>
            <a:r>
              <a:rPr kumimoji="1" lang="en-US" altLang="ja-JP" sz="1600" strike="sngStrike" dirty="0">
                <a:latin typeface="CiscoSansJPN" pitchFamily="2" charset="-128"/>
                <a:ea typeface="CiscoSansJPN" pitchFamily="2" charset="-128"/>
                <a:cs typeface="CiscoSansJPN" pitchFamily="2" charset="-128"/>
              </a:rPr>
              <a:t>Threat</a:t>
            </a:r>
            <a:r>
              <a:rPr kumimoji="1" lang="ja-JP" altLang="en-US" sz="1600" strike="sngStrike">
                <a:latin typeface="CiscoSansJPN" pitchFamily="2" charset="-128"/>
                <a:ea typeface="CiscoSansJPN" pitchFamily="2" charset="-128"/>
                <a:cs typeface="CiscoSansJPN" pitchFamily="2" charset="-128"/>
              </a:rPr>
              <a:t> </a:t>
            </a:r>
            <a:r>
              <a:rPr kumimoji="1" lang="en-US" altLang="ja-JP" sz="1600" strike="sngStrike" dirty="0">
                <a:latin typeface="CiscoSansJPN" pitchFamily="2" charset="-128"/>
                <a:ea typeface="CiscoSansJPN" pitchFamily="2" charset="-128"/>
                <a:cs typeface="CiscoSansJPN" pitchFamily="2" charset="-128"/>
              </a:rPr>
              <a:t>Severity</a:t>
            </a:r>
            <a:endParaRPr kumimoji="1" lang="ja-JP" altLang="en-US" sz="1600" strike="sngStrike" dirty="0">
              <a:latin typeface="CiscoSansJPN" pitchFamily="2" charset="-128"/>
              <a:ea typeface="CiscoSansJPN" pitchFamily="2" charset="-128"/>
              <a:cs typeface="CiscoSansJPN" pitchFamily="2" charset="-128"/>
            </a:endParaRPr>
          </a:p>
        </p:txBody>
      </p:sp>
      <p:sp>
        <p:nvSpPr>
          <p:cNvPr id="2" name="円形吹き出し 1">
            <a:extLst>
              <a:ext uri="{FF2B5EF4-FFF2-40B4-BE49-F238E27FC236}">
                <a16:creationId xmlns:a16="http://schemas.microsoft.com/office/drawing/2014/main" id="{9F7A18B2-BFAE-764F-8410-FEA85168A6C8}"/>
              </a:ext>
            </a:extLst>
          </p:cNvPr>
          <p:cNvSpPr/>
          <p:nvPr/>
        </p:nvSpPr>
        <p:spPr>
          <a:xfrm>
            <a:off x="2576223" y="4163756"/>
            <a:ext cx="1478942" cy="384390"/>
          </a:xfrm>
          <a:prstGeom prst="wedgeEllipseCallout">
            <a:avLst>
              <a:gd name="adj1" fmla="val -78898"/>
              <a:gd name="adj2" fmla="val -80230"/>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GA</a:t>
            </a:r>
            <a:endParaRPr kumimoji="1" lang="ja-JP" altLang="en-US" dirty="0"/>
          </a:p>
        </p:txBody>
      </p:sp>
    </p:spTree>
    <p:extLst>
      <p:ext uri="{BB962C8B-B14F-4D97-AF65-F5344CB8AC3E}">
        <p14:creationId xmlns:p14="http://schemas.microsoft.com/office/powerpoint/2010/main" val="2212271103"/>
      </p:ext>
    </p:extLst>
  </p:cSld>
  <p:clrMapOvr>
    <a:masterClrMapping/>
  </p:clrMapOvr>
  <p:transition spd="med">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638432-26E5-CC41-AC45-813CC40EBB43}"/>
              </a:ext>
            </a:extLst>
          </p:cNvPr>
          <p:cNvSpPr>
            <a:spLocks noGrp="1"/>
          </p:cNvSpPr>
          <p:nvPr>
            <p:ph type="title"/>
          </p:nvPr>
        </p:nvSpPr>
        <p:spPr/>
        <p:txBody>
          <a:bodyPr/>
          <a:lstStyle/>
          <a:p>
            <a:r>
              <a:rPr kumimoji="1" lang="en-US" altLang="ja-JP" dirty="0">
                <a:latin typeface="CiscoSansJPN" pitchFamily="2" charset="-128"/>
                <a:ea typeface="CiscoSansJPN" pitchFamily="2" charset="-128"/>
                <a:cs typeface="CiscoSansJPN" pitchFamily="2" charset="-128"/>
              </a:rPr>
              <a:t>11</a:t>
            </a:r>
            <a:r>
              <a:rPr kumimoji="1" lang="ja-JP" altLang="en-US">
                <a:latin typeface="CiscoSansJPN" pitchFamily="2" charset="-128"/>
                <a:ea typeface="CiscoSansJPN" pitchFamily="2" charset="-128"/>
                <a:cs typeface="CiscoSansJPN" pitchFamily="2" charset="-128"/>
              </a:rPr>
              <a:t>月</a:t>
            </a:r>
            <a:r>
              <a:rPr kumimoji="1" lang="en-US" altLang="ja-JP" dirty="0">
                <a:latin typeface="CiscoSansJPN" pitchFamily="2" charset="-128"/>
                <a:ea typeface="CiscoSansJPN" pitchFamily="2" charset="-128"/>
                <a:cs typeface="CiscoSansJPN" pitchFamily="2" charset="-128"/>
              </a:rPr>
              <a:t>27</a:t>
            </a:r>
            <a:r>
              <a:rPr kumimoji="1" lang="ja-JP" altLang="en-US">
                <a:latin typeface="CiscoSansJPN" pitchFamily="2" charset="-128"/>
                <a:ea typeface="CiscoSansJPN" pitchFamily="2" charset="-128"/>
                <a:cs typeface="CiscoSansJPN" pitchFamily="2" charset="-128"/>
              </a:rPr>
              <a:t>日に追加された新機能</a:t>
            </a:r>
          </a:p>
        </p:txBody>
      </p:sp>
      <p:pic>
        <p:nvPicPr>
          <p:cNvPr id="4" name="図 3">
            <a:extLst>
              <a:ext uri="{FF2B5EF4-FFF2-40B4-BE49-F238E27FC236}">
                <a16:creationId xmlns:a16="http://schemas.microsoft.com/office/drawing/2014/main" id="{60A41051-E589-9247-8C5D-3B28E25F5B13}"/>
              </a:ext>
            </a:extLst>
          </p:cNvPr>
          <p:cNvPicPr>
            <a:picLocks noChangeAspect="1"/>
          </p:cNvPicPr>
          <p:nvPr/>
        </p:nvPicPr>
        <p:blipFill>
          <a:blip r:embed="rId2"/>
          <a:stretch>
            <a:fillRect/>
          </a:stretch>
        </p:blipFill>
        <p:spPr>
          <a:xfrm>
            <a:off x="2020186" y="2035264"/>
            <a:ext cx="7123814" cy="2655309"/>
          </a:xfrm>
          <a:prstGeom prst="rect">
            <a:avLst/>
          </a:prstGeom>
        </p:spPr>
      </p:pic>
      <p:sp>
        <p:nvSpPr>
          <p:cNvPr id="5" name="テキスト ボックス 4">
            <a:extLst>
              <a:ext uri="{FF2B5EF4-FFF2-40B4-BE49-F238E27FC236}">
                <a16:creationId xmlns:a16="http://schemas.microsoft.com/office/drawing/2014/main" id="{6E47A287-A12B-B140-9F56-2FA7CACCDD2C}"/>
              </a:ext>
            </a:extLst>
          </p:cNvPr>
          <p:cNvSpPr txBox="1"/>
          <p:nvPr/>
        </p:nvSpPr>
        <p:spPr>
          <a:xfrm>
            <a:off x="1158949" y="1031358"/>
            <a:ext cx="7109639" cy="646331"/>
          </a:xfrm>
          <a:prstGeom prst="rect">
            <a:avLst/>
          </a:prstGeom>
          <a:noFill/>
        </p:spPr>
        <p:txBody>
          <a:bodyPr wrap="none" rtlCol="0">
            <a:spAutoFit/>
          </a:bodyPr>
          <a:lstStyle/>
          <a:p>
            <a:r>
              <a:rPr kumimoji="1" lang="en-US" altLang="ja-JP" dirty="0">
                <a:latin typeface="CiscoSansJPN" pitchFamily="2" charset="-128"/>
                <a:ea typeface="CiscoSansJPN" pitchFamily="2" charset="-128"/>
                <a:cs typeface="CiscoSansJPN" pitchFamily="2" charset="-128"/>
              </a:rPr>
              <a:t>Connector</a:t>
            </a:r>
            <a:r>
              <a:rPr kumimoji="1" lang="ja-JP" altLang="en-US">
                <a:latin typeface="CiscoSansJPN" pitchFamily="2" charset="-128"/>
                <a:ea typeface="CiscoSansJPN" pitchFamily="2" charset="-128"/>
                <a:cs typeface="CiscoSansJPN" pitchFamily="2" charset="-128"/>
              </a:rPr>
              <a:t> </a:t>
            </a:r>
            <a:r>
              <a:rPr kumimoji="1" lang="en-US" altLang="ja-JP" dirty="0">
                <a:latin typeface="CiscoSansJPN" pitchFamily="2" charset="-128"/>
                <a:ea typeface="CiscoSansJPN" pitchFamily="2" charset="-128"/>
                <a:cs typeface="CiscoSansJPN" pitchFamily="2" charset="-128"/>
              </a:rPr>
              <a:t>Diagnostics</a:t>
            </a:r>
          </a:p>
          <a:p>
            <a:r>
              <a:rPr kumimoji="1" lang="ja-JP" altLang="en-US">
                <a:latin typeface="CiscoSansJPN" pitchFamily="2" charset="-128"/>
                <a:ea typeface="CiscoSansJPN" pitchFamily="2" charset="-128"/>
                <a:cs typeface="CiscoSansJPN" pitchFamily="2" charset="-128"/>
              </a:rPr>
              <a:t>管理者からリモート操作でデバッグの為のファイルを取得する機能</a:t>
            </a:r>
            <a:endParaRPr kumimoji="1" lang="ja-JP" altLang="en-US" dirty="0">
              <a:latin typeface="CiscoSansJPN" pitchFamily="2" charset="-128"/>
              <a:ea typeface="CiscoSansJPN" pitchFamily="2" charset="-128"/>
              <a:cs typeface="CiscoSansJPN" pitchFamily="2" charset="-128"/>
            </a:endParaRPr>
          </a:p>
        </p:txBody>
      </p:sp>
    </p:spTree>
    <p:extLst>
      <p:ext uri="{BB962C8B-B14F-4D97-AF65-F5344CB8AC3E}">
        <p14:creationId xmlns:p14="http://schemas.microsoft.com/office/powerpoint/2010/main" val="1517580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5B207D1D-F924-8440-9B7D-2E25227A9F78}"/>
              </a:ext>
            </a:extLst>
          </p:cNvPr>
          <p:cNvSpPr>
            <a:spLocks noGrp="1"/>
          </p:cNvSpPr>
          <p:nvPr>
            <p:ph type="body" sz="quarter" idx="10"/>
          </p:nvPr>
        </p:nvSpPr>
        <p:spPr/>
        <p:txBody>
          <a:bodyPr/>
          <a:lstStyle/>
          <a:p>
            <a:r>
              <a:rPr kumimoji="1" lang="en-US" altLang="ja-JP" dirty="0"/>
              <a:t>10</a:t>
            </a:r>
            <a:r>
              <a:rPr kumimoji="1" lang="ja-JP" altLang="en-US"/>
              <a:t>月に実施されたグローバルトレーニングの情報を元に</a:t>
            </a:r>
            <a:r>
              <a:rPr kumimoji="1" lang="en-US" altLang="ja-JP" dirty="0"/>
              <a:t>ATS</a:t>
            </a:r>
            <a:r>
              <a:rPr kumimoji="1" lang="ja-JP" altLang="en-US"/>
              <a:t>（</a:t>
            </a:r>
            <a:r>
              <a:rPr kumimoji="1" lang="en-US" altLang="ja-JP" dirty="0"/>
              <a:t>AMP/TG/Cognitive Intelligence&lt;</a:t>
            </a:r>
            <a:r>
              <a:rPr kumimoji="1" lang="ja-JP" altLang="en-US"/>
              <a:t>旧</a:t>
            </a:r>
            <a:r>
              <a:rPr kumimoji="1" lang="en-US" altLang="ja-JP" dirty="0"/>
              <a:t>CTA&gt;</a:t>
            </a:r>
            <a:r>
              <a:rPr kumimoji="1" lang="ja-JP" altLang="en-US"/>
              <a:t>）の最新情報をお届けいたします</a:t>
            </a:r>
          </a:p>
        </p:txBody>
      </p:sp>
      <p:sp>
        <p:nvSpPr>
          <p:cNvPr id="3" name="タイトル 2">
            <a:extLst>
              <a:ext uri="{FF2B5EF4-FFF2-40B4-BE49-F238E27FC236}">
                <a16:creationId xmlns:a16="http://schemas.microsoft.com/office/drawing/2014/main" id="{520EA8FB-D2FF-484C-8C0E-D2E5887B722D}"/>
              </a:ext>
            </a:extLst>
          </p:cNvPr>
          <p:cNvSpPr>
            <a:spLocks noGrp="1"/>
          </p:cNvSpPr>
          <p:nvPr>
            <p:ph type="ctrTitle"/>
          </p:nvPr>
        </p:nvSpPr>
        <p:spPr/>
        <p:txBody>
          <a:bodyPr/>
          <a:lstStyle/>
          <a:p>
            <a:r>
              <a:rPr kumimoji="1" lang="ja-JP" altLang="en-US"/>
              <a:t>本セッションは</a:t>
            </a:r>
          </a:p>
        </p:txBody>
      </p:sp>
      <p:pic>
        <p:nvPicPr>
          <p:cNvPr id="5" name="図 4">
            <a:extLst>
              <a:ext uri="{FF2B5EF4-FFF2-40B4-BE49-F238E27FC236}">
                <a16:creationId xmlns:a16="http://schemas.microsoft.com/office/drawing/2014/main" id="{F23B4ADE-5F12-CC44-BDFF-11BD14FED194}"/>
              </a:ext>
            </a:extLst>
          </p:cNvPr>
          <p:cNvPicPr>
            <a:picLocks noChangeAspect="1"/>
          </p:cNvPicPr>
          <p:nvPr/>
        </p:nvPicPr>
        <p:blipFill>
          <a:blip r:embed="rId2"/>
          <a:stretch>
            <a:fillRect/>
          </a:stretch>
        </p:blipFill>
        <p:spPr>
          <a:xfrm>
            <a:off x="4536831" y="2296369"/>
            <a:ext cx="3570136" cy="1993799"/>
          </a:xfrm>
          <a:prstGeom prst="rect">
            <a:avLst/>
          </a:prstGeom>
        </p:spPr>
      </p:pic>
    </p:spTree>
    <p:extLst>
      <p:ext uri="{BB962C8B-B14F-4D97-AF65-F5344CB8AC3E}">
        <p14:creationId xmlns:p14="http://schemas.microsoft.com/office/powerpoint/2010/main" val="636649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C9638432-26E5-CC41-AC45-813CC40EBB43}"/>
              </a:ext>
            </a:extLst>
          </p:cNvPr>
          <p:cNvSpPr>
            <a:spLocks noGrp="1"/>
          </p:cNvSpPr>
          <p:nvPr>
            <p:ph type="title"/>
          </p:nvPr>
        </p:nvSpPr>
        <p:spPr/>
        <p:txBody>
          <a:bodyPr/>
          <a:lstStyle/>
          <a:p>
            <a:r>
              <a:rPr kumimoji="1" lang="en-US" altLang="ja-JP" dirty="0">
                <a:latin typeface="CiscoSansJPN" pitchFamily="2" charset="-128"/>
                <a:ea typeface="CiscoSansJPN" pitchFamily="2" charset="-128"/>
                <a:cs typeface="CiscoSansJPN" pitchFamily="2" charset="-128"/>
              </a:rPr>
              <a:t>11</a:t>
            </a:r>
            <a:r>
              <a:rPr kumimoji="1" lang="ja-JP" altLang="en-US">
                <a:latin typeface="CiscoSansJPN" pitchFamily="2" charset="-128"/>
                <a:ea typeface="CiscoSansJPN" pitchFamily="2" charset="-128"/>
                <a:cs typeface="CiscoSansJPN" pitchFamily="2" charset="-128"/>
              </a:rPr>
              <a:t>月</a:t>
            </a:r>
            <a:r>
              <a:rPr kumimoji="1" lang="en-US" altLang="ja-JP" dirty="0">
                <a:latin typeface="CiscoSansJPN" pitchFamily="2" charset="-128"/>
                <a:ea typeface="CiscoSansJPN" pitchFamily="2" charset="-128"/>
                <a:cs typeface="CiscoSansJPN" pitchFamily="2" charset="-128"/>
              </a:rPr>
              <a:t>27</a:t>
            </a:r>
            <a:r>
              <a:rPr kumimoji="1" lang="ja-JP" altLang="en-US">
                <a:latin typeface="CiscoSansJPN" pitchFamily="2" charset="-128"/>
                <a:ea typeface="CiscoSansJPN" pitchFamily="2" charset="-128"/>
                <a:cs typeface="CiscoSansJPN" pitchFamily="2" charset="-128"/>
              </a:rPr>
              <a:t>日に追加された新機能</a:t>
            </a:r>
          </a:p>
        </p:txBody>
      </p:sp>
      <p:sp>
        <p:nvSpPr>
          <p:cNvPr id="5" name="テキスト ボックス 4">
            <a:extLst>
              <a:ext uri="{FF2B5EF4-FFF2-40B4-BE49-F238E27FC236}">
                <a16:creationId xmlns:a16="http://schemas.microsoft.com/office/drawing/2014/main" id="{6E47A287-A12B-B140-9F56-2FA7CACCDD2C}"/>
              </a:ext>
            </a:extLst>
          </p:cNvPr>
          <p:cNvSpPr txBox="1"/>
          <p:nvPr/>
        </p:nvSpPr>
        <p:spPr>
          <a:xfrm>
            <a:off x="223284" y="967562"/>
            <a:ext cx="3785011" cy="1200329"/>
          </a:xfrm>
          <a:prstGeom prst="rect">
            <a:avLst/>
          </a:prstGeom>
          <a:noFill/>
        </p:spPr>
        <p:txBody>
          <a:bodyPr wrap="none" rtlCol="0">
            <a:spAutoFit/>
          </a:bodyPr>
          <a:lstStyle/>
          <a:p>
            <a:r>
              <a:rPr kumimoji="1" lang="en-US" altLang="ja-JP" dirty="0">
                <a:latin typeface="CiscoSansJPN" pitchFamily="2" charset="-128"/>
                <a:ea typeface="CiscoSansJPN" pitchFamily="2" charset="-128"/>
                <a:cs typeface="CiscoSansJPN" pitchFamily="2" charset="-128"/>
              </a:rPr>
              <a:t>Exclusion</a:t>
            </a:r>
            <a:r>
              <a:rPr kumimoji="1" lang="ja-JP" altLang="en-US">
                <a:latin typeface="CiscoSansJPN" pitchFamily="2" charset="-128"/>
                <a:ea typeface="CiscoSansJPN" pitchFamily="2" charset="-128"/>
                <a:cs typeface="CiscoSansJPN" pitchFamily="2" charset="-128"/>
              </a:rPr>
              <a:t> </a:t>
            </a:r>
            <a:r>
              <a:rPr kumimoji="1" lang="en-US" altLang="ja-JP" dirty="0">
                <a:latin typeface="CiscoSansJPN" pitchFamily="2" charset="-128"/>
                <a:ea typeface="CiscoSansJPN" pitchFamily="2" charset="-128"/>
                <a:cs typeface="CiscoSansJPN" pitchFamily="2" charset="-128"/>
              </a:rPr>
              <a:t>List</a:t>
            </a:r>
          </a:p>
          <a:p>
            <a:r>
              <a:rPr kumimoji="1" lang="en-US" altLang="ja-JP" dirty="0">
                <a:latin typeface="CiscoSansJPN" pitchFamily="2" charset="-128"/>
                <a:ea typeface="CiscoSansJPN" pitchFamily="2" charset="-128"/>
                <a:cs typeface="CiscoSansJPN" pitchFamily="2" charset="-128"/>
              </a:rPr>
              <a:t>Cisco</a:t>
            </a:r>
            <a:r>
              <a:rPr kumimoji="1" lang="ja-JP" altLang="en-US">
                <a:latin typeface="CiscoSansJPN" pitchFamily="2" charset="-128"/>
                <a:ea typeface="CiscoSansJPN" pitchFamily="2" charset="-128"/>
                <a:cs typeface="CiscoSansJPN" pitchFamily="2" charset="-128"/>
              </a:rPr>
              <a:t>提供の除外リストと</a:t>
            </a:r>
            <a:endParaRPr kumimoji="1" lang="en-US" altLang="ja-JP" dirty="0">
              <a:latin typeface="CiscoSansJPN" pitchFamily="2" charset="-128"/>
              <a:ea typeface="CiscoSansJPN" pitchFamily="2" charset="-128"/>
              <a:cs typeface="CiscoSansJPN" pitchFamily="2" charset="-128"/>
            </a:endParaRPr>
          </a:p>
          <a:p>
            <a:r>
              <a:rPr kumimoji="1" lang="ja-JP" altLang="en-US">
                <a:latin typeface="CiscoSansJPN" pitchFamily="2" charset="-128"/>
                <a:ea typeface="CiscoSansJPN" pitchFamily="2" charset="-128"/>
                <a:cs typeface="CiscoSansJPN" pitchFamily="2" charset="-128"/>
              </a:rPr>
              <a:t>お客様ご自身で運用するカスタム</a:t>
            </a:r>
            <a:endParaRPr kumimoji="1" lang="en-US" altLang="ja-JP" dirty="0">
              <a:latin typeface="CiscoSansJPN" pitchFamily="2" charset="-128"/>
              <a:ea typeface="CiscoSansJPN" pitchFamily="2" charset="-128"/>
              <a:cs typeface="CiscoSansJPN" pitchFamily="2" charset="-128"/>
            </a:endParaRPr>
          </a:p>
          <a:p>
            <a:r>
              <a:rPr kumimoji="1" lang="ja-JP" altLang="en-US">
                <a:latin typeface="CiscoSansJPN" pitchFamily="2" charset="-128"/>
                <a:ea typeface="CiscoSansJPN" pitchFamily="2" charset="-128"/>
                <a:cs typeface="CiscoSansJPN" pitchFamily="2" charset="-128"/>
              </a:rPr>
              <a:t>リストの</a:t>
            </a:r>
            <a:r>
              <a:rPr kumimoji="1" lang="en-US" altLang="ja-JP" dirty="0">
                <a:latin typeface="CiscoSansJPN" pitchFamily="2" charset="-128"/>
                <a:ea typeface="CiscoSansJPN" pitchFamily="2" charset="-128"/>
                <a:cs typeface="CiscoSansJPN" pitchFamily="2" charset="-128"/>
              </a:rPr>
              <a:t>2</a:t>
            </a:r>
            <a:r>
              <a:rPr kumimoji="1" lang="ja-JP" altLang="en-US">
                <a:latin typeface="CiscoSansJPN" pitchFamily="2" charset="-128"/>
                <a:ea typeface="CiscoSansJPN" pitchFamily="2" charset="-128"/>
                <a:cs typeface="CiscoSansJPN" pitchFamily="2" charset="-128"/>
              </a:rPr>
              <a:t>つをポリシーで利用可能</a:t>
            </a:r>
            <a:endParaRPr kumimoji="1" lang="en-US" altLang="ja-JP" dirty="0">
              <a:latin typeface="CiscoSansJPN" pitchFamily="2" charset="-128"/>
              <a:ea typeface="CiscoSansJPN" pitchFamily="2" charset="-128"/>
              <a:cs typeface="CiscoSansJPN" pitchFamily="2" charset="-128"/>
            </a:endParaRPr>
          </a:p>
        </p:txBody>
      </p:sp>
      <p:pic>
        <p:nvPicPr>
          <p:cNvPr id="6" name="図 5">
            <a:extLst>
              <a:ext uri="{FF2B5EF4-FFF2-40B4-BE49-F238E27FC236}">
                <a16:creationId xmlns:a16="http://schemas.microsoft.com/office/drawing/2014/main" id="{B734C2C1-E61A-1C42-B26C-CBD09C01FCB7}"/>
              </a:ext>
            </a:extLst>
          </p:cNvPr>
          <p:cNvPicPr>
            <a:picLocks noChangeAspect="1"/>
          </p:cNvPicPr>
          <p:nvPr/>
        </p:nvPicPr>
        <p:blipFill>
          <a:blip r:embed="rId2"/>
          <a:stretch>
            <a:fillRect/>
          </a:stretch>
        </p:blipFill>
        <p:spPr>
          <a:xfrm>
            <a:off x="4364423" y="676656"/>
            <a:ext cx="4653463" cy="4166582"/>
          </a:xfrm>
          <a:prstGeom prst="rect">
            <a:avLst/>
          </a:prstGeom>
        </p:spPr>
      </p:pic>
    </p:spTree>
    <p:extLst>
      <p:ext uri="{BB962C8B-B14F-4D97-AF65-F5344CB8AC3E}">
        <p14:creationId xmlns:p14="http://schemas.microsoft.com/office/powerpoint/2010/main" val="225109995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defTabSz="684213"/>
            <a:r>
              <a:rPr lang="en-US" sz="2800" dirty="0">
                <a:latin typeface="Arial" panose="020B0604020202020204" pitchFamily="34" charset="0"/>
                <a:ea typeface="Arial" panose="020B0604020202020204" pitchFamily="34" charset="0"/>
                <a:cs typeface="Arial" panose="020B0604020202020204" pitchFamily="34" charset="0"/>
              </a:rPr>
              <a:t>Cisco Threat Response</a:t>
            </a:r>
            <a:r>
              <a:rPr lang="ja-JP" altLang="en-US" sz="2800">
                <a:latin typeface="Arial" panose="020B0604020202020204" pitchFamily="34" charset="0"/>
                <a:ea typeface="Arial" panose="020B0604020202020204" pitchFamily="34" charset="0"/>
                <a:cs typeface="Arial" panose="020B0604020202020204" pitchFamily="34" charset="0"/>
              </a:rPr>
              <a:t>への切り替え</a:t>
            </a:r>
            <a:endParaRPr lang="en-US" sz="2800" dirty="0">
              <a:latin typeface="Arial" panose="020B0604020202020204" pitchFamily="34" charset="0"/>
              <a:ea typeface="Arial" panose="020B0604020202020204" pitchFamily="34" charset="0"/>
              <a:cs typeface="Arial" panose="020B0604020202020204" pitchFamily="34" charset="0"/>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518" y="1255395"/>
            <a:ext cx="3728387" cy="2613961"/>
          </a:xfrm>
          <a:prstGeom prst="rect">
            <a:avLst/>
          </a:prstGeom>
        </p:spPr>
      </p:pic>
      <p:sp>
        <p:nvSpPr>
          <p:cNvPr id="4" name="TextBox 3"/>
          <p:cNvSpPr txBox="1"/>
          <p:nvPr/>
        </p:nvSpPr>
        <p:spPr>
          <a:xfrm>
            <a:off x="3900488" y="1255395"/>
            <a:ext cx="5078376" cy="3077766"/>
          </a:xfrm>
          <a:prstGeom prst="rect">
            <a:avLst/>
          </a:prstGeom>
          <a:noFill/>
        </p:spPr>
        <p:txBody>
          <a:bodyPr wrap="square" rtlCol="0">
            <a:spAutoFit/>
          </a:bodyPr>
          <a:lstStyle/>
          <a:p>
            <a:r>
              <a:rPr lang="ja-JP" altLang="en-US" b="1">
                <a:solidFill>
                  <a:srgbClr val="282828"/>
                </a:solidFill>
                <a:latin typeface="CiscoSansJPN" pitchFamily="2" charset="-128"/>
                <a:ea typeface="CiscoSansJPN" pitchFamily="2" charset="-128"/>
                <a:cs typeface="CiscoSansJPN" pitchFamily="2" charset="-128"/>
              </a:rPr>
              <a:t>ユースケース</a:t>
            </a:r>
            <a:r>
              <a:rPr lang="en-US" b="1" dirty="0">
                <a:solidFill>
                  <a:srgbClr val="282828"/>
                </a:solidFill>
                <a:latin typeface="CiscoSansJPN" pitchFamily="2" charset="-128"/>
                <a:ea typeface="CiscoSansJPN" pitchFamily="2" charset="-128"/>
                <a:cs typeface="CiscoSansJPN" pitchFamily="2" charset="-128"/>
              </a:rPr>
              <a:t>： </a:t>
            </a:r>
            <a:r>
              <a:rPr lang="ja-JP" altLang="en-US" b="1">
                <a:solidFill>
                  <a:srgbClr val="282828"/>
                </a:solidFill>
                <a:latin typeface="CiscoSansJPN" pitchFamily="2" charset="-128"/>
                <a:ea typeface="CiscoSansJPN" pitchFamily="2" charset="-128"/>
                <a:cs typeface="CiscoSansJPN" pitchFamily="2" charset="-128"/>
              </a:rPr>
              <a:t>脅威分析をするためのグローバルコンテキスト</a:t>
            </a:r>
            <a:endParaRPr lang="en-US" b="1" dirty="0">
              <a:solidFill>
                <a:srgbClr val="282828"/>
              </a:solidFill>
              <a:latin typeface="CiscoSansJPN" pitchFamily="2" charset="-128"/>
              <a:ea typeface="CiscoSansJPN" pitchFamily="2" charset="-128"/>
              <a:cs typeface="CiscoSansJPN" pitchFamily="2" charset="-128"/>
            </a:endParaRPr>
          </a:p>
          <a:p>
            <a:pPr marL="285750" indent="-285750">
              <a:buFontTx/>
              <a:buChar char="-"/>
            </a:pPr>
            <a:r>
              <a:rPr lang="en-US" dirty="0">
                <a:solidFill>
                  <a:srgbClr val="282828"/>
                </a:solidFill>
                <a:latin typeface="CiscoSansJPN" pitchFamily="2" charset="-128"/>
                <a:ea typeface="CiscoSansJPN" pitchFamily="2" charset="-128"/>
                <a:cs typeface="CiscoSansJPN" pitchFamily="2" charset="-128"/>
              </a:rPr>
              <a:t>AMP</a:t>
            </a:r>
            <a:r>
              <a:rPr lang="ja-JP" altLang="en-US">
                <a:solidFill>
                  <a:srgbClr val="282828"/>
                </a:solidFill>
                <a:latin typeface="CiscoSansJPN" pitchFamily="2" charset="-128"/>
                <a:ea typeface="CiscoSansJPN" pitchFamily="2" charset="-128"/>
                <a:cs typeface="CiscoSansJPN" pitchFamily="2" charset="-128"/>
              </a:rPr>
              <a:t>コンソールから</a:t>
            </a:r>
            <a:r>
              <a:rPr lang="en-US" altLang="ja-JP" dirty="0">
                <a:solidFill>
                  <a:srgbClr val="282828"/>
                </a:solidFill>
                <a:latin typeface="CiscoSansJPN" pitchFamily="2" charset="-128"/>
                <a:ea typeface="CiscoSansJPN" pitchFamily="2" charset="-128"/>
                <a:cs typeface="CiscoSansJPN" pitchFamily="2" charset="-128"/>
              </a:rPr>
              <a:t>CTR</a:t>
            </a:r>
            <a:r>
              <a:rPr lang="ja-JP" altLang="en-US">
                <a:solidFill>
                  <a:srgbClr val="282828"/>
                </a:solidFill>
                <a:latin typeface="CiscoSansJPN" pitchFamily="2" charset="-128"/>
                <a:ea typeface="CiscoSansJPN" pitchFamily="2" charset="-128"/>
                <a:cs typeface="CiscoSansJPN" pitchFamily="2" charset="-128"/>
              </a:rPr>
              <a:t>へシームレスに連携し解析を行う機能</a:t>
            </a:r>
            <a:endParaRPr lang="en-US" dirty="0">
              <a:solidFill>
                <a:srgbClr val="282828"/>
              </a:solidFill>
              <a:latin typeface="CiscoSansJPN" pitchFamily="2" charset="-128"/>
              <a:ea typeface="CiscoSansJPN" pitchFamily="2" charset="-128"/>
              <a:cs typeface="CiscoSansJPN" pitchFamily="2" charset="-128"/>
            </a:endParaRPr>
          </a:p>
          <a:p>
            <a:pPr marL="285750" indent="-285750">
              <a:buFontTx/>
              <a:buChar char="-"/>
            </a:pPr>
            <a:r>
              <a:rPr lang="ja-JP" altLang="en-US">
                <a:solidFill>
                  <a:srgbClr val="282828"/>
                </a:solidFill>
                <a:latin typeface="CiscoSansJPN" pitchFamily="2" charset="-128"/>
                <a:ea typeface="CiscoSansJPN" pitchFamily="2" charset="-128"/>
                <a:cs typeface="CiscoSansJPN" pitchFamily="2" charset="-128"/>
              </a:rPr>
              <a:t>様々なデータソースから得られるコンテキストを使用</a:t>
            </a:r>
            <a:endParaRPr lang="en-US" dirty="0">
              <a:solidFill>
                <a:srgbClr val="282828"/>
              </a:solidFill>
              <a:latin typeface="CiscoSansJPN" pitchFamily="2" charset="-128"/>
              <a:ea typeface="CiscoSansJPN" pitchFamily="2" charset="-128"/>
              <a:cs typeface="CiscoSansJPN" pitchFamily="2" charset="-128"/>
            </a:endParaRPr>
          </a:p>
          <a:p>
            <a:pPr marL="742950" lvl="1" indent="-285750">
              <a:buFontTx/>
              <a:buChar char="-"/>
            </a:pPr>
            <a:r>
              <a:rPr lang="ja-JP" altLang="en-US" sz="1600">
                <a:solidFill>
                  <a:srgbClr val="282828"/>
                </a:solidFill>
                <a:latin typeface="CiscoSansJPN" pitchFamily="2" charset="-128"/>
                <a:ea typeface="CiscoSansJPN" pitchFamily="2" charset="-128"/>
                <a:cs typeface="CiscoSansJPN" pitchFamily="2" charset="-128"/>
              </a:rPr>
              <a:t>現在</a:t>
            </a:r>
            <a:r>
              <a:rPr lang="en-US" sz="1600" dirty="0">
                <a:solidFill>
                  <a:srgbClr val="282828"/>
                </a:solidFill>
                <a:latin typeface="CiscoSansJPN" pitchFamily="2" charset="-128"/>
                <a:ea typeface="CiscoSansJPN" pitchFamily="2" charset="-128"/>
                <a:cs typeface="CiscoSansJPN" pitchFamily="2" charset="-128"/>
              </a:rPr>
              <a:t>：</a:t>
            </a:r>
            <a:r>
              <a:rPr lang="en-US" sz="1600" dirty="0" err="1">
                <a:solidFill>
                  <a:srgbClr val="282828"/>
                </a:solidFill>
                <a:latin typeface="CiscoSansJPN" pitchFamily="2" charset="-128"/>
                <a:ea typeface="CiscoSansJPN" pitchFamily="2" charset="-128"/>
                <a:cs typeface="CiscoSansJPN" pitchFamily="2" charset="-128"/>
              </a:rPr>
              <a:t>AMP、Talos、TG、Umbrella、Virus</a:t>
            </a:r>
            <a:r>
              <a:rPr lang="en-US" sz="1600" dirty="0">
                <a:solidFill>
                  <a:srgbClr val="282828"/>
                </a:solidFill>
                <a:latin typeface="CiscoSansJPN" pitchFamily="2" charset="-128"/>
                <a:ea typeface="CiscoSansJPN" pitchFamily="2" charset="-128"/>
                <a:cs typeface="CiscoSansJPN" pitchFamily="2" charset="-128"/>
              </a:rPr>
              <a:t> Total</a:t>
            </a:r>
          </a:p>
          <a:p>
            <a:pPr marL="285750" indent="-285750">
              <a:buFontTx/>
              <a:buChar char="-"/>
            </a:pPr>
            <a:r>
              <a:rPr lang="ja-JP" altLang="en-US">
                <a:solidFill>
                  <a:srgbClr val="282828"/>
                </a:solidFill>
                <a:latin typeface="CiscoSansJPN" pitchFamily="2" charset="-128"/>
                <a:ea typeface="CiscoSansJPN" pitchFamily="2" charset="-128"/>
                <a:cs typeface="CiscoSansJPN" pitchFamily="2" charset="-128"/>
              </a:rPr>
              <a:t>観測される事象をケースブックへ追加</a:t>
            </a:r>
            <a:endParaRPr lang="en-US" dirty="0">
              <a:solidFill>
                <a:srgbClr val="282828"/>
              </a:solidFill>
              <a:latin typeface="CiscoSansJPN" pitchFamily="2" charset="-128"/>
              <a:ea typeface="CiscoSansJPN" pitchFamily="2" charset="-128"/>
              <a:cs typeface="CiscoSansJPN" pitchFamily="2" charset="-128"/>
            </a:endParaRPr>
          </a:p>
          <a:p>
            <a:pPr marL="285750" indent="-285750">
              <a:buFontTx/>
              <a:buChar char="-"/>
            </a:pPr>
            <a:r>
              <a:rPr lang="en-US" altLang="ja-JP" dirty="0">
                <a:solidFill>
                  <a:srgbClr val="282828"/>
                </a:solidFill>
                <a:latin typeface="CiscoSansJPN" pitchFamily="2" charset="-128"/>
                <a:ea typeface="CiscoSansJPN" pitchFamily="2" charset="-128"/>
                <a:cs typeface="CiscoSansJPN" pitchFamily="2" charset="-128"/>
              </a:rPr>
              <a:t>CTR</a:t>
            </a:r>
            <a:r>
              <a:rPr lang="ja-JP" altLang="en-US">
                <a:solidFill>
                  <a:srgbClr val="282828"/>
                </a:solidFill>
                <a:latin typeface="CiscoSansJPN" pitchFamily="2" charset="-128"/>
                <a:ea typeface="CiscoSansJPN" pitchFamily="2" charset="-128"/>
                <a:cs typeface="CiscoSansJPN" pitchFamily="2" charset="-128"/>
              </a:rPr>
              <a:t>から</a:t>
            </a:r>
            <a:r>
              <a:rPr lang="en-US" altLang="ja-JP" dirty="0">
                <a:solidFill>
                  <a:srgbClr val="282828"/>
                </a:solidFill>
                <a:latin typeface="CiscoSansJPN" pitchFamily="2" charset="-128"/>
                <a:ea typeface="CiscoSansJPN" pitchFamily="2" charset="-128"/>
                <a:cs typeface="CiscoSansJPN" pitchFamily="2" charset="-128"/>
              </a:rPr>
              <a:t>AMP</a:t>
            </a:r>
            <a:r>
              <a:rPr lang="ja-JP" altLang="en-US">
                <a:solidFill>
                  <a:srgbClr val="282828"/>
                </a:solidFill>
                <a:latin typeface="CiscoSansJPN" pitchFamily="2" charset="-128"/>
                <a:ea typeface="CiscoSansJPN" pitchFamily="2" charset="-128"/>
                <a:cs typeface="CiscoSansJPN" pitchFamily="2" charset="-128"/>
              </a:rPr>
              <a:t>コンソールへのエンフォースメント（ブロッキング）の実施</a:t>
            </a:r>
            <a:endParaRPr lang="en-US" dirty="0">
              <a:solidFill>
                <a:srgbClr val="282828"/>
              </a:solidFill>
              <a:latin typeface="CiscoSansJPN" pitchFamily="2" charset="-128"/>
              <a:ea typeface="CiscoSansJPN" pitchFamily="2" charset="-128"/>
              <a:cs typeface="CiscoSansJPN" pitchFamily="2" charset="-128"/>
            </a:endParaRPr>
          </a:p>
        </p:txBody>
      </p:sp>
      <p:grpSp>
        <p:nvGrpSpPr>
          <p:cNvPr id="10" name="Group 9"/>
          <p:cNvGrpSpPr/>
          <p:nvPr/>
        </p:nvGrpSpPr>
        <p:grpSpPr>
          <a:xfrm>
            <a:off x="1155032" y="1750526"/>
            <a:ext cx="2719561" cy="2118830"/>
            <a:chOff x="1155032" y="1750526"/>
            <a:chExt cx="2719561" cy="2118830"/>
          </a:xfrm>
        </p:grpSpPr>
        <p:sp>
          <p:nvSpPr>
            <p:cNvPr id="8" name="Rectangle 7"/>
            <p:cNvSpPr/>
            <p:nvPr/>
          </p:nvSpPr>
          <p:spPr>
            <a:xfrm>
              <a:off x="1155032" y="3625639"/>
              <a:ext cx="1270535" cy="243717"/>
            </a:xfrm>
            <a:prstGeom prst="rect">
              <a:avLst/>
            </a:prstGeom>
            <a:no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pic>
          <p:nvPicPr>
            <p:cNvPr id="7" name="Picture 6"/>
            <p:cNvPicPr>
              <a:picLocks noChangeAspect="1"/>
            </p:cNvPicPr>
            <p:nvPr/>
          </p:nvPicPr>
          <p:blipFill rotWithShape="1">
            <a:blip r:embed="rId4">
              <a:extLst>
                <a:ext uri="{28A0092B-C50C-407E-A947-70E740481C1C}">
                  <a14:useLocalDpi xmlns:a14="http://schemas.microsoft.com/office/drawing/2010/main" val="0"/>
                </a:ext>
              </a:extLst>
            </a:blip>
            <a:srcRect l="28900" t="30810" r="26750" b="21679"/>
            <a:stretch/>
          </p:blipFill>
          <p:spPr>
            <a:xfrm>
              <a:off x="1790299" y="1750526"/>
              <a:ext cx="2084294" cy="1623697"/>
            </a:xfrm>
            <a:prstGeom prst="rect">
              <a:avLst/>
            </a:prstGeom>
            <a:ln w="28575">
              <a:solidFill>
                <a:srgbClr val="FF0000"/>
              </a:solidFill>
            </a:ln>
          </p:spPr>
        </p:pic>
        <p:cxnSp>
          <p:nvCxnSpPr>
            <p:cNvPr id="9" name="Straight Arrow Connector 8"/>
            <p:cNvCxnSpPr/>
            <p:nvPr/>
          </p:nvCxnSpPr>
          <p:spPr>
            <a:xfrm flipV="1">
              <a:off x="2425567" y="3374223"/>
              <a:ext cx="425209" cy="377506"/>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grpSp>
      <p:sp>
        <p:nvSpPr>
          <p:cNvPr id="5" name="Rectangle 4"/>
          <p:cNvSpPr/>
          <p:nvPr/>
        </p:nvSpPr>
        <p:spPr>
          <a:xfrm>
            <a:off x="219518" y="4333161"/>
            <a:ext cx="4572000" cy="646331"/>
          </a:xfrm>
          <a:prstGeom prst="rect">
            <a:avLst/>
          </a:prstGeom>
        </p:spPr>
        <p:txBody>
          <a:bodyPr>
            <a:spAutoFit/>
          </a:bodyPr>
          <a:lstStyle/>
          <a:p>
            <a:r>
              <a:rPr lang="ja-JP" altLang="en-US" i="1">
                <a:latin typeface="CiscoSansJPN" pitchFamily="2" charset="-128"/>
                <a:ea typeface="CiscoSansJPN" pitchFamily="2" charset="-128"/>
                <a:cs typeface="CiscoSansJPN" pitchFamily="2" charset="-128"/>
              </a:rPr>
              <a:t>現在全てのクラウドデータセンターにおいて利用可能</a:t>
            </a:r>
            <a:endParaRPr lang="en-US" i="1" dirty="0">
              <a:latin typeface="CiscoSansJPN" pitchFamily="2" charset="-128"/>
              <a:ea typeface="CiscoSansJPN" pitchFamily="2" charset="-128"/>
              <a:cs typeface="CiscoSansJPN" pitchFamily="2" charset="-128"/>
            </a:endParaRPr>
          </a:p>
        </p:txBody>
      </p:sp>
    </p:spTree>
    <p:extLst>
      <p:ext uri="{BB962C8B-B14F-4D97-AF65-F5344CB8AC3E}">
        <p14:creationId xmlns:p14="http://schemas.microsoft.com/office/powerpoint/2010/main" val="2071585449"/>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wipe(left)">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p>
            <a:pPr defTabSz="684213"/>
            <a:r>
              <a:rPr lang="en-US" sz="2400" dirty="0">
                <a:latin typeface="CiscoSansJPN" pitchFamily="2" charset="-128"/>
                <a:ea typeface="CiscoSansJPN" pitchFamily="2" charset="-128"/>
                <a:cs typeface="CiscoSansJPN" pitchFamily="2" charset="-128"/>
              </a:rPr>
              <a:t>Cisco Threat Response Casebook</a:t>
            </a:r>
            <a:r>
              <a:rPr lang="ja-JP" altLang="en-US" sz="2400">
                <a:latin typeface="CiscoSansJPN" pitchFamily="2" charset="-128"/>
                <a:ea typeface="CiscoSansJPN" pitchFamily="2" charset="-128"/>
                <a:cs typeface="CiscoSansJPN" pitchFamily="2" charset="-128"/>
              </a:rPr>
              <a:t>へのインテグレーション</a:t>
            </a:r>
            <a:endParaRPr lang="en-US" sz="2400" dirty="0">
              <a:latin typeface="CiscoSansJPN" pitchFamily="2" charset="-128"/>
              <a:ea typeface="CiscoSansJPN" pitchFamily="2" charset="-128"/>
              <a:cs typeface="CiscoSansJPN" pitchFamily="2" charset="-128"/>
            </a:endParaRPr>
          </a:p>
        </p:txBody>
      </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19518" y="1255395"/>
            <a:ext cx="3728387" cy="2613961"/>
          </a:xfrm>
          <a:prstGeom prst="rect">
            <a:avLst/>
          </a:prstGeom>
        </p:spPr>
      </p:pic>
      <p:sp>
        <p:nvSpPr>
          <p:cNvPr id="12" name="TextBox 11"/>
          <p:cNvSpPr txBox="1"/>
          <p:nvPr/>
        </p:nvSpPr>
        <p:spPr>
          <a:xfrm>
            <a:off x="4788554" y="1083945"/>
            <a:ext cx="4205844" cy="3139321"/>
          </a:xfrm>
          <a:prstGeom prst="rect">
            <a:avLst/>
          </a:prstGeom>
          <a:noFill/>
        </p:spPr>
        <p:txBody>
          <a:bodyPr wrap="square" rtlCol="0">
            <a:spAutoFit/>
          </a:bodyPr>
          <a:lstStyle/>
          <a:p>
            <a:r>
              <a:rPr lang="ja-JP" altLang="en-US" b="1">
                <a:solidFill>
                  <a:srgbClr val="282828"/>
                </a:solidFill>
                <a:latin typeface="CiscoSansJPN" pitchFamily="2" charset="-128"/>
                <a:ea typeface="CiscoSansJPN" pitchFamily="2" charset="-128"/>
                <a:cs typeface="CiscoSansJPN" pitchFamily="2" charset="-128"/>
              </a:rPr>
              <a:t>ユースケース</a:t>
            </a:r>
            <a:r>
              <a:rPr lang="en-US" b="1" dirty="0">
                <a:solidFill>
                  <a:srgbClr val="282828"/>
                </a:solidFill>
                <a:latin typeface="CiscoSansJPN" pitchFamily="2" charset="-128"/>
                <a:ea typeface="CiscoSansJPN" pitchFamily="2" charset="-128"/>
                <a:cs typeface="CiscoSansJPN" pitchFamily="2" charset="-128"/>
              </a:rPr>
              <a:t>：</a:t>
            </a:r>
            <a:r>
              <a:rPr lang="ja-JP" altLang="en-US" b="1">
                <a:solidFill>
                  <a:srgbClr val="282828"/>
                </a:solidFill>
                <a:latin typeface="CiscoSansJPN" pitchFamily="2" charset="-128"/>
                <a:ea typeface="CiscoSansJPN" pitchFamily="2" charset="-128"/>
                <a:cs typeface="CiscoSansJPN" pitchFamily="2" charset="-128"/>
              </a:rPr>
              <a:t>インシデントレスポンスワークフローの促進</a:t>
            </a:r>
            <a:endParaRPr lang="en-US" b="1" dirty="0">
              <a:solidFill>
                <a:srgbClr val="282828"/>
              </a:solidFill>
              <a:latin typeface="CiscoSansJPN" pitchFamily="2" charset="-128"/>
              <a:ea typeface="CiscoSansJPN" pitchFamily="2" charset="-128"/>
              <a:cs typeface="CiscoSansJPN" pitchFamily="2" charset="-128"/>
            </a:endParaRPr>
          </a:p>
          <a:p>
            <a:pPr marL="285750" indent="-285750">
              <a:buFontTx/>
              <a:buChar char="-"/>
            </a:pPr>
            <a:r>
              <a:rPr lang="ja-JP" altLang="en-US">
                <a:solidFill>
                  <a:srgbClr val="282828"/>
                </a:solidFill>
                <a:latin typeface="CiscoSansJPN" pitchFamily="2" charset="-128"/>
                <a:ea typeface="CiscoSansJPN" pitchFamily="2" charset="-128"/>
                <a:cs typeface="CiscoSansJPN" pitchFamily="2" charset="-128"/>
              </a:rPr>
              <a:t>観測される事象（アーティファクト）を</a:t>
            </a:r>
            <a:r>
              <a:rPr lang="en-US" altLang="ja-JP" dirty="0">
                <a:solidFill>
                  <a:srgbClr val="282828"/>
                </a:solidFill>
                <a:latin typeface="CiscoSansJPN" pitchFamily="2" charset="-128"/>
                <a:ea typeface="CiscoSansJPN" pitchFamily="2" charset="-128"/>
                <a:cs typeface="CiscoSansJPN" pitchFamily="2" charset="-128"/>
              </a:rPr>
              <a:t>CTR</a:t>
            </a:r>
            <a:r>
              <a:rPr lang="ja-JP" altLang="en-US">
                <a:solidFill>
                  <a:srgbClr val="282828"/>
                </a:solidFill>
                <a:latin typeface="CiscoSansJPN" pitchFamily="2" charset="-128"/>
                <a:ea typeface="CiscoSansJPN" pitchFamily="2" charset="-128"/>
                <a:cs typeface="CiscoSansJPN" pitchFamily="2" charset="-128"/>
              </a:rPr>
              <a:t>ケースブックへ追加</a:t>
            </a:r>
            <a:endParaRPr lang="en-US" dirty="0">
              <a:solidFill>
                <a:srgbClr val="282828"/>
              </a:solidFill>
              <a:latin typeface="CiscoSansJPN" pitchFamily="2" charset="-128"/>
              <a:ea typeface="CiscoSansJPN" pitchFamily="2" charset="-128"/>
              <a:cs typeface="CiscoSansJPN" pitchFamily="2" charset="-128"/>
            </a:endParaRPr>
          </a:p>
          <a:p>
            <a:pPr marL="285750" indent="-285750">
              <a:buFontTx/>
              <a:buChar char="-"/>
            </a:pPr>
            <a:r>
              <a:rPr lang="en-US" dirty="0">
                <a:solidFill>
                  <a:srgbClr val="282828"/>
                </a:solidFill>
                <a:latin typeface="CiscoSansJPN" pitchFamily="2" charset="-128"/>
                <a:ea typeface="CiscoSansJPN" pitchFamily="2" charset="-128"/>
                <a:cs typeface="CiscoSansJPN" pitchFamily="2" charset="-128"/>
              </a:rPr>
              <a:t>CTR</a:t>
            </a:r>
            <a:r>
              <a:rPr lang="ja-JP" altLang="en-US">
                <a:solidFill>
                  <a:srgbClr val="282828"/>
                </a:solidFill>
                <a:latin typeface="CiscoSansJPN" pitchFamily="2" charset="-128"/>
                <a:ea typeface="CiscoSansJPN" pitchFamily="2" charset="-128"/>
                <a:cs typeface="CiscoSansJPN" pitchFamily="2" charset="-128"/>
              </a:rPr>
              <a:t>ケースブックは複数の脅威解析ツールを踏襲</a:t>
            </a:r>
            <a:r>
              <a:rPr lang="en-US" dirty="0">
                <a:solidFill>
                  <a:srgbClr val="282828"/>
                </a:solidFill>
                <a:latin typeface="CiscoSansJPN" pitchFamily="2" charset="-128"/>
                <a:ea typeface="CiscoSansJPN" pitchFamily="2" charset="-128"/>
                <a:cs typeface="CiscoSansJPN" pitchFamily="2" charset="-128"/>
              </a:rPr>
              <a:t> AMP、TG (SSO)</a:t>
            </a:r>
            <a:r>
              <a:rPr lang="ja-JP" altLang="en-US">
                <a:solidFill>
                  <a:srgbClr val="282828"/>
                </a:solidFill>
                <a:latin typeface="CiscoSansJPN" pitchFamily="2" charset="-128"/>
                <a:ea typeface="CiscoSansJPN" pitchFamily="2" charset="-128"/>
                <a:cs typeface="CiscoSansJPN" pitchFamily="2" charset="-128"/>
              </a:rPr>
              <a:t>等</a:t>
            </a:r>
            <a:endParaRPr lang="en-US" dirty="0">
              <a:solidFill>
                <a:srgbClr val="282828"/>
              </a:solidFill>
              <a:latin typeface="CiscoSansJPN" pitchFamily="2" charset="-128"/>
              <a:ea typeface="CiscoSansJPN" pitchFamily="2" charset="-128"/>
              <a:cs typeface="CiscoSansJPN" pitchFamily="2" charset="-128"/>
            </a:endParaRPr>
          </a:p>
          <a:p>
            <a:pPr marL="285750" indent="-285750">
              <a:buFontTx/>
              <a:buChar char="-"/>
            </a:pPr>
            <a:r>
              <a:rPr lang="ja-JP" altLang="en-US">
                <a:solidFill>
                  <a:srgbClr val="282828"/>
                </a:solidFill>
                <a:latin typeface="CiscoSansJPN" pitchFamily="2" charset="-128"/>
                <a:ea typeface="CiscoSansJPN" pitchFamily="2" charset="-128"/>
                <a:cs typeface="CiscoSansJPN" pitchFamily="2" charset="-128"/>
              </a:rPr>
              <a:t>複数の</a:t>
            </a:r>
            <a:r>
              <a:rPr lang="en-US" altLang="ja-JP" dirty="0">
                <a:solidFill>
                  <a:srgbClr val="282828"/>
                </a:solidFill>
                <a:latin typeface="CiscoSansJPN" pitchFamily="2" charset="-128"/>
                <a:ea typeface="CiscoSansJPN" pitchFamily="2" charset="-128"/>
                <a:cs typeface="CiscoSansJPN" pitchFamily="2" charset="-128"/>
              </a:rPr>
              <a:t>IR</a:t>
            </a:r>
            <a:r>
              <a:rPr lang="ja-JP" altLang="en-US">
                <a:solidFill>
                  <a:srgbClr val="282828"/>
                </a:solidFill>
                <a:latin typeface="CiscoSansJPN" pitchFamily="2" charset="-128"/>
                <a:ea typeface="CiscoSansJPN" pitchFamily="2" charset="-128"/>
                <a:cs typeface="CiscoSansJPN" pitchFamily="2" charset="-128"/>
              </a:rPr>
              <a:t>ツールによる観測事象、セキュリティイベント、アラートを集約</a:t>
            </a:r>
            <a:endParaRPr lang="en-US" dirty="0">
              <a:solidFill>
                <a:srgbClr val="282828"/>
              </a:solidFill>
              <a:latin typeface="CiscoSansJPN" pitchFamily="2" charset="-128"/>
              <a:ea typeface="CiscoSansJPN" pitchFamily="2" charset="-128"/>
              <a:cs typeface="CiscoSansJPN" pitchFamily="2" charset="-128"/>
            </a:endParaRPr>
          </a:p>
          <a:p>
            <a:pPr marL="285750" indent="-285750">
              <a:buFontTx/>
              <a:buChar char="-"/>
            </a:pPr>
            <a:r>
              <a:rPr lang="ja-JP" altLang="en-US">
                <a:solidFill>
                  <a:srgbClr val="282828"/>
                </a:solidFill>
                <a:latin typeface="CiscoSansJPN" pitchFamily="2" charset="-128"/>
                <a:ea typeface="CiscoSansJPN" pitchFamily="2" charset="-128"/>
                <a:cs typeface="CiscoSansJPN" pitchFamily="2" charset="-128"/>
              </a:rPr>
              <a:t>そのケースの判定結果と対応方法の確認</a:t>
            </a:r>
            <a:endParaRPr lang="en-US" dirty="0">
              <a:solidFill>
                <a:srgbClr val="282828"/>
              </a:solidFill>
              <a:latin typeface="CiscoSansJPN" pitchFamily="2" charset="-128"/>
              <a:ea typeface="CiscoSansJPN" pitchFamily="2" charset="-128"/>
              <a:cs typeface="CiscoSansJPN" pitchFamily="2" charset="-128"/>
            </a:endParaRPr>
          </a:p>
        </p:txBody>
      </p:sp>
      <p:grpSp>
        <p:nvGrpSpPr>
          <p:cNvPr id="11" name="Group 10"/>
          <p:cNvGrpSpPr/>
          <p:nvPr/>
        </p:nvGrpSpPr>
        <p:grpSpPr>
          <a:xfrm>
            <a:off x="1164657" y="1093568"/>
            <a:ext cx="3522645" cy="2775788"/>
            <a:chOff x="1164657" y="1093568"/>
            <a:chExt cx="3522645" cy="2775788"/>
          </a:xfrm>
        </p:grpSpPr>
        <p:sp>
          <p:nvSpPr>
            <p:cNvPr id="7" name="Rectangle 6"/>
            <p:cNvSpPr/>
            <p:nvPr/>
          </p:nvSpPr>
          <p:spPr>
            <a:xfrm>
              <a:off x="1164657" y="3001392"/>
              <a:ext cx="1270535" cy="150389"/>
            </a:xfrm>
            <a:prstGeom prst="rect">
              <a:avLst/>
            </a:prstGeom>
            <a:no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sp>
          <p:nvSpPr>
            <p:cNvPr id="9" name="Rectangle 8"/>
            <p:cNvSpPr/>
            <p:nvPr/>
          </p:nvSpPr>
          <p:spPr>
            <a:xfrm>
              <a:off x="3696100" y="3724977"/>
              <a:ext cx="251805" cy="144379"/>
            </a:xfrm>
            <a:prstGeom prst="rect">
              <a:avLst/>
            </a:prstGeom>
            <a:no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cxnSp>
          <p:nvCxnSpPr>
            <p:cNvPr id="13" name="Straight Arrow Connector 12"/>
            <p:cNvCxnSpPr>
              <a:stCxn id="9" idx="0"/>
            </p:cNvCxnSpPr>
            <p:nvPr/>
          </p:nvCxnSpPr>
          <p:spPr>
            <a:xfrm flipH="1" flipV="1">
              <a:off x="3696101" y="3341483"/>
              <a:ext cx="125902" cy="383494"/>
            </a:xfrm>
            <a:prstGeom prst="straightConnector1">
              <a:avLst/>
            </a:prstGeom>
            <a:ln>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a:stCxn id="7" idx="3"/>
            </p:cNvCxnSpPr>
            <p:nvPr/>
          </p:nvCxnSpPr>
          <p:spPr>
            <a:xfrm>
              <a:off x="2435192" y="3076587"/>
              <a:ext cx="228391" cy="8739"/>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p:nvPicPr>
          <p:blipFill>
            <a:blip r:embed="rId4"/>
            <a:stretch>
              <a:fillRect/>
            </a:stretch>
          </p:blipFill>
          <p:spPr>
            <a:xfrm>
              <a:off x="2660969" y="1120042"/>
              <a:ext cx="2026333" cy="2194158"/>
            </a:xfrm>
            <a:prstGeom prst="rect">
              <a:avLst/>
            </a:prstGeom>
          </p:spPr>
        </p:pic>
        <p:sp>
          <p:nvSpPr>
            <p:cNvPr id="10" name="Rectangle 9"/>
            <p:cNvSpPr/>
            <p:nvPr/>
          </p:nvSpPr>
          <p:spPr>
            <a:xfrm flipV="1">
              <a:off x="2666196" y="1093568"/>
              <a:ext cx="2021105" cy="2230056"/>
            </a:xfrm>
            <a:prstGeom prst="rect">
              <a:avLst/>
            </a:prstGeom>
            <a:noFill/>
            <a:ln>
              <a:solidFill>
                <a:schemeClr val="accent6"/>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005073"/>
                </a:solidFill>
              </a:endParaRPr>
            </a:p>
          </p:txBody>
        </p:sp>
      </p:grpSp>
      <p:sp>
        <p:nvSpPr>
          <p:cNvPr id="17" name="Rectangle 4">
            <a:extLst>
              <a:ext uri="{FF2B5EF4-FFF2-40B4-BE49-F238E27FC236}">
                <a16:creationId xmlns:a16="http://schemas.microsoft.com/office/drawing/2014/main" id="{5966DE32-1FAC-3C4A-B8D8-25475096D6FA}"/>
              </a:ext>
            </a:extLst>
          </p:cNvPr>
          <p:cNvSpPr/>
          <p:nvPr/>
        </p:nvSpPr>
        <p:spPr>
          <a:xfrm>
            <a:off x="219518" y="4333161"/>
            <a:ext cx="4572000" cy="646331"/>
          </a:xfrm>
          <a:prstGeom prst="rect">
            <a:avLst/>
          </a:prstGeom>
        </p:spPr>
        <p:txBody>
          <a:bodyPr>
            <a:spAutoFit/>
          </a:bodyPr>
          <a:lstStyle/>
          <a:p>
            <a:r>
              <a:rPr lang="ja-JP" altLang="en-US" i="1">
                <a:latin typeface="CiscoSansJPN" pitchFamily="2" charset="-128"/>
                <a:ea typeface="CiscoSansJPN" pitchFamily="2" charset="-128"/>
                <a:cs typeface="CiscoSansJPN" pitchFamily="2" charset="-128"/>
              </a:rPr>
              <a:t>現在全てのクラウドデータセンターにおいて利用可能</a:t>
            </a:r>
            <a:endParaRPr lang="en-US" i="1" dirty="0">
              <a:latin typeface="CiscoSansJPN" pitchFamily="2" charset="-128"/>
              <a:ea typeface="CiscoSansJPN" pitchFamily="2" charset="-128"/>
              <a:cs typeface="CiscoSansJPN" pitchFamily="2" charset="-128"/>
            </a:endParaRPr>
          </a:p>
        </p:txBody>
      </p:sp>
    </p:spTree>
    <p:extLst>
      <p:ext uri="{BB962C8B-B14F-4D97-AF65-F5344CB8AC3E}">
        <p14:creationId xmlns:p14="http://schemas.microsoft.com/office/powerpoint/2010/main" val="195641755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1F1A2F76-4FC9-8948-B90F-6BB1912649CA}"/>
              </a:ext>
            </a:extLst>
          </p:cNvPr>
          <p:cNvSpPr txBox="1"/>
          <p:nvPr/>
        </p:nvSpPr>
        <p:spPr>
          <a:xfrm>
            <a:off x="0" y="671441"/>
            <a:ext cx="2885704" cy="3539430"/>
          </a:xfrm>
          <a:prstGeom prst="rect">
            <a:avLst/>
          </a:prstGeom>
          <a:noFill/>
        </p:spPr>
        <p:txBody>
          <a:bodyPr wrap="square" rtlCol="0">
            <a:spAutoFit/>
          </a:bodyPr>
          <a:lstStyle/>
          <a:p>
            <a:pPr marL="171403" indent="-171403" defTabSz="171450">
              <a:buFont typeface="Arial" panose="020B0604020202020204" pitchFamily="34" charset="0"/>
              <a:buChar char="•"/>
            </a:pPr>
            <a:r>
              <a:rPr lang="en-US" sz="1600" dirty="0">
                <a:solidFill>
                  <a:schemeClr val="bg1"/>
                </a:solidFill>
                <a:latin typeface="CiscoSansJPN" pitchFamily="2" charset="-128"/>
                <a:ea typeface="CiscoSansJPN" pitchFamily="2" charset="-128"/>
                <a:cs typeface="CiscoSansJPN" pitchFamily="2" charset="-128"/>
              </a:rPr>
              <a:t>MITRE</a:t>
            </a:r>
            <a:r>
              <a:rPr lang="ja-JP" altLang="en-US" sz="1600">
                <a:solidFill>
                  <a:schemeClr val="bg1"/>
                </a:solidFill>
                <a:latin typeface="CiscoSansJPN" pitchFamily="2" charset="-128"/>
                <a:ea typeface="CiscoSansJPN" pitchFamily="2" charset="-128"/>
                <a:cs typeface="CiscoSansJPN" pitchFamily="2" charset="-128"/>
              </a:rPr>
              <a:t>の</a:t>
            </a:r>
            <a:r>
              <a:rPr lang="en-US" sz="1600" dirty="0">
                <a:solidFill>
                  <a:schemeClr val="bg1"/>
                </a:solidFill>
                <a:latin typeface="CiscoSansJPN" pitchFamily="2" charset="-128"/>
                <a:ea typeface="CiscoSansJPN" pitchFamily="2" charset="-128"/>
                <a:cs typeface="CiscoSansJPN" pitchFamily="2" charset="-128"/>
              </a:rPr>
              <a:t>ATT&amp;CK</a:t>
            </a:r>
            <a:r>
              <a:rPr lang="ja-JP" altLang="en-US" sz="1600">
                <a:solidFill>
                  <a:schemeClr val="bg1"/>
                </a:solidFill>
                <a:latin typeface="CiscoSansJPN" pitchFamily="2" charset="-128"/>
                <a:ea typeface="CiscoSansJPN" pitchFamily="2" charset="-128"/>
                <a:cs typeface="CiscoSansJPN" pitchFamily="2" charset="-128"/>
              </a:rPr>
              <a:t>を採用した解析ストラテジの採用</a:t>
            </a:r>
            <a:endParaRPr lang="en-US" sz="1600" dirty="0">
              <a:solidFill>
                <a:schemeClr val="bg1"/>
              </a:solidFill>
              <a:latin typeface="CiscoSansJPN" pitchFamily="2" charset="-128"/>
              <a:ea typeface="CiscoSansJPN" pitchFamily="2" charset="-128"/>
              <a:cs typeface="CiscoSansJPN" pitchFamily="2" charset="-128"/>
            </a:endParaRPr>
          </a:p>
          <a:p>
            <a:pPr marL="171403" indent="-171403" defTabSz="171450">
              <a:buFont typeface="Arial" panose="020B0604020202020204" pitchFamily="34" charset="0"/>
              <a:buChar char="•"/>
            </a:pPr>
            <a:r>
              <a:rPr lang="en-US" sz="1600" dirty="0">
                <a:solidFill>
                  <a:schemeClr val="bg1"/>
                </a:solidFill>
                <a:latin typeface="CiscoSansJPN" pitchFamily="2" charset="-128"/>
                <a:ea typeface="CiscoSansJPN" pitchFamily="2" charset="-128"/>
                <a:cs typeface="CiscoSansJPN" pitchFamily="2" charset="-128"/>
              </a:rPr>
              <a:t>FP/FN</a:t>
            </a:r>
            <a:r>
              <a:rPr lang="ja-JP" altLang="en-US" sz="1600">
                <a:solidFill>
                  <a:schemeClr val="bg1"/>
                </a:solidFill>
                <a:latin typeface="CiscoSansJPN" pitchFamily="2" charset="-128"/>
                <a:ea typeface="CiscoSansJPN" pitchFamily="2" charset="-128"/>
                <a:cs typeface="CiscoSansJPN" pitchFamily="2" charset="-128"/>
              </a:rPr>
              <a:t>のレポート機能</a:t>
            </a:r>
            <a:endParaRPr lang="en-US" sz="1600" dirty="0">
              <a:solidFill>
                <a:schemeClr val="bg1"/>
              </a:solidFill>
              <a:latin typeface="CiscoSansJPN" pitchFamily="2" charset="-128"/>
              <a:ea typeface="CiscoSansJPN" pitchFamily="2" charset="-128"/>
              <a:cs typeface="CiscoSansJPN" pitchFamily="2" charset="-128"/>
            </a:endParaRPr>
          </a:p>
          <a:p>
            <a:pPr marL="171403" indent="-171403" defTabSz="171450">
              <a:buFont typeface="Arial" panose="020B0604020202020204" pitchFamily="34" charset="0"/>
              <a:buChar char="•"/>
            </a:pPr>
            <a:r>
              <a:rPr lang="ja-JP" altLang="en-US" sz="1600">
                <a:solidFill>
                  <a:schemeClr val="bg1"/>
                </a:solidFill>
                <a:latin typeface="CiscoSansJPN" pitchFamily="2" charset="-128"/>
                <a:ea typeface="CiscoSansJPN" pitchFamily="2" charset="-128"/>
                <a:cs typeface="CiscoSansJPN" pitchFamily="2" charset="-128"/>
              </a:rPr>
              <a:t>デフォルトの</a:t>
            </a:r>
            <a:r>
              <a:rPr lang="en-US" altLang="ja-JP" sz="1600" dirty="0">
                <a:solidFill>
                  <a:schemeClr val="bg1"/>
                </a:solidFill>
                <a:latin typeface="CiscoSansJPN" pitchFamily="2" charset="-128"/>
                <a:ea typeface="CiscoSansJPN" pitchFamily="2" charset="-128"/>
                <a:cs typeface="CiscoSansJPN" pitchFamily="2" charset="-128"/>
              </a:rPr>
              <a:t>VM</a:t>
            </a:r>
            <a:r>
              <a:rPr lang="ja-JP" altLang="en-US" sz="1600">
                <a:solidFill>
                  <a:schemeClr val="bg1"/>
                </a:solidFill>
                <a:latin typeface="CiscoSansJPN" pitchFamily="2" charset="-128"/>
                <a:ea typeface="CiscoSansJPN" pitchFamily="2" charset="-128"/>
                <a:cs typeface="CiscoSansJPN" pitchFamily="2" charset="-128"/>
              </a:rPr>
              <a:t> </a:t>
            </a:r>
            <a:r>
              <a:rPr lang="en-US" altLang="ja-JP" sz="1600" dirty="0">
                <a:solidFill>
                  <a:schemeClr val="bg1"/>
                </a:solidFill>
                <a:latin typeface="CiscoSansJPN" pitchFamily="2" charset="-128"/>
                <a:ea typeface="CiscoSansJPN" pitchFamily="2" charset="-128"/>
                <a:cs typeface="CiscoSansJPN" pitchFamily="2" charset="-128"/>
              </a:rPr>
              <a:t>OS</a:t>
            </a:r>
            <a:r>
              <a:rPr lang="ja-JP" altLang="en-US" sz="1600">
                <a:solidFill>
                  <a:schemeClr val="bg1"/>
                </a:solidFill>
                <a:latin typeface="CiscoSansJPN" pitchFamily="2" charset="-128"/>
                <a:ea typeface="CiscoSansJPN" pitchFamily="2" charset="-128"/>
                <a:cs typeface="CiscoSansJPN" pitchFamily="2" charset="-128"/>
              </a:rPr>
              <a:t>を変更可能（現在は</a:t>
            </a:r>
            <a:r>
              <a:rPr lang="en-US" sz="1600" dirty="0">
                <a:solidFill>
                  <a:schemeClr val="bg1"/>
                </a:solidFill>
                <a:latin typeface="CiscoSansJPN" pitchFamily="2" charset="-128"/>
                <a:ea typeface="CiscoSansJPN" pitchFamily="2" charset="-128"/>
                <a:cs typeface="CiscoSansJPN" pitchFamily="2" charset="-128"/>
              </a:rPr>
              <a:t>Win7 64-bit</a:t>
            </a:r>
            <a:r>
              <a:rPr lang="ja-JP" altLang="en-US" sz="1600">
                <a:solidFill>
                  <a:schemeClr val="bg1"/>
                </a:solidFill>
                <a:latin typeface="CiscoSansJPN" pitchFamily="2" charset="-128"/>
                <a:ea typeface="CiscoSansJPN" pitchFamily="2" charset="-128"/>
                <a:cs typeface="CiscoSansJPN" pitchFamily="2" charset="-128"/>
              </a:rPr>
              <a:t>がデフォルト</a:t>
            </a:r>
            <a:r>
              <a:rPr lang="en-US" sz="1600" dirty="0">
                <a:solidFill>
                  <a:schemeClr val="bg1"/>
                </a:solidFill>
                <a:latin typeface="CiscoSansJPN" pitchFamily="2" charset="-128"/>
                <a:ea typeface="CiscoSansJPN" pitchFamily="2" charset="-128"/>
                <a:cs typeface="CiscoSansJPN" pitchFamily="2" charset="-128"/>
              </a:rPr>
              <a:t>）</a:t>
            </a:r>
          </a:p>
          <a:p>
            <a:pPr marL="171403" indent="-171403" defTabSz="171450">
              <a:buFont typeface="Arial" panose="020B0604020202020204" pitchFamily="34" charset="0"/>
              <a:buChar char="•"/>
            </a:pPr>
            <a:r>
              <a:rPr lang="en-US" sz="1600" dirty="0">
                <a:solidFill>
                  <a:schemeClr val="bg1"/>
                </a:solidFill>
                <a:latin typeface="CiscoSansJPN" pitchFamily="2" charset="-128"/>
                <a:ea typeface="CiscoSansJPN" pitchFamily="2" charset="-128"/>
                <a:cs typeface="CiscoSansJPN" pitchFamily="2" charset="-128"/>
              </a:rPr>
              <a:t>MSOffice</a:t>
            </a:r>
            <a:r>
              <a:rPr lang="ja-JP" altLang="en-US" sz="1600">
                <a:solidFill>
                  <a:schemeClr val="bg1"/>
                </a:solidFill>
                <a:latin typeface="CiscoSansJPN" pitchFamily="2" charset="-128"/>
                <a:ea typeface="CiscoSansJPN" pitchFamily="2" charset="-128"/>
                <a:cs typeface="CiscoSansJPN" pitchFamily="2" charset="-128"/>
              </a:rPr>
              <a:t>のドキュメントパスワードへ対応</a:t>
            </a:r>
            <a:endParaRPr lang="en-US" altLang="ja-JP" sz="1600" dirty="0">
              <a:solidFill>
                <a:schemeClr val="bg1"/>
              </a:solidFill>
              <a:latin typeface="CiscoSansJPN" pitchFamily="2" charset="-128"/>
              <a:ea typeface="CiscoSansJPN" pitchFamily="2" charset="-128"/>
              <a:cs typeface="CiscoSansJPN" pitchFamily="2" charset="-128"/>
            </a:endParaRPr>
          </a:p>
          <a:p>
            <a:pPr marL="171403" indent="-171403" defTabSz="171450">
              <a:buFont typeface="Arial" panose="020B0604020202020204" pitchFamily="34" charset="0"/>
              <a:buChar char="•"/>
            </a:pPr>
            <a:r>
              <a:rPr lang="en-US" sz="1600" dirty="0">
                <a:solidFill>
                  <a:schemeClr val="bg1"/>
                </a:solidFill>
                <a:latin typeface="CiscoSansJPN" pitchFamily="2" charset="-128"/>
                <a:ea typeface="CiscoSansJPN" pitchFamily="2" charset="-128"/>
                <a:cs typeface="CiscoSansJPN" pitchFamily="2" charset="-128"/>
              </a:rPr>
              <a:t>Scrubbed Reports</a:t>
            </a:r>
          </a:p>
          <a:p>
            <a:pPr marL="171403" indent="-171403" defTabSz="171450">
              <a:buFont typeface="Arial" panose="020B0604020202020204" pitchFamily="34" charset="0"/>
              <a:buChar char="•"/>
            </a:pPr>
            <a:r>
              <a:rPr lang="ja-JP" altLang="en-US" sz="1600">
                <a:solidFill>
                  <a:schemeClr val="bg1"/>
                </a:solidFill>
                <a:latin typeface="CiscoSansJPN" pitchFamily="2" charset="-128"/>
                <a:ea typeface="CiscoSansJPN" pitchFamily="2" charset="-128"/>
                <a:cs typeface="CiscoSansJPN" pitchFamily="2" charset="-128"/>
              </a:rPr>
              <a:t>月次レポート</a:t>
            </a:r>
            <a:endParaRPr lang="en-US" sz="1600" dirty="0">
              <a:solidFill>
                <a:schemeClr val="bg1"/>
              </a:solidFill>
              <a:latin typeface="CiscoSansJPN" pitchFamily="2" charset="-128"/>
              <a:ea typeface="CiscoSansJPN" pitchFamily="2" charset="-128"/>
              <a:cs typeface="CiscoSansJPN" pitchFamily="2" charset="-128"/>
            </a:endParaRPr>
          </a:p>
          <a:p>
            <a:pPr marL="171403" indent="-171403" defTabSz="171450">
              <a:buFont typeface="Arial" panose="020B0604020202020204" pitchFamily="34" charset="0"/>
              <a:buChar char="•"/>
            </a:pPr>
            <a:endParaRPr lang="en-US" sz="1600" dirty="0">
              <a:solidFill>
                <a:schemeClr val="bg1"/>
              </a:solidFill>
              <a:latin typeface="CiscoSansJPN" pitchFamily="2" charset="-128"/>
              <a:ea typeface="CiscoSansJPN" pitchFamily="2" charset="-128"/>
              <a:cs typeface="CiscoSansJPN" pitchFamily="2" charset="-128"/>
            </a:endParaRPr>
          </a:p>
          <a:p>
            <a:pPr defTabSz="171450"/>
            <a:r>
              <a:rPr lang="ja-JP" altLang="en-US" sz="1600">
                <a:solidFill>
                  <a:schemeClr val="bg1"/>
                </a:solidFill>
                <a:latin typeface="CiscoSansJPN" pitchFamily="2" charset="-128"/>
                <a:ea typeface="CiscoSansJPN" pitchFamily="2" charset="-128"/>
                <a:cs typeface="CiscoSansJPN" pitchFamily="2" charset="-128"/>
              </a:rPr>
              <a:t>新しい</a:t>
            </a:r>
            <a:r>
              <a:rPr lang="en-US" altLang="ja-JP" sz="1600" dirty="0">
                <a:solidFill>
                  <a:schemeClr val="bg1"/>
                </a:solidFill>
                <a:latin typeface="CiscoSansJPN" pitchFamily="2" charset="-128"/>
                <a:ea typeface="CiscoSansJPN" pitchFamily="2" charset="-128"/>
                <a:cs typeface="CiscoSansJPN" pitchFamily="2" charset="-128"/>
              </a:rPr>
              <a:t>TG</a:t>
            </a:r>
            <a:r>
              <a:rPr lang="ja-JP" altLang="en-US" sz="1600">
                <a:solidFill>
                  <a:schemeClr val="bg1"/>
                </a:solidFill>
                <a:latin typeface="CiscoSansJPN" pitchFamily="2" charset="-128"/>
                <a:ea typeface="CiscoSansJPN" pitchFamily="2" charset="-128"/>
                <a:cs typeface="CiscoSansJPN" pitchFamily="2" charset="-128"/>
              </a:rPr>
              <a:t>とケースブックのビデオは</a:t>
            </a:r>
            <a:r>
              <a:rPr lang="en-US" altLang="ja-JP" sz="1600" dirty="0" err="1">
                <a:solidFill>
                  <a:schemeClr val="bg1"/>
                </a:solidFill>
                <a:latin typeface="CiscoSansJPN" pitchFamily="2" charset="-128"/>
                <a:ea typeface="CiscoSansJPN" pitchFamily="2" charset="-128"/>
                <a:cs typeface="CiscoSansJPN" pitchFamily="2" charset="-128"/>
              </a:rPr>
              <a:t>Youtube</a:t>
            </a:r>
            <a:r>
              <a:rPr lang="ja-JP" altLang="en-US" sz="1600">
                <a:solidFill>
                  <a:schemeClr val="bg1"/>
                </a:solidFill>
                <a:latin typeface="CiscoSansJPN" pitchFamily="2" charset="-128"/>
                <a:ea typeface="CiscoSansJPN" pitchFamily="2" charset="-128"/>
                <a:cs typeface="CiscoSansJPN" pitchFamily="2" charset="-128"/>
              </a:rPr>
              <a:t>にあります</a:t>
            </a:r>
            <a:endParaRPr lang="en-US" sz="1600" dirty="0">
              <a:solidFill>
                <a:schemeClr val="bg1"/>
              </a:solidFill>
              <a:latin typeface="CiscoSansJPN" pitchFamily="2" charset="-128"/>
              <a:ea typeface="CiscoSansJPN" pitchFamily="2" charset="-128"/>
              <a:cs typeface="CiscoSansJPN" pitchFamily="2" charset="-128"/>
            </a:endParaRPr>
          </a:p>
          <a:p>
            <a:pPr marL="171403" indent="-171403" defTabSz="171450">
              <a:buFont typeface="Arial" panose="020B0604020202020204" pitchFamily="34" charset="0"/>
              <a:buChar char="•"/>
            </a:pPr>
            <a:endParaRPr lang="en-US" sz="1600" dirty="0">
              <a:solidFill>
                <a:schemeClr val="bg1"/>
              </a:solidFill>
              <a:latin typeface="CiscoSansJPN" pitchFamily="2" charset="-128"/>
              <a:ea typeface="CiscoSansJPN" pitchFamily="2" charset="-128"/>
              <a:cs typeface="CiscoSansJPN" pitchFamily="2" charset="-128"/>
            </a:endParaRPr>
          </a:p>
        </p:txBody>
      </p:sp>
      <p:sp>
        <p:nvSpPr>
          <p:cNvPr id="8" name="Text Placeholder 1">
            <a:extLst>
              <a:ext uri="{FF2B5EF4-FFF2-40B4-BE49-F238E27FC236}">
                <a16:creationId xmlns:a16="http://schemas.microsoft.com/office/drawing/2014/main" id="{3B6A5A0F-CA88-E84B-855E-AE97C371B344}"/>
              </a:ext>
            </a:extLst>
          </p:cNvPr>
          <p:cNvSpPr txBox="1">
            <a:spLocks/>
          </p:cNvSpPr>
          <p:nvPr/>
        </p:nvSpPr>
        <p:spPr>
          <a:xfrm>
            <a:off x="0" y="163613"/>
            <a:ext cx="8230980" cy="332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b" anchorCtr="0" compatLnSpc="1">
            <a:prstTxWarp prst="textNoShape">
              <a:avLst/>
            </a:prstTxWarp>
          </a:bodyPr>
          <a:lstStyle>
            <a:lvl1pPr defTabSz="684213" eaLnBrk="1" latinLnBrk="0" hangingPunct="1">
              <a:lnSpc>
                <a:spcPct val="80000"/>
              </a:lnSpc>
              <a:buNone/>
              <a:defRPr lang="en-US" sz="2800" b="0" i="0" u="none" spc="-100" baseline="0" dirty="0">
                <a:solidFill>
                  <a:schemeClr val="tx2"/>
                </a:solidFill>
                <a:latin typeface="Arial" panose="020B0604020202020204" pitchFamily="34" charset="0"/>
                <a:ea typeface="Arial" panose="020B0604020202020204" pitchFamily="34" charset="0"/>
                <a:cs typeface="Arial" panose="020B0604020202020204" pitchFamily="34" charset="0"/>
              </a:defRPr>
            </a:lvl1pPr>
            <a:lvl2pPr defTabSz="684213" eaLnBrk="1" hangingPunct="1">
              <a:lnSpc>
                <a:spcPct val="80000"/>
              </a:lnSpc>
              <a:defRPr sz="3200">
                <a:solidFill>
                  <a:srgbClr val="676767"/>
                </a:solidFill>
              </a:defRPr>
            </a:lvl2pPr>
            <a:lvl3pPr defTabSz="684213" eaLnBrk="1" hangingPunct="1">
              <a:lnSpc>
                <a:spcPct val="80000"/>
              </a:lnSpc>
              <a:defRPr sz="3200">
                <a:solidFill>
                  <a:srgbClr val="676767"/>
                </a:solidFill>
              </a:defRPr>
            </a:lvl3pPr>
            <a:lvl4pPr defTabSz="684213" eaLnBrk="1" hangingPunct="1">
              <a:lnSpc>
                <a:spcPct val="80000"/>
              </a:lnSpc>
              <a:defRPr sz="3200">
                <a:solidFill>
                  <a:srgbClr val="676767"/>
                </a:solidFill>
              </a:defRPr>
            </a:lvl4pPr>
            <a:lvl5pPr defTabSz="684213" eaLnBrk="1" hangingPunct="1">
              <a:lnSpc>
                <a:spcPct val="80000"/>
              </a:lnSpc>
              <a:defRPr sz="3200">
                <a:solidFill>
                  <a:srgbClr val="676767"/>
                </a:solidFill>
              </a:defRPr>
            </a:lvl5pPr>
            <a:lvl6pPr marL="457200" defTabSz="684213" fontAlgn="base">
              <a:lnSpc>
                <a:spcPct val="80000"/>
              </a:lnSpc>
              <a:spcBef>
                <a:spcPct val="0"/>
              </a:spcBef>
              <a:spcAft>
                <a:spcPct val="0"/>
              </a:spcAft>
              <a:defRPr sz="3200">
                <a:solidFill>
                  <a:srgbClr val="676767"/>
                </a:solidFill>
              </a:defRPr>
            </a:lvl6pPr>
            <a:lvl7pPr marL="914400" defTabSz="684213" fontAlgn="base">
              <a:lnSpc>
                <a:spcPct val="80000"/>
              </a:lnSpc>
              <a:spcBef>
                <a:spcPct val="0"/>
              </a:spcBef>
              <a:spcAft>
                <a:spcPct val="0"/>
              </a:spcAft>
              <a:defRPr sz="3200">
                <a:solidFill>
                  <a:srgbClr val="676767"/>
                </a:solidFill>
              </a:defRPr>
            </a:lvl7pPr>
            <a:lvl8pPr marL="1371600" defTabSz="684213" fontAlgn="base">
              <a:lnSpc>
                <a:spcPct val="80000"/>
              </a:lnSpc>
              <a:spcBef>
                <a:spcPct val="0"/>
              </a:spcBef>
              <a:spcAft>
                <a:spcPct val="0"/>
              </a:spcAft>
              <a:defRPr sz="3200">
                <a:solidFill>
                  <a:srgbClr val="676767"/>
                </a:solidFill>
              </a:defRPr>
            </a:lvl8pPr>
            <a:lvl9pPr marL="1828800" defTabSz="684213" fontAlgn="base">
              <a:lnSpc>
                <a:spcPct val="80000"/>
              </a:lnSpc>
              <a:spcBef>
                <a:spcPct val="0"/>
              </a:spcBef>
              <a:spcAft>
                <a:spcPct val="0"/>
              </a:spcAft>
              <a:defRPr sz="3200">
                <a:solidFill>
                  <a:srgbClr val="676767"/>
                </a:solidFill>
              </a:defRPr>
            </a:lvl9pPr>
          </a:lstStyle>
          <a:p>
            <a:r>
              <a:rPr lang="ja-JP" altLang="en-US">
                <a:latin typeface="CiscoSansJPN" pitchFamily="2" charset="-128"/>
                <a:ea typeface="CiscoSansJPN" pitchFamily="2" charset="-128"/>
                <a:cs typeface="CiscoSansJPN" pitchFamily="2" charset="-128"/>
              </a:rPr>
              <a:t>既にリリース済みの</a:t>
            </a:r>
            <a:r>
              <a:rPr lang="en-US" dirty="0">
                <a:latin typeface="CiscoSansJPN" pitchFamily="2" charset="-128"/>
                <a:ea typeface="CiscoSansJPN" pitchFamily="2" charset="-128"/>
                <a:cs typeface="CiscoSansJPN" pitchFamily="2" charset="-128"/>
              </a:rPr>
              <a:t>Threat Grid</a:t>
            </a:r>
            <a:r>
              <a:rPr lang="ja-JP" altLang="en-US">
                <a:latin typeface="CiscoSansJPN" pitchFamily="2" charset="-128"/>
                <a:ea typeface="CiscoSansJPN" pitchFamily="2" charset="-128"/>
                <a:cs typeface="CiscoSansJPN" pitchFamily="2" charset="-128"/>
              </a:rPr>
              <a:t>新機能</a:t>
            </a:r>
            <a:endParaRPr lang="en-US" dirty="0">
              <a:latin typeface="CiscoSansJPN" pitchFamily="2" charset="-128"/>
              <a:ea typeface="CiscoSansJPN" pitchFamily="2" charset="-128"/>
              <a:cs typeface="CiscoSansJPN" pitchFamily="2" charset="-128"/>
            </a:endParaRPr>
          </a:p>
        </p:txBody>
      </p:sp>
      <p:pic>
        <p:nvPicPr>
          <p:cNvPr id="3" name="Picture 2">
            <a:extLst>
              <a:ext uri="{FF2B5EF4-FFF2-40B4-BE49-F238E27FC236}">
                <a16:creationId xmlns:a16="http://schemas.microsoft.com/office/drawing/2014/main" id="{72FD462D-505F-D642-9180-F6E64DF9D3D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3742" y="495733"/>
            <a:ext cx="5166904" cy="3265317"/>
          </a:xfrm>
          <a:prstGeom prst="rect">
            <a:avLst/>
          </a:prstGeom>
        </p:spPr>
      </p:pic>
      <p:pic>
        <p:nvPicPr>
          <p:cNvPr id="2" name="Picture 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733367" y="2167852"/>
            <a:ext cx="3638876" cy="2061247"/>
          </a:xfrm>
          <a:prstGeom prst="rect">
            <a:avLst/>
          </a:prstGeom>
        </p:spPr>
      </p:pic>
      <p:sp>
        <p:nvSpPr>
          <p:cNvPr id="4" name="Rectangle 3"/>
          <p:cNvSpPr/>
          <p:nvPr/>
        </p:nvSpPr>
        <p:spPr>
          <a:xfrm>
            <a:off x="6764594" y="1101213"/>
            <a:ext cx="501445" cy="2772697"/>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351654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6A5F5403-8651-804A-8D36-779ACBE4F153}"/>
              </a:ext>
            </a:extLst>
          </p:cNvPr>
          <p:cNvSpPr>
            <a:spLocks noGrp="1"/>
          </p:cNvSpPr>
          <p:nvPr>
            <p:ph type="title"/>
          </p:nvPr>
        </p:nvSpPr>
        <p:spPr/>
        <p:txBody>
          <a:bodyPr/>
          <a:lstStyle/>
          <a:p>
            <a:r>
              <a:rPr lang="en-US" altLang="ja-JP" sz="2800" dirty="0">
                <a:solidFill>
                  <a:schemeClr val="bg1"/>
                </a:solidFill>
              </a:rPr>
              <a:t>MITRE’s ATT&amp;CK</a:t>
            </a:r>
            <a:endParaRPr kumimoji="1" lang="ja-JP" altLang="en-US"/>
          </a:p>
        </p:txBody>
      </p:sp>
      <p:pic>
        <p:nvPicPr>
          <p:cNvPr id="4" name="図 3">
            <a:extLst>
              <a:ext uri="{FF2B5EF4-FFF2-40B4-BE49-F238E27FC236}">
                <a16:creationId xmlns:a16="http://schemas.microsoft.com/office/drawing/2014/main" id="{D0198BE3-C0DD-6548-ADAA-EA07C8D0DF74}"/>
              </a:ext>
            </a:extLst>
          </p:cNvPr>
          <p:cNvPicPr>
            <a:picLocks noChangeAspect="1"/>
          </p:cNvPicPr>
          <p:nvPr/>
        </p:nvPicPr>
        <p:blipFill>
          <a:blip r:embed="rId2"/>
          <a:stretch>
            <a:fillRect/>
          </a:stretch>
        </p:blipFill>
        <p:spPr>
          <a:xfrm>
            <a:off x="3841898" y="1073151"/>
            <a:ext cx="4941356" cy="2664914"/>
          </a:xfrm>
          <a:prstGeom prst="rect">
            <a:avLst/>
          </a:prstGeom>
        </p:spPr>
      </p:pic>
      <p:sp>
        <p:nvSpPr>
          <p:cNvPr id="5" name="テキスト ボックス 4">
            <a:extLst>
              <a:ext uri="{FF2B5EF4-FFF2-40B4-BE49-F238E27FC236}">
                <a16:creationId xmlns:a16="http://schemas.microsoft.com/office/drawing/2014/main" id="{3EABBAB8-2B9A-DE4B-824A-D540CA320613}"/>
              </a:ext>
            </a:extLst>
          </p:cNvPr>
          <p:cNvSpPr txBox="1"/>
          <p:nvPr/>
        </p:nvSpPr>
        <p:spPr>
          <a:xfrm>
            <a:off x="437767" y="1502735"/>
            <a:ext cx="3283628" cy="2308324"/>
          </a:xfrm>
          <a:prstGeom prst="rect">
            <a:avLst/>
          </a:prstGeom>
          <a:noFill/>
        </p:spPr>
        <p:txBody>
          <a:bodyPr wrap="square" rtlCol="0">
            <a:spAutoFit/>
          </a:bodyPr>
          <a:lstStyle/>
          <a:p>
            <a:r>
              <a:rPr kumimoji="1" lang="en-US" altLang="ja-JP" dirty="0">
                <a:latin typeface="+mn-lt"/>
              </a:rPr>
              <a:t>MITRE</a:t>
            </a:r>
            <a:r>
              <a:rPr kumimoji="1" lang="ja-JP" altLang="en-US">
                <a:latin typeface="+mn-lt"/>
              </a:rPr>
              <a:t>は</a:t>
            </a:r>
            <a:r>
              <a:rPr kumimoji="1" lang="en-US" altLang="ja-JP" dirty="0">
                <a:latin typeface="+mn-lt"/>
              </a:rPr>
              <a:t>ATT&amp;CK</a:t>
            </a:r>
            <a:r>
              <a:rPr kumimoji="1" lang="ja-JP" altLang="en-US">
                <a:latin typeface="+mn-lt"/>
              </a:rPr>
              <a:t>というインシデントに対しての対応ストラテジを提供しています。</a:t>
            </a:r>
            <a:endParaRPr kumimoji="1" lang="en-US" altLang="ja-JP" dirty="0">
              <a:latin typeface="+mn-lt"/>
            </a:endParaRPr>
          </a:p>
          <a:p>
            <a:r>
              <a:rPr kumimoji="1" lang="ja-JP" altLang="en-US">
                <a:latin typeface="+mn-lt"/>
              </a:rPr>
              <a:t>このストラテジに沿った解析手法（</a:t>
            </a:r>
            <a:r>
              <a:rPr kumimoji="1" lang="en-US" altLang="ja-JP" dirty="0">
                <a:latin typeface="+mn-lt"/>
              </a:rPr>
              <a:t>Indicator</a:t>
            </a:r>
            <a:r>
              <a:rPr kumimoji="1" lang="ja-JP" altLang="en-US">
                <a:latin typeface="+mn-lt"/>
              </a:rPr>
              <a:t>）を</a:t>
            </a:r>
            <a:r>
              <a:rPr kumimoji="1" lang="en-US" altLang="ja-JP" dirty="0">
                <a:latin typeface="+mn-lt"/>
              </a:rPr>
              <a:t>TG</a:t>
            </a:r>
            <a:r>
              <a:rPr kumimoji="1" lang="ja-JP" altLang="en-US">
                <a:latin typeface="+mn-lt"/>
              </a:rPr>
              <a:t>は取り入れています</a:t>
            </a:r>
            <a:endParaRPr kumimoji="1" lang="en-US" altLang="ja-JP" dirty="0">
              <a:latin typeface="+mn-lt"/>
            </a:endParaRPr>
          </a:p>
          <a:p>
            <a:endParaRPr kumimoji="1" lang="en-US" altLang="ja-JP" dirty="0">
              <a:latin typeface="+mn-lt"/>
            </a:endParaRPr>
          </a:p>
          <a:p>
            <a:r>
              <a:rPr kumimoji="1" lang="en-US" altLang="ja-JP" dirty="0">
                <a:latin typeface="+mn-lt"/>
              </a:rPr>
              <a:t>https://</a:t>
            </a:r>
            <a:r>
              <a:rPr kumimoji="1" lang="en-US" altLang="ja-JP" dirty="0" err="1">
                <a:latin typeface="+mn-lt"/>
              </a:rPr>
              <a:t>attack.mitre.org</a:t>
            </a:r>
            <a:r>
              <a:rPr kumimoji="1" lang="en-US" altLang="ja-JP" dirty="0">
                <a:latin typeface="+mn-lt"/>
              </a:rPr>
              <a:t>/</a:t>
            </a:r>
            <a:endParaRPr kumimoji="1" lang="ja-JP" altLang="en-US" dirty="0">
              <a:latin typeface="+mn-lt"/>
            </a:endParaRPr>
          </a:p>
        </p:txBody>
      </p:sp>
      <p:sp>
        <p:nvSpPr>
          <p:cNvPr id="3" name="テキスト ボックス 2">
            <a:extLst>
              <a:ext uri="{FF2B5EF4-FFF2-40B4-BE49-F238E27FC236}">
                <a16:creationId xmlns:a16="http://schemas.microsoft.com/office/drawing/2014/main" id="{13F0FDA3-4CF0-B049-81A5-824BD0B87C8F}"/>
              </a:ext>
            </a:extLst>
          </p:cNvPr>
          <p:cNvSpPr txBox="1"/>
          <p:nvPr/>
        </p:nvSpPr>
        <p:spPr>
          <a:xfrm>
            <a:off x="920914" y="4033967"/>
            <a:ext cx="7617791" cy="646331"/>
          </a:xfrm>
          <a:prstGeom prst="rect">
            <a:avLst/>
          </a:prstGeom>
          <a:noFill/>
        </p:spPr>
        <p:txBody>
          <a:bodyPr wrap="none" rtlCol="0">
            <a:spAutoFit/>
          </a:bodyPr>
          <a:lstStyle/>
          <a:p>
            <a:r>
              <a:rPr kumimoji="1" lang="ja-JP" altLang="en-US">
                <a:latin typeface="+mn-lt"/>
              </a:rPr>
              <a:t>以下日本語ブログ</a:t>
            </a:r>
            <a:endParaRPr kumimoji="1" lang="en-US" altLang="ja-JP" dirty="0">
              <a:latin typeface="+mn-lt"/>
            </a:endParaRPr>
          </a:p>
          <a:p>
            <a:r>
              <a:rPr kumimoji="1" lang="en-US" altLang="ja-JP" dirty="0">
                <a:latin typeface="+mn-lt"/>
              </a:rPr>
              <a:t>https://</a:t>
            </a:r>
            <a:r>
              <a:rPr kumimoji="1" lang="en-US" altLang="ja-JP" dirty="0" err="1">
                <a:latin typeface="+mn-lt"/>
              </a:rPr>
              <a:t>gblogs.cisco.com</a:t>
            </a:r>
            <a:r>
              <a:rPr kumimoji="1" lang="en-US" altLang="ja-JP" dirty="0">
                <a:latin typeface="+mn-lt"/>
              </a:rPr>
              <a:t>/</a:t>
            </a:r>
            <a:r>
              <a:rPr kumimoji="1" lang="en-US" altLang="ja-JP" dirty="0" err="1">
                <a:latin typeface="+mn-lt"/>
              </a:rPr>
              <a:t>jp</a:t>
            </a:r>
            <a:r>
              <a:rPr kumimoji="1" lang="en-US" altLang="ja-JP" dirty="0">
                <a:latin typeface="+mn-lt"/>
              </a:rPr>
              <a:t>/2018/11/cisco-threat-grid-sandbox-</a:t>
            </a:r>
            <a:r>
              <a:rPr kumimoji="1" lang="en-US" altLang="ja-JP" dirty="0" err="1">
                <a:latin typeface="+mn-lt"/>
              </a:rPr>
              <a:t>attck</a:t>
            </a:r>
            <a:r>
              <a:rPr kumimoji="1" lang="en-US" altLang="ja-JP" dirty="0">
                <a:latin typeface="+mn-lt"/>
              </a:rPr>
              <a:t>/</a:t>
            </a:r>
            <a:endParaRPr kumimoji="1" lang="ja-JP" altLang="en-US" dirty="0">
              <a:latin typeface="+mn-lt"/>
            </a:endParaRPr>
          </a:p>
        </p:txBody>
      </p:sp>
    </p:spTree>
    <p:extLst>
      <p:ext uri="{BB962C8B-B14F-4D97-AF65-F5344CB8AC3E}">
        <p14:creationId xmlns:p14="http://schemas.microsoft.com/office/powerpoint/2010/main" val="36107156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4B30AEC-7126-9D4E-8814-8C8531A4AF3C}"/>
              </a:ext>
            </a:extLst>
          </p:cNvPr>
          <p:cNvSpPr>
            <a:spLocks noGrp="1"/>
          </p:cNvSpPr>
          <p:nvPr>
            <p:ph type="title"/>
          </p:nvPr>
        </p:nvSpPr>
        <p:spPr/>
        <p:txBody>
          <a:bodyPr/>
          <a:lstStyle/>
          <a:p>
            <a:r>
              <a:rPr kumimoji="1" lang="en-US" altLang="ja-JP" dirty="0"/>
              <a:t>TG Cloud</a:t>
            </a:r>
            <a:r>
              <a:rPr kumimoji="1" lang="ja-JP" altLang="en-US"/>
              <a:t>の管理画面に追加されたデフォルト</a:t>
            </a:r>
            <a:r>
              <a:rPr kumimoji="1" lang="en-US" altLang="ja-JP" dirty="0"/>
              <a:t>OS</a:t>
            </a:r>
            <a:endParaRPr kumimoji="1" lang="ja-JP" altLang="en-US"/>
          </a:p>
        </p:txBody>
      </p:sp>
      <p:pic>
        <p:nvPicPr>
          <p:cNvPr id="7" name="図 6">
            <a:extLst>
              <a:ext uri="{FF2B5EF4-FFF2-40B4-BE49-F238E27FC236}">
                <a16:creationId xmlns:a16="http://schemas.microsoft.com/office/drawing/2014/main" id="{E130BB19-5F79-2A46-A051-1AC943DC58C3}"/>
              </a:ext>
            </a:extLst>
          </p:cNvPr>
          <p:cNvPicPr>
            <a:picLocks noChangeAspect="1"/>
          </p:cNvPicPr>
          <p:nvPr/>
        </p:nvPicPr>
        <p:blipFill>
          <a:blip r:embed="rId2"/>
          <a:stretch>
            <a:fillRect/>
          </a:stretch>
        </p:blipFill>
        <p:spPr>
          <a:xfrm>
            <a:off x="3894850" y="864781"/>
            <a:ext cx="5249150" cy="4278719"/>
          </a:xfrm>
          <a:prstGeom prst="rect">
            <a:avLst/>
          </a:prstGeom>
        </p:spPr>
      </p:pic>
      <p:sp>
        <p:nvSpPr>
          <p:cNvPr id="8" name="正方形/長方形 7">
            <a:extLst>
              <a:ext uri="{FF2B5EF4-FFF2-40B4-BE49-F238E27FC236}">
                <a16:creationId xmlns:a16="http://schemas.microsoft.com/office/drawing/2014/main" id="{8B79CDD8-FEA3-7840-AC1E-D49EE8E92300}"/>
              </a:ext>
            </a:extLst>
          </p:cNvPr>
          <p:cNvSpPr/>
          <p:nvPr/>
        </p:nvSpPr>
        <p:spPr>
          <a:xfrm>
            <a:off x="4118344" y="3111796"/>
            <a:ext cx="4820093" cy="255182"/>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Tree>
    <p:extLst>
      <p:ext uri="{BB962C8B-B14F-4D97-AF65-F5344CB8AC3E}">
        <p14:creationId xmlns:p14="http://schemas.microsoft.com/office/powerpoint/2010/main" val="165558021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ja-JP" altLang="en-US"/>
              <a:t>ロードマップアップデート</a:t>
            </a:r>
            <a:endParaRPr lang="en-US" dirty="0"/>
          </a:p>
        </p:txBody>
      </p:sp>
    </p:spTree>
    <p:extLst>
      <p:ext uri="{BB962C8B-B14F-4D97-AF65-F5344CB8AC3E}">
        <p14:creationId xmlns:p14="http://schemas.microsoft.com/office/powerpoint/2010/main" val="170764697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urved Down Arrow 9"/>
          <p:cNvSpPr/>
          <p:nvPr/>
        </p:nvSpPr>
        <p:spPr>
          <a:xfrm flipH="1">
            <a:off x="3264453" y="789312"/>
            <a:ext cx="2497251" cy="892899"/>
          </a:xfrm>
          <a:prstGeom prst="curvedDownArrow">
            <a:avLst/>
          </a:prstGeom>
          <a:solidFill>
            <a:schemeClr val="bg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graphicFrame>
        <p:nvGraphicFramePr>
          <p:cNvPr id="34" name="Object 3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3664" name="think-cell Slide" r:id="rId5" imgW="476" imgH="357" progId="TCLayout.ActiveDocument.1">
                  <p:embed/>
                </p:oleObj>
              </mc:Choice>
              <mc:Fallback>
                <p:oleObj name="think-cell Slide" r:id="rId5" imgW="476" imgH="357"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itle 2"/>
          <p:cNvSpPr>
            <a:spLocks noGrp="1"/>
          </p:cNvSpPr>
          <p:nvPr>
            <p:ph type="title"/>
          </p:nvPr>
        </p:nvSpPr>
        <p:spPr/>
        <p:txBody>
          <a:bodyPr/>
          <a:lstStyle/>
          <a:p>
            <a:r>
              <a:rPr lang="ja-JP" altLang="en-US">
                <a:latin typeface="CiscoSans" panose="020B0503020201020303" pitchFamily="34" charset="0"/>
              </a:rPr>
              <a:t>ロードマップテーマ</a:t>
            </a:r>
            <a:endParaRPr lang="en-US" dirty="0">
              <a:latin typeface="CiscoSans" panose="020B0503020201020303" pitchFamily="34" charset="0"/>
            </a:endParaRPr>
          </a:p>
        </p:txBody>
      </p:sp>
      <p:sp>
        <p:nvSpPr>
          <p:cNvPr id="5" name="TextBox 4"/>
          <p:cNvSpPr txBox="1"/>
          <p:nvPr/>
        </p:nvSpPr>
        <p:spPr>
          <a:xfrm>
            <a:off x="3173540" y="518867"/>
            <a:ext cx="2675732" cy="307777"/>
          </a:xfrm>
          <a:prstGeom prst="rect">
            <a:avLst/>
          </a:prstGeom>
          <a:noFill/>
        </p:spPr>
        <p:txBody>
          <a:bodyPr wrap="none" rtlCol="0">
            <a:spAutoFit/>
          </a:bodyPr>
          <a:lstStyle/>
          <a:p>
            <a:r>
              <a:rPr lang="ja-JP" altLang="en-US" sz="1400">
                <a:latin typeface="+mn-lt"/>
              </a:rPr>
              <a:t>マーケットの信頼性とプレゼンス</a:t>
            </a:r>
            <a:endParaRPr lang="en-US" sz="1400" dirty="0">
              <a:latin typeface="+mn-lt"/>
            </a:endParaRPr>
          </a:p>
        </p:txBody>
      </p:sp>
      <p:sp>
        <p:nvSpPr>
          <p:cNvPr id="25" name="Rectangle 24"/>
          <p:cNvSpPr/>
          <p:nvPr/>
        </p:nvSpPr>
        <p:spPr>
          <a:xfrm>
            <a:off x="1278196" y="1908477"/>
            <a:ext cx="2149425" cy="1811242"/>
          </a:xfrm>
          <a:prstGeom prst="rect">
            <a:avLst/>
          </a:prstGeom>
          <a:solidFill>
            <a:schemeClr val="accent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algn="ctr">
              <a:spcBef>
                <a:spcPts val="1200"/>
              </a:spcBef>
            </a:pPr>
            <a:endParaRPr lang="en-US" sz="1100" dirty="0">
              <a:solidFill>
                <a:srgbClr val="FFFFFF"/>
              </a:solidFill>
              <a:latin typeface="CiscoSansTT ExtraLight" panose="020B0303020201020303" pitchFamily="34" charset="0"/>
            </a:endParaRPr>
          </a:p>
        </p:txBody>
      </p:sp>
      <p:sp>
        <p:nvSpPr>
          <p:cNvPr id="51" name="Oval 50"/>
          <p:cNvSpPr/>
          <p:nvPr/>
        </p:nvSpPr>
        <p:spPr>
          <a:xfrm>
            <a:off x="1891707" y="1296560"/>
            <a:ext cx="922403" cy="970966"/>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latin typeface="CiscoSansTT ExtraLight" panose="020B0303020201020303" pitchFamily="34" charset="0"/>
            </a:endParaRPr>
          </a:p>
        </p:txBody>
      </p:sp>
      <p:sp>
        <p:nvSpPr>
          <p:cNvPr id="72" name="Freeform 71"/>
          <p:cNvSpPr>
            <a:spLocks noChangeAspect="1" noEditPoints="1"/>
          </p:cNvSpPr>
          <p:nvPr/>
        </p:nvSpPr>
        <p:spPr bwMode="auto">
          <a:xfrm>
            <a:off x="2150356" y="1538895"/>
            <a:ext cx="399382" cy="511306"/>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chemeClr val="bg1"/>
          </a:solidFill>
          <a:ln w="9525">
            <a:noFill/>
            <a:round/>
            <a:headEnd/>
            <a:tailEnd/>
          </a:ln>
        </p:spPr>
        <p:txBody>
          <a:bodyPr vert="horz" wrap="square" lIns="121936" tIns="60969" rIns="121936" bIns="60969" numCol="1" anchor="t" anchorCtr="0" compatLnSpc="1">
            <a:prstTxWarp prst="textNoShape">
              <a:avLst/>
            </a:prstTxWarp>
          </a:bodyPr>
          <a:lstStyle/>
          <a:p>
            <a:pPr defTabSz="609507"/>
            <a:endParaRPr lang="en-US" sz="2400" kern="0" dirty="0">
              <a:solidFill>
                <a:prstClr val="black"/>
              </a:solidFill>
              <a:latin typeface="CiscoSansTT ExtraLight" panose="020B0303020201020303" pitchFamily="34" charset="0"/>
              <a:ea typeface="ＭＳ Ｐゴシック" charset="0"/>
            </a:endParaRPr>
          </a:p>
        </p:txBody>
      </p:sp>
      <p:sp>
        <p:nvSpPr>
          <p:cNvPr id="15" name="Rectangle 14"/>
          <p:cNvSpPr/>
          <p:nvPr/>
        </p:nvSpPr>
        <p:spPr>
          <a:xfrm>
            <a:off x="3477573" y="1908477"/>
            <a:ext cx="2149425" cy="1811242"/>
          </a:xfrm>
          <a:prstGeom prst="rect">
            <a:avLst/>
          </a:prstGeom>
          <a:solidFill>
            <a:schemeClr val="tx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a:spcBef>
                <a:spcPts val="1200"/>
              </a:spcBef>
            </a:pPr>
            <a:endParaRPr lang="en-US" sz="1100" dirty="0">
              <a:solidFill>
                <a:srgbClr val="FFFFFF"/>
              </a:solidFill>
              <a:latin typeface="CiscoSansTT ExtraLight" panose="020B0303020201020303" pitchFamily="34" charset="0"/>
            </a:endParaRPr>
          </a:p>
        </p:txBody>
      </p:sp>
      <p:sp>
        <p:nvSpPr>
          <p:cNvPr id="32" name="Oval 31"/>
          <p:cNvSpPr/>
          <p:nvPr/>
        </p:nvSpPr>
        <p:spPr>
          <a:xfrm>
            <a:off x="4091084" y="1296560"/>
            <a:ext cx="922403" cy="970966"/>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latin typeface="CiscoSansTT ExtraLight" panose="020B0303020201020303" pitchFamily="34" charset="0"/>
            </a:endParaRPr>
          </a:p>
        </p:txBody>
      </p:sp>
      <p:sp>
        <p:nvSpPr>
          <p:cNvPr id="5126" name="Freeform 6"/>
          <p:cNvSpPr>
            <a:spLocks noEditPoints="1"/>
          </p:cNvSpPr>
          <p:nvPr/>
        </p:nvSpPr>
        <p:spPr bwMode="auto">
          <a:xfrm>
            <a:off x="4304375" y="1568895"/>
            <a:ext cx="521950" cy="453801"/>
          </a:xfrm>
          <a:custGeom>
            <a:avLst/>
            <a:gdLst/>
            <a:ahLst/>
            <a:cxnLst>
              <a:cxn ang="0">
                <a:pos x="1896" y="396"/>
              </a:cxn>
              <a:cxn ang="0">
                <a:pos x="0" y="626"/>
              </a:cxn>
              <a:cxn ang="0">
                <a:pos x="499" y="807"/>
              </a:cxn>
              <a:cxn ang="0">
                <a:pos x="498" y="818"/>
              </a:cxn>
              <a:cxn ang="0">
                <a:pos x="502" y="838"/>
              </a:cxn>
              <a:cxn ang="0">
                <a:pos x="513" y="855"/>
              </a:cxn>
              <a:cxn ang="0">
                <a:pos x="530" y="867"/>
              </a:cxn>
              <a:cxn ang="0">
                <a:pos x="981" y="970"/>
              </a:cxn>
              <a:cxn ang="0">
                <a:pos x="992" y="971"/>
              </a:cxn>
              <a:cxn ang="0">
                <a:pos x="1013" y="969"/>
              </a:cxn>
              <a:cxn ang="0">
                <a:pos x="1029" y="957"/>
              </a:cxn>
              <a:cxn ang="0">
                <a:pos x="1041" y="941"/>
              </a:cxn>
              <a:cxn ang="0">
                <a:pos x="1059" y="866"/>
              </a:cxn>
              <a:cxn ang="0">
                <a:pos x="1595" y="823"/>
              </a:cxn>
              <a:cxn ang="0">
                <a:pos x="1727" y="786"/>
              </a:cxn>
              <a:cxn ang="0">
                <a:pos x="1810" y="612"/>
              </a:cxn>
              <a:cxn ang="0">
                <a:pos x="1776" y="567"/>
              </a:cxn>
              <a:cxn ang="0">
                <a:pos x="876" y="994"/>
              </a:cxn>
              <a:cxn ang="0">
                <a:pos x="698" y="1202"/>
              </a:cxn>
              <a:cxn ang="0">
                <a:pos x="688" y="1207"/>
              </a:cxn>
              <a:cxn ang="0">
                <a:pos x="666" y="1223"/>
              </a:cxn>
              <a:cxn ang="0">
                <a:pos x="648" y="1240"/>
              </a:cxn>
              <a:cxn ang="0">
                <a:pos x="631" y="1261"/>
              </a:cxn>
              <a:cxn ang="0">
                <a:pos x="616" y="1283"/>
              </a:cxn>
              <a:cxn ang="0">
                <a:pos x="606" y="1307"/>
              </a:cxn>
              <a:cxn ang="0">
                <a:pos x="599" y="1333"/>
              </a:cxn>
              <a:cxn ang="0">
                <a:pos x="596" y="1359"/>
              </a:cxn>
              <a:cxn ang="0">
                <a:pos x="594" y="1373"/>
              </a:cxn>
              <a:cxn ang="0">
                <a:pos x="598" y="1412"/>
              </a:cxn>
              <a:cxn ang="0">
                <a:pos x="610" y="1449"/>
              </a:cxn>
              <a:cxn ang="0">
                <a:pos x="628" y="1481"/>
              </a:cxn>
              <a:cxn ang="0">
                <a:pos x="652" y="1510"/>
              </a:cxn>
              <a:cxn ang="0">
                <a:pos x="680" y="1533"/>
              </a:cxn>
              <a:cxn ang="0">
                <a:pos x="713" y="1550"/>
              </a:cxn>
              <a:cxn ang="0">
                <a:pos x="748" y="1562"/>
              </a:cxn>
              <a:cxn ang="0">
                <a:pos x="787" y="1566"/>
              </a:cxn>
              <a:cxn ang="0">
                <a:pos x="807" y="1565"/>
              </a:cxn>
              <a:cxn ang="0">
                <a:pos x="844" y="1557"/>
              </a:cxn>
              <a:cxn ang="0">
                <a:pos x="880" y="1543"/>
              </a:cxn>
              <a:cxn ang="0">
                <a:pos x="910" y="1522"/>
              </a:cxn>
              <a:cxn ang="0">
                <a:pos x="936" y="1496"/>
              </a:cxn>
              <a:cxn ang="0">
                <a:pos x="956" y="1466"/>
              </a:cxn>
              <a:cxn ang="0">
                <a:pos x="972" y="1430"/>
              </a:cxn>
              <a:cxn ang="0">
                <a:pos x="980" y="1393"/>
              </a:cxn>
              <a:cxn ang="0">
                <a:pos x="980" y="1373"/>
              </a:cxn>
              <a:cxn ang="0">
                <a:pos x="979" y="1346"/>
              </a:cxn>
              <a:cxn ang="0">
                <a:pos x="972" y="1320"/>
              </a:cxn>
              <a:cxn ang="0">
                <a:pos x="963" y="1295"/>
              </a:cxn>
              <a:cxn ang="0">
                <a:pos x="951" y="1271"/>
              </a:cxn>
              <a:cxn ang="0">
                <a:pos x="936" y="1250"/>
              </a:cxn>
              <a:cxn ang="0">
                <a:pos x="919" y="1231"/>
              </a:cxn>
              <a:cxn ang="0">
                <a:pos x="898" y="1215"/>
              </a:cxn>
              <a:cxn ang="0">
                <a:pos x="876" y="1202"/>
              </a:cxn>
            </a:cxnLst>
            <a:rect l="0" t="0" r="r" b="b"/>
            <a:pathLst>
              <a:path w="1896" h="1566">
                <a:moveTo>
                  <a:pt x="1776" y="567"/>
                </a:moveTo>
                <a:lnTo>
                  <a:pt x="1896" y="396"/>
                </a:lnTo>
                <a:lnTo>
                  <a:pt x="142" y="0"/>
                </a:lnTo>
                <a:lnTo>
                  <a:pt x="0" y="626"/>
                </a:lnTo>
                <a:lnTo>
                  <a:pt x="515" y="742"/>
                </a:lnTo>
                <a:lnTo>
                  <a:pt x="499" y="807"/>
                </a:lnTo>
                <a:lnTo>
                  <a:pt x="499" y="807"/>
                </a:lnTo>
                <a:lnTo>
                  <a:pt x="498" y="818"/>
                </a:lnTo>
                <a:lnTo>
                  <a:pt x="499" y="828"/>
                </a:lnTo>
                <a:lnTo>
                  <a:pt x="502" y="838"/>
                </a:lnTo>
                <a:lnTo>
                  <a:pt x="507" y="848"/>
                </a:lnTo>
                <a:lnTo>
                  <a:pt x="513" y="855"/>
                </a:lnTo>
                <a:lnTo>
                  <a:pt x="521" y="862"/>
                </a:lnTo>
                <a:lnTo>
                  <a:pt x="530" y="867"/>
                </a:lnTo>
                <a:lnTo>
                  <a:pt x="539" y="871"/>
                </a:lnTo>
                <a:lnTo>
                  <a:pt x="981" y="970"/>
                </a:lnTo>
                <a:lnTo>
                  <a:pt x="981" y="970"/>
                </a:lnTo>
                <a:lnTo>
                  <a:pt x="992" y="971"/>
                </a:lnTo>
                <a:lnTo>
                  <a:pt x="1002" y="971"/>
                </a:lnTo>
                <a:lnTo>
                  <a:pt x="1013" y="969"/>
                </a:lnTo>
                <a:lnTo>
                  <a:pt x="1020" y="964"/>
                </a:lnTo>
                <a:lnTo>
                  <a:pt x="1029" y="957"/>
                </a:lnTo>
                <a:lnTo>
                  <a:pt x="1036" y="949"/>
                </a:lnTo>
                <a:lnTo>
                  <a:pt x="1041" y="941"/>
                </a:lnTo>
                <a:lnTo>
                  <a:pt x="1044" y="931"/>
                </a:lnTo>
                <a:lnTo>
                  <a:pt x="1059" y="866"/>
                </a:lnTo>
                <a:lnTo>
                  <a:pt x="1495" y="965"/>
                </a:lnTo>
                <a:lnTo>
                  <a:pt x="1595" y="823"/>
                </a:lnTo>
                <a:lnTo>
                  <a:pt x="1712" y="850"/>
                </a:lnTo>
                <a:lnTo>
                  <a:pt x="1727" y="786"/>
                </a:lnTo>
                <a:lnTo>
                  <a:pt x="1768" y="795"/>
                </a:lnTo>
                <a:lnTo>
                  <a:pt x="1810" y="612"/>
                </a:lnTo>
                <a:lnTo>
                  <a:pt x="1768" y="602"/>
                </a:lnTo>
                <a:lnTo>
                  <a:pt x="1776" y="567"/>
                </a:lnTo>
                <a:close/>
                <a:moveTo>
                  <a:pt x="876" y="1202"/>
                </a:moveTo>
                <a:lnTo>
                  <a:pt x="876" y="994"/>
                </a:lnTo>
                <a:lnTo>
                  <a:pt x="698" y="952"/>
                </a:lnTo>
                <a:lnTo>
                  <a:pt x="698" y="1202"/>
                </a:lnTo>
                <a:lnTo>
                  <a:pt x="698" y="1202"/>
                </a:lnTo>
                <a:lnTo>
                  <a:pt x="688" y="1207"/>
                </a:lnTo>
                <a:lnTo>
                  <a:pt x="676" y="1215"/>
                </a:lnTo>
                <a:lnTo>
                  <a:pt x="666" y="1223"/>
                </a:lnTo>
                <a:lnTo>
                  <a:pt x="657" y="1231"/>
                </a:lnTo>
                <a:lnTo>
                  <a:pt x="648" y="1240"/>
                </a:lnTo>
                <a:lnTo>
                  <a:pt x="639" y="1250"/>
                </a:lnTo>
                <a:lnTo>
                  <a:pt x="631" y="1261"/>
                </a:lnTo>
                <a:lnTo>
                  <a:pt x="623" y="1271"/>
                </a:lnTo>
                <a:lnTo>
                  <a:pt x="616" y="1283"/>
                </a:lnTo>
                <a:lnTo>
                  <a:pt x="611" y="1295"/>
                </a:lnTo>
                <a:lnTo>
                  <a:pt x="606" y="1307"/>
                </a:lnTo>
                <a:lnTo>
                  <a:pt x="602" y="1320"/>
                </a:lnTo>
                <a:lnTo>
                  <a:pt x="599" y="1333"/>
                </a:lnTo>
                <a:lnTo>
                  <a:pt x="597" y="1346"/>
                </a:lnTo>
                <a:lnTo>
                  <a:pt x="596" y="1359"/>
                </a:lnTo>
                <a:lnTo>
                  <a:pt x="594" y="1373"/>
                </a:lnTo>
                <a:lnTo>
                  <a:pt x="594" y="1373"/>
                </a:lnTo>
                <a:lnTo>
                  <a:pt x="596" y="1393"/>
                </a:lnTo>
                <a:lnTo>
                  <a:pt x="598" y="1412"/>
                </a:lnTo>
                <a:lnTo>
                  <a:pt x="603" y="1430"/>
                </a:lnTo>
                <a:lnTo>
                  <a:pt x="610" y="1449"/>
                </a:lnTo>
                <a:lnTo>
                  <a:pt x="618" y="1466"/>
                </a:lnTo>
                <a:lnTo>
                  <a:pt x="628" y="1481"/>
                </a:lnTo>
                <a:lnTo>
                  <a:pt x="639" y="1496"/>
                </a:lnTo>
                <a:lnTo>
                  <a:pt x="652" y="1510"/>
                </a:lnTo>
                <a:lnTo>
                  <a:pt x="665" y="1522"/>
                </a:lnTo>
                <a:lnTo>
                  <a:pt x="680" y="1533"/>
                </a:lnTo>
                <a:lnTo>
                  <a:pt x="696" y="1543"/>
                </a:lnTo>
                <a:lnTo>
                  <a:pt x="713" y="1550"/>
                </a:lnTo>
                <a:lnTo>
                  <a:pt x="730" y="1557"/>
                </a:lnTo>
                <a:lnTo>
                  <a:pt x="748" y="1562"/>
                </a:lnTo>
                <a:lnTo>
                  <a:pt x="768" y="1565"/>
                </a:lnTo>
                <a:lnTo>
                  <a:pt x="787" y="1566"/>
                </a:lnTo>
                <a:lnTo>
                  <a:pt x="787" y="1566"/>
                </a:lnTo>
                <a:lnTo>
                  <a:pt x="807" y="1565"/>
                </a:lnTo>
                <a:lnTo>
                  <a:pt x="826" y="1562"/>
                </a:lnTo>
                <a:lnTo>
                  <a:pt x="844" y="1557"/>
                </a:lnTo>
                <a:lnTo>
                  <a:pt x="863" y="1550"/>
                </a:lnTo>
                <a:lnTo>
                  <a:pt x="880" y="1543"/>
                </a:lnTo>
                <a:lnTo>
                  <a:pt x="895" y="1533"/>
                </a:lnTo>
                <a:lnTo>
                  <a:pt x="910" y="1522"/>
                </a:lnTo>
                <a:lnTo>
                  <a:pt x="924" y="1510"/>
                </a:lnTo>
                <a:lnTo>
                  <a:pt x="936" y="1496"/>
                </a:lnTo>
                <a:lnTo>
                  <a:pt x="947" y="1481"/>
                </a:lnTo>
                <a:lnTo>
                  <a:pt x="956" y="1466"/>
                </a:lnTo>
                <a:lnTo>
                  <a:pt x="966" y="1449"/>
                </a:lnTo>
                <a:lnTo>
                  <a:pt x="972" y="1430"/>
                </a:lnTo>
                <a:lnTo>
                  <a:pt x="976" y="1412"/>
                </a:lnTo>
                <a:lnTo>
                  <a:pt x="980" y="1393"/>
                </a:lnTo>
                <a:lnTo>
                  <a:pt x="980" y="1373"/>
                </a:lnTo>
                <a:lnTo>
                  <a:pt x="980" y="1373"/>
                </a:lnTo>
                <a:lnTo>
                  <a:pt x="980" y="1359"/>
                </a:lnTo>
                <a:lnTo>
                  <a:pt x="979" y="1346"/>
                </a:lnTo>
                <a:lnTo>
                  <a:pt x="976" y="1333"/>
                </a:lnTo>
                <a:lnTo>
                  <a:pt x="972" y="1320"/>
                </a:lnTo>
                <a:lnTo>
                  <a:pt x="968" y="1307"/>
                </a:lnTo>
                <a:lnTo>
                  <a:pt x="963" y="1295"/>
                </a:lnTo>
                <a:lnTo>
                  <a:pt x="958" y="1283"/>
                </a:lnTo>
                <a:lnTo>
                  <a:pt x="951" y="1271"/>
                </a:lnTo>
                <a:lnTo>
                  <a:pt x="945" y="1261"/>
                </a:lnTo>
                <a:lnTo>
                  <a:pt x="936" y="1250"/>
                </a:lnTo>
                <a:lnTo>
                  <a:pt x="928" y="1240"/>
                </a:lnTo>
                <a:lnTo>
                  <a:pt x="919" y="1231"/>
                </a:lnTo>
                <a:lnTo>
                  <a:pt x="908" y="1223"/>
                </a:lnTo>
                <a:lnTo>
                  <a:pt x="898" y="1215"/>
                </a:lnTo>
                <a:lnTo>
                  <a:pt x="887" y="1207"/>
                </a:lnTo>
                <a:lnTo>
                  <a:pt x="876" y="1202"/>
                </a:lnTo>
                <a:lnTo>
                  <a:pt x="876" y="1202"/>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sz="1400">
              <a:solidFill>
                <a:srgbClr val="39393B"/>
              </a:solidFill>
              <a:latin typeface="CiscoSansTT ExtraLight" panose="020B0303020201020303" pitchFamily="34" charset="0"/>
            </a:endParaRPr>
          </a:p>
        </p:txBody>
      </p:sp>
      <p:sp>
        <p:nvSpPr>
          <p:cNvPr id="4" name="Rectangle 3"/>
          <p:cNvSpPr/>
          <p:nvPr/>
        </p:nvSpPr>
        <p:spPr>
          <a:xfrm>
            <a:off x="5676949" y="1908477"/>
            <a:ext cx="2149425" cy="1811242"/>
          </a:xfrm>
          <a:prstGeom prst="rect">
            <a:avLst/>
          </a:prstGeom>
          <a:solidFill>
            <a:schemeClr val="accent1">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algn="ctr">
              <a:spcBef>
                <a:spcPts val="1200"/>
              </a:spcBef>
            </a:pPr>
            <a:endParaRPr lang="en-US" sz="1100" dirty="0">
              <a:solidFill>
                <a:srgbClr val="FFFFFF"/>
              </a:solidFill>
              <a:latin typeface="CiscoSansTT ExtraLight" panose="020B0303020201020303" pitchFamily="34" charset="0"/>
            </a:endParaRPr>
          </a:p>
        </p:txBody>
      </p:sp>
      <p:sp>
        <p:nvSpPr>
          <p:cNvPr id="35" name="Oval 34"/>
          <p:cNvSpPr/>
          <p:nvPr/>
        </p:nvSpPr>
        <p:spPr>
          <a:xfrm>
            <a:off x="6290460" y="1296560"/>
            <a:ext cx="922403" cy="970966"/>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solidFill>
                <a:srgbClr val="FFFFFF"/>
              </a:solidFill>
              <a:latin typeface="CiscoSansTT ExtraLight" panose="020B0303020201020303" pitchFamily="34" charset="0"/>
            </a:endParaRPr>
          </a:p>
        </p:txBody>
      </p:sp>
      <p:grpSp>
        <p:nvGrpSpPr>
          <p:cNvPr id="17" name="Group 16"/>
          <p:cNvGrpSpPr/>
          <p:nvPr/>
        </p:nvGrpSpPr>
        <p:grpSpPr>
          <a:xfrm>
            <a:off x="6471344" y="1487493"/>
            <a:ext cx="560634" cy="589099"/>
            <a:chOff x="5181285" y="1755497"/>
            <a:chExt cx="1561267" cy="1558486"/>
          </a:xfrm>
          <a:solidFill>
            <a:schemeClr val="bg1"/>
          </a:solidFill>
        </p:grpSpPr>
        <p:sp>
          <p:nvSpPr>
            <p:cNvPr id="79" name="Freeform 6"/>
            <p:cNvSpPr>
              <a:spLocks noEditPoints="1"/>
            </p:cNvSpPr>
            <p:nvPr/>
          </p:nvSpPr>
          <p:spPr bwMode="auto">
            <a:xfrm>
              <a:off x="5181285" y="1755497"/>
              <a:ext cx="1561267" cy="1558486"/>
            </a:xfrm>
            <a:custGeom>
              <a:avLst/>
              <a:gdLst>
                <a:gd name="T0" fmla="*/ 1257 w 1333"/>
                <a:gd name="T1" fmla="*/ 957 h 1331"/>
                <a:gd name="T2" fmla="*/ 1257 w 1333"/>
                <a:gd name="T3" fmla="*/ 957 h 1331"/>
                <a:gd name="T4" fmla="*/ 1204 w 1333"/>
                <a:gd name="T5" fmla="*/ 926 h 1331"/>
                <a:gd name="T6" fmla="*/ 996 w 1333"/>
                <a:gd name="T7" fmla="*/ 170 h 1331"/>
                <a:gd name="T8" fmla="*/ 1029 w 1333"/>
                <a:gd name="T9" fmla="*/ 113 h 1331"/>
                <a:gd name="T10" fmla="*/ 1015 w 1333"/>
                <a:gd name="T11" fmla="*/ 58 h 1331"/>
                <a:gd name="T12" fmla="*/ 960 w 1333"/>
                <a:gd name="T13" fmla="*/ 73 h 1331"/>
                <a:gd name="T14" fmla="*/ 928 w 1333"/>
                <a:gd name="T15" fmla="*/ 130 h 1331"/>
                <a:gd name="T16" fmla="*/ 170 w 1333"/>
                <a:gd name="T17" fmla="*/ 333 h 1331"/>
                <a:gd name="T18" fmla="*/ 117 w 1333"/>
                <a:gd name="T19" fmla="*/ 303 h 1331"/>
                <a:gd name="T20" fmla="*/ 62 w 1333"/>
                <a:gd name="T21" fmla="*/ 317 h 1331"/>
                <a:gd name="T22" fmla="*/ 77 w 1333"/>
                <a:gd name="T23" fmla="*/ 371 h 1331"/>
                <a:gd name="T24" fmla="*/ 131 w 1333"/>
                <a:gd name="T25" fmla="*/ 402 h 1331"/>
                <a:gd name="T26" fmla="*/ 337 w 1333"/>
                <a:gd name="T27" fmla="*/ 1160 h 1331"/>
                <a:gd name="T28" fmla="*/ 306 w 1333"/>
                <a:gd name="T29" fmla="*/ 1214 h 1331"/>
                <a:gd name="T30" fmla="*/ 321 w 1333"/>
                <a:gd name="T31" fmla="*/ 1268 h 1331"/>
                <a:gd name="T32" fmla="*/ 375 w 1333"/>
                <a:gd name="T33" fmla="*/ 1253 h 1331"/>
                <a:gd name="T34" fmla="*/ 406 w 1333"/>
                <a:gd name="T35" fmla="*/ 1200 h 1331"/>
                <a:gd name="T36" fmla="*/ 1164 w 1333"/>
                <a:gd name="T37" fmla="*/ 995 h 1331"/>
                <a:gd name="T38" fmla="*/ 1218 w 1333"/>
                <a:gd name="T39" fmla="*/ 1026 h 1331"/>
                <a:gd name="T40" fmla="*/ 1272 w 1333"/>
                <a:gd name="T41" fmla="*/ 1011 h 1331"/>
                <a:gd name="T42" fmla="*/ 1257 w 1333"/>
                <a:gd name="T43" fmla="*/ 957 h 1331"/>
                <a:gd name="T44" fmla="*/ 436 w 1333"/>
                <a:gd name="T45" fmla="*/ 1146 h 1331"/>
                <a:gd name="T46" fmla="*/ 436 w 1333"/>
                <a:gd name="T47" fmla="*/ 1146 h 1331"/>
                <a:gd name="T48" fmla="*/ 467 w 1333"/>
                <a:gd name="T49" fmla="*/ 1093 h 1331"/>
                <a:gd name="T50" fmla="*/ 452 w 1333"/>
                <a:gd name="T51" fmla="*/ 1039 h 1331"/>
                <a:gd name="T52" fmla="*/ 398 w 1333"/>
                <a:gd name="T53" fmla="*/ 1053 h 1331"/>
                <a:gd name="T54" fmla="*/ 368 w 1333"/>
                <a:gd name="T55" fmla="*/ 1107 h 1331"/>
                <a:gd name="T56" fmla="*/ 184 w 1333"/>
                <a:gd name="T57" fmla="*/ 433 h 1331"/>
                <a:gd name="T58" fmla="*/ 236 w 1333"/>
                <a:gd name="T59" fmla="*/ 463 h 1331"/>
                <a:gd name="T60" fmla="*/ 290 w 1333"/>
                <a:gd name="T61" fmla="*/ 448 h 1331"/>
                <a:gd name="T62" fmla="*/ 275 w 1333"/>
                <a:gd name="T63" fmla="*/ 394 h 1331"/>
                <a:gd name="T64" fmla="*/ 226 w 1333"/>
                <a:gd name="T65" fmla="*/ 365 h 1331"/>
                <a:gd name="T66" fmla="*/ 897 w 1333"/>
                <a:gd name="T67" fmla="*/ 184 h 1331"/>
                <a:gd name="T68" fmla="*/ 868 w 1333"/>
                <a:gd name="T69" fmla="*/ 234 h 1331"/>
                <a:gd name="T70" fmla="*/ 883 w 1333"/>
                <a:gd name="T71" fmla="*/ 288 h 1331"/>
                <a:gd name="T72" fmla="*/ 937 w 1333"/>
                <a:gd name="T73" fmla="*/ 273 h 1331"/>
                <a:gd name="T74" fmla="*/ 966 w 1333"/>
                <a:gd name="T75" fmla="*/ 223 h 1331"/>
                <a:gd name="T76" fmla="*/ 1150 w 1333"/>
                <a:gd name="T77" fmla="*/ 895 h 1331"/>
                <a:gd name="T78" fmla="*/ 1098 w 1333"/>
                <a:gd name="T79" fmla="*/ 866 h 1331"/>
                <a:gd name="T80" fmla="*/ 1044 w 1333"/>
                <a:gd name="T81" fmla="*/ 880 h 1331"/>
                <a:gd name="T82" fmla="*/ 1059 w 1333"/>
                <a:gd name="T83" fmla="*/ 935 h 1331"/>
                <a:gd name="T84" fmla="*/ 1111 w 1333"/>
                <a:gd name="T85" fmla="*/ 964 h 1331"/>
                <a:gd name="T86" fmla="*/ 436 w 1333"/>
                <a:gd name="T87" fmla="*/ 1146 h 1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3" h="1331">
                  <a:moveTo>
                    <a:pt x="1257" y="957"/>
                  </a:moveTo>
                  <a:lnTo>
                    <a:pt x="1257" y="957"/>
                  </a:lnTo>
                  <a:lnTo>
                    <a:pt x="1204" y="926"/>
                  </a:lnTo>
                  <a:cubicBezTo>
                    <a:pt x="1333" y="657"/>
                    <a:pt x="1245" y="335"/>
                    <a:pt x="996" y="170"/>
                  </a:cubicBezTo>
                  <a:lnTo>
                    <a:pt x="1029" y="113"/>
                  </a:lnTo>
                  <a:cubicBezTo>
                    <a:pt x="1039" y="95"/>
                    <a:pt x="1034" y="69"/>
                    <a:pt x="1015" y="58"/>
                  </a:cubicBezTo>
                  <a:cubicBezTo>
                    <a:pt x="995" y="47"/>
                    <a:pt x="970" y="56"/>
                    <a:pt x="960" y="73"/>
                  </a:cubicBezTo>
                  <a:lnTo>
                    <a:pt x="928" y="130"/>
                  </a:lnTo>
                  <a:cubicBezTo>
                    <a:pt x="661" y="0"/>
                    <a:pt x="337" y="86"/>
                    <a:pt x="170" y="333"/>
                  </a:cubicBezTo>
                  <a:lnTo>
                    <a:pt x="117" y="303"/>
                  </a:lnTo>
                  <a:cubicBezTo>
                    <a:pt x="97" y="292"/>
                    <a:pt x="73" y="298"/>
                    <a:pt x="62" y="317"/>
                  </a:cubicBezTo>
                  <a:cubicBezTo>
                    <a:pt x="51" y="336"/>
                    <a:pt x="58" y="360"/>
                    <a:pt x="77" y="371"/>
                  </a:cubicBezTo>
                  <a:lnTo>
                    <a:pt x="131" y="402"/>
                  </a:lnTo>
                  <a:cubicBezTo>
                    <a:pt x="0" y="670"/>
                    <a:pt x="88" y="995"/>
                    <a:pt x="337" y="1160"/>
                  </a:cubicBezTo>
                  <a:lnTo>
                    <a:pt x="306" y="1214"/>
                  </a:lnTo>
                  <a:cubicBezTo>
                    <a:pt x="295" y="1233"/>
                    <a:pt x="302" y="1257"/>
                    <a:pt x="321" y="1268"/>
                  </a:cubicBezTo>
                  <a:cubicBezTo>
                    <a:pt x="340" y="1279"/>
                    <a:pt x="364" y="1272"/>
                    <a:pt x="375" y="1253"/>
                  </a:cubicBezTo>
                  <a:lnTo>
                    <a:pt x="406" y="1200"/>
                  </a:lnTo>
                  <a:cubicBezTo>
                    <a:pt x="674" y="1331"/>
                    <a:pt x="999" y="1243"/>
                    <a:pt x="1164" y="995"/>
                  </a:cubicBezTo>
                  <a:lnTo>
                    <a:pt x="1218" y="1026"/>
                  </a:lnTo>
                  <a:cubicBezTo>
                    <a:pt x="1237" y="1037"/>
                    <a:pt x="1261" y="1030"/>
                    <a:pt x="1272" y="1011"/>
                  </a:cubicBezTo>
                  <a:cubicBezTo>
                    <a:pt x="1283" y="992"/>
                    <a:pt x="1276" y="968"/>
                    <a:pt x="1257" y="957"/>
                  </a:cubicBezTo>
                  <a:close/>
                  <a:moveTo>
                    <a:pt x="436" y="1146"/>
                  </a:moveTo>
                  <a:lnTo>
                    <a:pt x="436" y="1146"/>
                  </a:lnTo>
                  <a:lnTo>
                    <a:pt x="467" y="1093"/>
                  </a:lnTo>
                  <a:cubicBezTo>
                    <a:pt x="477" y="1076"/>
                    <a:pt x="472" y="1050"/>
                    <a:pt x="452" y="1039"/>
                  </a:cubicBezTo>
                  <a:cubicBezTo>
                    <a:pt x="433" y="1028"/>
                    <a:pt x="408" y="1036"/>
                    <a:pt x="398" y="1053"/>
                  </a:cubicBezTo>
                  <a:lnTo>
                    <a:pt x="368" y="1107"/>
                  </a:lnTo>
                  <a:cubicBezTo>
                    <a:pt x="150" y="959"/>
                    <a:pt x="71" y="670"/>
                    <a:pt x="184" y="433"/>
                  </a:cubicBezTo>
                  <a:lnTo>
                    <a:pt x="236" y="463"/>
                  </a:lnTo>
                  <a:cubicBezTo>
                    <a:pt x="255" y="474"/>
                    <a:pt x="279" y="467"/>
                    <a:pt x="290" y="448"/>
                  </a:cubicBezTo>
                  <a:cubicBezTo>
                    <a:pt x="301" y="429"/>
                    <a:pt x="295" y="405"/>
                    <a:pt x="275" y="394"/>
                  </a:cubicBezTo>
                  <a:lnTo>
                    <a:pt x="226" y="365"/>
                  </a:lnTo>
                  <a:cubicBezTo>
                    <a:pt x="373" y="148"/>
                    <a:pt x="659" y="70"/>
                    <a:pt x="897" y="184"/>
                  </a:cubicBezTo>
                  <a:lnTo>
                    <a:pt x="868" y="234"/>
                  </a:lnTo>
                  <a:cubicBezTo>
                    <a:pt x="857" y="253"/>
                    <a:pt x="864" y="277"/>
                    <a:pt x="883" y="288"/>
                  </a:cubicBezTo>
                  <a:cubicBezTo>
                    <a:pt x="902" y="299"/>
                    <a:pt x="926" y="292"/>
                    <a:pt x="937" y="273"/>
                  </a:cubicBezTo>
                  <a:lnTo>
                    <a:pt x="966" y="223"/>
                  </a:lnTo>
                  <a:cubicBezTo>
                    <a:pt x="1184" y="371"/>
                    <a:pt x="1263" y="658"/>
                    <a:pt x="1150" y="895"/>
                  </a:cubicBezTo>
                  <a:lnTo>
                    <a:pt x="1098" y="866"/>
                  </a:lnTo>
                  <a:cubicBezTo>
                    <a:pt x="1079" y="855"/>
                    <a:pt x="1055" y="861"/>
                    <a:pt x="1044" y="880"/>
                  </a:cubicBezTo>
                  <a:cubicBezTo>
                    <a:pt x="1033" y="899"/>
                    <a:pt x="1040" y="924"/>
                    <a:pt x="1059" y="935"/>
                  </a:cubicBezTo>
                  <a:lnTo>
                    <a:pt x="1111" y="964"/>
                  </a:lnTo>
                  <a:cubicBezTo>
                    <a:pt x="963" y="1182"/>
                    <a:pt x="674" y="1260"/>
                    <a:pt x="436" y="1146"/>
                  </a:cubicBezTo>
                  <a:close/>
                </a:path>
              </a:pathLst>
            </a:custGeom>
            <a:grpFill/>
            <a:ln w="0">
              <a:noFill/>
              <a:prstDash val="solid"/>
              <a:round/>
              <a:headEnd/>
              <a:tailEnd/>
            </a:ln>
          </p:spPr>
          <p:txBody>
            <a:bodyPr vert="horz" wrap="square" lIns="162560" tIns="81280" rIns="162560" bIns="81280" numCol="1" anchor="t" anchorCtr="0" compatLnSpc="1">
              <a:prstTxWarp prst="textNoShape">
                <a:avLst/>
              </a:prstTxWarp>
            </a:bodyPr>
            <a:lstStyle/>
            <a:p>
              <a:pPr defTabSz="812549"/>
              <a:endParaRPr lang="en-US" sz="2400">
                <a:solidFill>
                  <a:srgbClr val="676767"/>
                </a:solidFill>
                <a:latin typeface="CiscoSansTT ExtraLight" panose="020B0303020201020303" pitchFamily="34" charset="0"/>
                <a:ea typeface="ＭＳ Ｐゴシック" charset="0"/>
              </a:endParaRPr>
            </a:p>
          </p:txBody>
        </p:sp>
        <p:sp>
          <p:nvSpPr>
            <p:cNvPr id="80" name="Freeform 7"/>
            <p:cNvSpPr>
              <a:spLocks/>
            </p:cNvSpPr>
            <p:nvPr/>
          </p:nvSpPr>
          <p:spPr bwMode="auto">
            <a:xfrm>
              <a:off x="5517429" y="2216653"/>
              <a:ext cx="494494" cy="652842"/>
            </a:xfrm>
            <a:custGeom>
              <a:avLst/>
              <a:gdLst>
                <a:gd name="T0" fmla="*/ 300 w 422"/>
                <a:gd name="T1" fmla="*/ 50 h 559"/>
                <a:gd name="T2" fmla="*/ 300 w 422"/>
                <a:gd name="T3" fmla="*/ 50 h 559"/>
                <a:gd name="T4" fmla="*/ 252 w 422"/>
                <a:gd name="T5" fmla="*/ 85 h 559"/>
                <a:gd name="T6" fmla="*/ 198 w 422"/>
                <a:gd name="T7" fmla="*/ 14 h 559"/>
                <a:gd name="T8" fmla="*/ 164 w 422"/>
                <a:gd name="T9" fmla="*/ 9 h 559"/>
                <a:gd name="T10" fmla="*/ 162 w 422"/>
                <a:gd name="T11" fmla="*/ 44 h 559"/>
                <a:gd name="T12" fmla="*/ 217 w 422"/>
                <a:gd name="T13" fmla="*/ 118 h 559"/>
                <a:gd name="T14" fmla="*/ 174 w 422"/>
                <a:gd name="T15" fmla="*/ 176 h 559"/>
                <a:gd name="T16" fmla="*/ 94 w 422"/>
                <a:gd name="T17" fmla="*/ 131 h 559"/>
                <a:gd name="T18" fmla="*/ 61 w 422"/>
                <a:gd name="T19" fmla="*/ 139 h 559"/>
                <a:gd name="T20" fmla="*/ 70 w 422"/>
                <a:gd name="T21" fmla="*/ 173 h 559"/>
                <a:gd name="T22" fmla="*/ 150 w 422"/>
                <a:gd name="T23" fmla="*/ 218 h 559"/>
                <a:gd name="T24" fmla="*/ 122 w 422"/>
                <a:gd name="T25" fmla="*/ 285 h 559"/>
                <a:gd name="T26" fmla="*/ 30 w 422"/>
                <a:gd name="T27" fmla="*/ 275 h 559"/>
                <a:gd name="T28" fmla="*/ 0 w 422"/>
                <a:gd name="T29" fmla="*/ 296 h 559"/>
                <a:gd name="T30" fmla="*/ 13 w 422"/>
                <a:gd name="T31" fmla="*/ 321 h 559"/>
                <a:gd name="T32" fmla="*/ 20 w 422"/>
                <a:gd name="T33" fmla="*/ 323 h 559"/>
                <a:gd name="T34" fmla="*/ 114 w 422"/>
                <a:gd name="T35" fmla="*/ 334 h 559"/>
                <a:gd name="T36" fmla="*/ 199 w 422"/>
                <a:gd name="T37" fmla="*/ 559 h 559"/>
                <a:gd name="T38" fmla="*/ 422 w 422"/>
                <a:gd name="T39" fmla="*/ 170 h 559"/>
                <a:gd name="T40" fmla="*/ 306 w 422"/>
                <a:gd name="T41" fmla="*/ 63 h 559"/>
                <a:gd name="T42" fmla="*/ 300 w 422"/>
                <a:gd name="T43" fmla="*/ 5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2" h="559">
                  <a:moveTo>
                    <a:pt x="300" y="50"/>
                  </a:moveTo>
                  <a:lnTo>
                    <a:pt x="300" y="50"/>
                  </a:lnTo>
                  <a:cubicBezTo>
                    <a:pt x="282" y="59"/>
                    <a:pt x="268" y="71"/>
                    <a:pt x="252" y="85"/>
                  </a:cubicBezTo>
                  <a:lnTo>
                    <a:pt x="198" y="14"/>
                  </a:lnTo>
                  <a:cubicBezTo>
                    <a:pt x="190" y="4"/>
                    <a:pt x="174" y="0"/>
                    <a:pt x="164" y="9"/>
                  </a:cubicBezTo>
                  <a:cubicBezTo>
                    <a:pt x="155" y="17"/>
                    <a:pt x="153" y="33"/>
                    <a:pt x="162" y="44"/>
                  </a:cubicBezTo>
                  <a:lnTo>
                    <a:pt x="217" y="118"/>
                  </a:lnTo>
                  <a:cubicBezTo>
                    <a:pt x="202" y="137"/>
                    <a:pt x="186" y="155"/>
                    <a:pt x="174" y="176"/>
                  </a:cubicBezTo>
                  <a:lnTo>
                    <a:pt x="94" y="131"/>
                  </a:lnTo>
                  <a:cubicBezTo>
                    <a:pt x="81" y="123"/>
                    <a:pt x="69" y="126"/>
                    <a:pt x="61" y="139"/>
                  </a:cubicBezTo>
                  <a:cubicBezTo>
                    <a:pt x="56" y="149"/>
                    <a:pt x="57" y="165"/>
                    <a:pt x="70" y="173"/>
                  </a:cubicBezTo>
                  <a:lnTo>
                    <a:pt x="150" y="218"/>
                  </a:lnTo>
                  <a:cubicBezTo>
                    <a:pt x="137" y="241"/>
                    <a:pt x="129" y="264"/>
                    <a:pt x="122" y="285"/>
                  </a:cubicBezTo>
                  <a:lnTo>
                    <a:pt x="30" y="275"/>
                  </a:lnTo>
                  <a:cubicBezTo>
                    <a:pt x="13" y="273"/>
                    <a:pt x="1" y="284"/>
                    <a:pt x="0" y="296"/>
                  </a:cubicBezTo>
                  <a:cubicBezTo>
                    <a:pt x="0" y="304"/>
                    <a:pt x="6" y="317"/>
                    <a:pt x="13" y="321"/>
                  </a:cubicBezTo>
                  <a:cubicBezTo>
                    <a:pt x="15" y="322"/>
                    <a:pt x="18" y="322"/>
                    <a:pt x="20" y="323"/>
                  </a:cubicBezTo>
                  <a:lnTo>
                    <a:pt x="114" y="334"/>
                  </a:lnTo>
                  <a:cubicBezTo>
                    <a:pt x="105" y="417"/>
                    <a:pt x="141" y="490"/>
                    <a:pt x="199" y="559"/>
                  </a:cubicBezTo>
                  <a:lnTo>
                    <a:pt x="422" y="170"/>
                  </a:lnTo>
                  <a:cubicBezTo>
                    <a:pt x="370" y="140"/>
                    <a:pt x="333" y="101"/>
                    <a:pt x="306" y="63"/>
                  </a:cubicBezTo>
                  <a:cubicBezTo>
                    <a:pt x="306" y="58"/>
                    <a:pt x="303" y="54"/>
                    <a:pt x="300" y="50"/>
                  </a:cubicBezTo>
                  <a:close/>
                </a:path>
              </a:pathLst>
            </a:custGeom>
            <a:grpFill/>
            <a:ln w="0">
              <a:noFill/>
              <a:prstDash val="solid"/>
              <a:round/>
              <a:headEnd/>
              <a:tailEnd/>
            </a:ln>
          </p:spPr>
          <p:txBody>
            <a:bodyPr vert="horz" wrap="square" lIns="162560" tIns="81280" rIns="162560" bIns="81280" numCol="1" anchor="t" anchorCtr="0" compatLnSpc="1">
              <a:prstTxWarp prst="textNoShape">
                <a:avLst/>
              </a:prstTxWarp>
            </a:bodyPr>
            <a:lstStyle/>
            <a:p>
              <a:pPr defTabSz="812549"/>
              <a:endParaRPr lang="en-US" sz="2400">
                <a:solidFill>
                  <a:srgbClr val="676767"/>
                </a:solidFill>
                <a:latin typeface="CiscoSansTT ExtraLight" panose="020B0303020201020303" pitchFamily="34" charset="0"/>
                <a:ea typeface="ＭＳ Ｐゴシック" charset="0"/>
              </a:endParaRPr>
            </a:p>
          </p:txBody>
        </p:sp>
        <p:sp>
          <p:nvSpPr>
            <p:cNvPr id="81" name="Freeform 8"/>
            <p:cNvSpPr>
              <a:spLocks/>
            </p:cNvSpPr>
            <p:nvPr/>
          </p:nvSpPr>
          <p:spPr bwMode="auto">
            <a:xfrm>
              <a:off x="5778567" y="2430563"/>
              <a:ext cx="577836" cy="508383"/>
            </a:xfrm>
            <a:custGeom>
              <a:avLst/>
              <a:gdLst>
                <a:gd name="T0" fmla="*/ 396 w 492"/>
                <a:gd name="T1" fmla="*/ 304 h 435"/>
                <a:gd name="T2" fmla="*/ 396 w 492"/>
                <a:gd name="T3" fmla="*/ 304 h 435"/>
                <a:gd name="T4" fmla="*/ 431 w 492"/>
                <a:gd name="T5" fmla="*/ 297 h 435"/>
                <a:gd name="T6" fmla="*/ 422 w 492"/>
                <a:gd name="T7" fmla="*/ 263 h 435"/>
                <a:gd name="T8" fmla="*/ 344 w 492"/>
                <a:gd name="T9" fmla="*/ 219 h 435"/>
                <a:gd name="T10" fmla="*/ 372 w 492"/>
                <a:gd name="T11" fmla="*/ 152 h 435"/>
                <a:gd name="T12" fmla="*/ 464 w 492"/>
                <a:gd name="T13" fmla="*/ 162 h 435"/>
                <a:gd name="T14" fmla="*/ 489 w 492"/>
                <a:gd name="T15" fmla="*/ 141 h 435"/>
                <a:gd name="T16" fmla="*/ 469 w 492"/>
                <a:gd name="T17" fmla="*/ 114 h 435"/>
                <a:gd name="T18" fmla="*/ 383 w 492"/>
                <a:gd name="T19" fmla="*/ 100 h 435"/>
                <a:gd name="T20" fmla="*/ 389 w 492"/>
                <a:gd name="T21" fmla="*/ 45 h 435"/>
                <a:gd name="T22" fmla="*/ 375 w 492"/>
                <a:gd name="T23" fmla="*/ 47 h 435"/>
                <a:gd name="T24" fmla="*/ 223 w 492"/>
                <a:gd name="T25" fmla="*/ 0 h 435"/>
                <a:gd name="T26" fmla="*/ 0 w 492"/>
                <a:gd name="T27" fmla="*/ 389 h 435"/>
                <a:gd name="T28" fmla="*/ 236 w 492"/>
                <a:gd name="T29" fmla="*/ 351 h 435"/>
                <a:gd name="T30" fmla="*/ 291 w 492"/>
                <a:gd name="T31" fmla="*/ 423 h 435"/>
                <a:gd name="T32" fmla="*/ 298 w 492"/>
                <a:gd name="T33" fmla="*/ 429 h 435"/>
                <a:gd name="T34" fmla="*/ 325 w 492"/>
                <a:gd name="T35" fmla="*/ 427 h 435"/>
                <a:gd name="T36" fmla="*/ 332 w 492"/>
                <a:gd name="T37" fmla="*/ 393 h 435"/>
                <a:gd name="T38" fmla="*/ 273 w 492"/>
                <a:gd name="T39" fmla="*/ 319 h 435"/>
                <a:gd name="T40" fmla="*/ 320 w 492"/>
                <a:gd name="T41" fmla="*/ 260 h 435"/>
                <a:gd name="T42" fmla="*/ 396 w 492"/>
                <a:gd name="T43" fmla="*/ 30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2" h="435">
                  <a:moveTo>
                    <a:pt x="396" y="304"/>
                  </a:moveTo>
                  <a:lnTo>
                    <a:pt x="396" y="304"/>
                  </a:lnTo>
                  <a:cubicBezTo>
                    <a:pt x="409" y="312"/>
                    <a:pt x="424" y="305"/>
                    <a:pt x="431" y="297"/>
                  </a:cubicBezTo>
                  <a:cubicBezTo>
                    <a:pt x="439" y="283"/>
                    <a:pt x="433" y="270"/>
                    <a:pt x="422" y="263"/>
                  </a:cubicBezTo>
                  <a:lnTo>
                    <a:pt x="344" y="219"/>
                  </a:lnTo>
                  <a:cubicBezTo>
                    <a:pt x="357" y="196"/>
                    <a:pt x="365" y="173"/>
                    <a:pt x="372" y="152"/>
                  </a:cubicBezTo>
                  <a:lnTo>
                    <a:pt x="464" y="162"/>
                  </a:lnTo>
                  <a:cubicBezTo>
                    <a:pt x="476" y="164"/>
                    <a:pt x="488" y="153"/>
                    <a:pt x="489" y="141"/>
                  </a:cubicBezTo>
                  <a:cubicBezTo>
                    <a:pt x="492" y="127"/>
                    <a:pt x="480" y="116"/>
                    <a:pt x="469" y="114"/>
                  </a:cubicBezTo>
                  <a:lnTo>
                    <a:pt x="383" y="100"/>
                  </a:lnTo>
                  <a:cubicBezTo>
                    <a:pt x="387" y="85"/>
                    <a:pt x="390" y="66"/>
                    <a:pt x="389" y="45"/>
                  </a:cubicBezTo>
                  <a:cubicBezTo>
                    <a:pt x="384" y="45"/>
                    <a:pt x="379" y="45"/>
                    <a:pt x="375" y="47"/>
                  </a:cubicBezTo>
                  <a:cubicBezTo>
                    <a:pt x="328" y="43"/>
                    <a:pt x="275" y="31"/>
                    <a:pt x="223" y="0"/>
                  </a:cubicBezTo>
                  <a:lnTo>
                    <a:pt x="0" y="389"/>
                  </a:lnTo>
                  <a:cubicBezTo>
                    <a:pt x="85" y="408"/>
                    <a:pt x="168" y="398"/>
                    <a:pt x="236" y="351"/>
                  </a:cubicBezTo>
                  <a:lnTo>
                    <a:pt x="291" y="423"/>
                  </a:lnTo>
                  <a:cubicBezTo>
                    <a:pt x="293" y="424"/>
                    <a:pt x="296" y="428"/>
                    <a:pt x="298" y="429"/>
                  </a:cubicBezTo>
                  <a:cubicBezTo>
                    <a:pt x="308" y="435"/>
                    <a:pt x="320" y="432"/>
                    <a:pt x="325" y="427"/>
                  </a:cubicBezTo>
                  <a:cubicBezTo>
                    <a:pt x="334" y="420"/>
                    <a:pt x="338" y="405"/>
                    <a:pt x="332" y="393"/>
                  </a:cubicBezTo>
                  <a:lnTo>
                    <a:pt x="273" y="319"/>
                  </a:lnTo>
                  <a:cubicBezTo>
                    <a:pt x="291" y="302"/>
                    <a:pt x="307" y="283"/>
                    <a:pt x="320" y="260"/>
                  </a:cubicBezTo>
                  <a:lnTo>
                    <a:pt x="396" y="304"/>
                  </a:lnTo>
                  <a:close/>
                </a:path>
              </a:pathLst>
            </a:custGeom>
            <a:grpFill/>
            <a:ln w="0">
              <a:noFill/>
              <a:prstDash val="solid"/>
              <a:round/>
              <a:headEnd/>
              <a:tailEnd/>
            </a:ln>
          </p:spPr>
          <p:txBody>
            <a:bodyPr vert="horz" wrap="square" lIns="162560" tIns="81280" rIns="162560" bIns="81280" numCol="1" anchor="t" anchorCtr="0" compatLnSpc="1">
              <a:prstTxWarp prst="textNoShape">
                <a:avLst/>
              </a:prstTxWarp>
            </a:bodyPr>
            <a:lstStyle/>
            <a:p>
              <a:pPr defTabSz="812549"/>
              <a:endParaRPr lang="en-US" sz="2400">
                <a:solidFill>
                  <a:srgbClr val="676767"/>
                </a:solidFill>
                <a:latin typeface="CiscoSansTT ExtraLight" panose="020B0303020201020303" pitchFamily="34" charset="0"/>
                <a:ea typeface="ＭＳ Ｐゴシック" charset="0"/>
              </a:endParaRPr>
            </a:p>
          </p:txBody>
        </p:sp>
        <p:sp>
          <p:nvSpPr>
            <p:cNvPr id="82" name="Freeform 9"/>
            <p:cNvSpPr>
              <a:spLocks/>
            </p:cNvSpPr>
            <p:nvPr/>
          </p:nvSpPr>
          <p:spPr bwMode="auto">
            <a:xfrm>
              <a:off x="5914691" y="2002743"/>
              <a:ext cx="505606" cy="430598"/>
            </a:xfrm>
            <a:custGeom>
              <a:avLst/>
              <a:gdLst>
                <a:gd name="T0" fmla="*/ 282 w 432"/>
                <a:gd name="T1" fmla="*/ 367 h 367"/>
                <a:gd name="T2" fmla="*/ 282 w 432"/>
                <a:gd name="T3" fmla="*/ 367 h 367"/>
                <a:gd name="T4" fmla="*/ 263 w 432"/>
                <a:gd name="T5" fmla="*/ 297 h 367"/>
                <a:gd name="T6" fmla="*/ 354 w 432"/>
                <a:gd name="T7" fmla="*/ 268 h 367"/>
                <a:gd name="T8" fmla="*/ 361 w 432"/>
                <a:gd name="T9" fmla="*/ 272 h 367"/>
                <a:gd name="T10" fmla="*/ 421 w 432"/>
                <a:gd name="T11" fmla="*/ 257 h 367"/>
                <a:gd name="T12" fmla="*/ 403 w 432"/>
                <a:gd name="T13" fmla="*/ 200 h 367"/>
                <a:gd name="T14" fmla="*/ 346 w 432"/>
                <a:gd name="T15" fmla="*/ 214 h 367"/>
                <a:gd name="T16" fmla="*/ 340 w 432"/>
                <a:gd name="T17" fmla="*/ 233 h 367"/>
                <a:gd name="T18" fmla="*/ 246 w 432"/>
                <a:gd name="T19" fmla="*/ 263 h 367"/>
                <a:gd name="T20" fmla="*/ 186 w 432"/>
                <a:gd name="T21" fmla="*/ 206 h 367"/>
                <a:gd name="T22" fmla="*/ 101 w 432"/>
                <a:gd name="T23" fmla="*/ 182 h 367"/>
                <a:gd name="T24" fmla="*/ 80 w 432"/>
                <a:gd name="T25" fmla="*/ 84 h 367"/>
                <a:gd name="T26" fmla="*/ 93 w 432"/>
                <a:gd name="T27" fmla="*/ 69 h 367"/>
                <a:gd name="T28" fmla="*/ 75 w 432"/>
                <a:gd name="T29" fmla="*/ 12 h 367"/>
                <a:gd name="T30" fmla="*/ 18 w 432"/>
                <a:gd name="T31" fmla="*/ 26 h 367"/>
                <a:gd name="T32" fmla="*/ 34 w 432"/>
                <a:gd name="T33" fmla="*/ 84 h 367"/>
                <a:gd name="T34" fmla="*/ 43 w 432"/>
                <a:gd name="T35" fmla="*/ 90 h 367"/>
                <a:gd name="T36" fmla="*/ 61 w 432"/>
                <a:gd name="T37" fmla="*/ 184 h 367"/>
                <a:gd name="T38" fmla="*/ 0 w 432"/>
                <a:gd name="T39" fmla="*/ 205 h 367"/>
                <a:gd name="T40" fmla="*/ 4 w 432"/>
                <a:gd name="T41" fmla="*/ 215 h 367"/>
                <a:gd name="T42" fmla="*/ 120 w 432"/>
                <a:gd name="T43" fmla="*/ 321 h 367"/>
                <a:gd name="T44" fmla="*/ 269 w 432"/>
                <a:gd name="T45" fmla="*/ 367 h 367"/>
                <a:gd name="T46" fmla="*/ 282 w 432"/>
                <a:gd name="T47"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2" h="367">
                  <a:moveTo>
                    <a:pt x="282" y="367"/>
                  </a:moveTo>
                  <a:lnTo>
                    <a:pt x="282" y="367"/>
                  </a:lnTo>
                  <a:cubicBezTo>
                    <a:pt x="281" y="342"/>
                    <a:pt x="274" y="318"/>
                    <a:pt x="263" y="297"/>
                  </a:cubicBezTo>
                  <a:cubicBezTo>
                    <a:pt x="328" y="277"/>
                    <a:pt x="348" y="269"/>
                    <a:pt x="354" y="268"/>
                  </a:cubicBezTo>
                  <a:cubicBezTo>
                    <a:pt x="358" y="270"/>
                    <a:pt x="360" y="271"/>
                    <a:pt x="361" y="272"/>
                  </a:cubicBezTo>
                  <a:cubicBezTo>
                    <a:pt x="383" y="284"/>
                    <a:pt x="410" y="278"/>
                    <a:pt x="421" y="257"/>
                  </a:cubicBezTo>
                  <a:cubicBezTo>
                    <a:pt x="432" y="239"/>
                    <a:pt x="424" y="212"/>
                    <a:pt x="403" y="200"/>
                  </a:cubicBezTo>
                  <a:cubicBezTo>
                    <a:pt x="382" y="188"/>
                    <a:pt x="357" y="195"/>
                    <a:pt x="346" y="214"/>
                  </a:cubicBezTo>
                  <a:cubicBezTo>
                    <a:pt x="342" y="221"/>
                    <a:pt x="340" y="225"/>
                    <a:pt x="340" y="233"/>
                  </a:cubicBezTo>
                  <a:lnTo>
                    <a:pt x="246" y="263"/>
                  </a:lnTo>
                  <a:cubicBezTo>
                    <a:pt x="232" y="240"/>
                    <a:pt x="212" y="221"/>
                    <a:pt x="186" y="206"/>
                  </a:cubicBezTo>
                  <a:cubicBezTo>
                    <a:pt x="159" y="191"/>
                    <a:pt x="131" y="182"/>
                    <a:pt x="101" y="182"/>
                  </a:cubicBezTo>
                  <a:cubicBezTo>
                    <a:pt x="85" y="111"/>
                    <a:pt x="80" y="88"/>
                    <a:pt x="80" y="84"/>
                  </a:cubicBezTo>
                  <a:cubicBezTo>
                    <a:pt x="84" y="81"/>
                    <a:pt x="89" y="77"/>
                    <a:pt x="93" y="69"/>
                  </a:cubicBezTo>
                  <a:cubicBezTo>
                    <a:pt x="104" y="51"/>
                    <a:pt x="96" y="24"/>
                    <a:pt x="75" y="12"/>
                  </a:cubicBezTo>
                  <a:cubicBezTo>
                    <a:pt x="54" y="0"/>
                    <a:pt x="29" y="7"/>
                    <a:pt x="18" y="26"/>
                  </a:cubicBezTo>
                  <a:cubicBezTo>
                    <a:pt x="6" y="46"/>
                    <a:pt x="12" y="72"/>
                    <a:pt x="34" y="84"/>
                  </a:cubicBezTo>
                  <a:cubicBezTo>
                    <a:pt x="37" y="86"/>
                    <a:pt x="39" y="87"/>
                    <a:pt x="43" y="90"/>
                  </a:cubicBezTo>
                  <a:lnTo>
                    <a:pt x="61" y="184"/>
                  </a:lnTo>
                  <a:cubicBezTo>
                    <a:pt x="40" y="189"/>
                    <a:pt x="19" y="194"/>
                    <a:pt x="0" y="205"/>
                  </a:cubicBezTo>
                  <a:cubicBezTo>
                    <a:pt x="1" y="208"/>
                    <a:pt x="2" y="211"/>
                    <a:pt x="4" y="215"/>
                  </a:cubicBezTo>
                  <a:cubicBezTo>
                    <a:pt x="30" y="252"/>
                    <a:pt x="68" y="292"/>
                    <a:pt x="120" y="321"/>
                  </a:cubicBezTo>
                  <a:cubicBezTo>
                    <a:pt x="171" y="350"/>
                    <a:pt x="224" y="364"/>
                    <a:pt x="269" y="367"/>
                  </a:cubicBezTo>
                  <a:cubicBezTo>
                    <a:pt x="274" y="367"/>
                    <a:pt x="277" y="367"/>
                    <a:pt x="282" y="367"/>
                  </a:cubicBezTo>
                  <a:close/>
                </a:path>
              </a:pathLst>
            </a:custGeom>
            <a:grpFill/>
            <a:ln w="0">
              <a:noFill/>
              <a:prstDash val="solid"/>
              <a:round/>
              <a:headEnd/>
              <a:tailEnd/>
            </a:ln>
          </p:spPr>
          <p:txBody>
            <a:bodyPr vert="horz" wrap="square" lIns="162560" tIns="81280" rIns="162560" bIns="81280" numCol="1" anchor="t" anchorCtr="0" compatLnSpc="1">
              <a:prstTxWarp prst="textNoShape">
                <a:avLst/>
              </a:prstTxWarp>
            </a:bodyPr>
            <a:lstStyle/>
            <a:p>
              <a:pPr defTabSz="812549"/>
              <a:endParaRPr lang="en-US" sz="2400">
                <a:solidFill>
                  <a:srgbClr val="676767"/>
                </a:solidFill>
                <a:latin typeface="CiscoSansTT ExtraLight" panose="020B0303020201020303" pitchFamily="34" charset="0"/>
                <a:ea typeface="ＭＳ Ｐゴシック" charset="0"/>
              </a:endParaRPr>
            </a:p>
          </p:txBody>
        </p:sp>
      </p:grpSp>
      <p:sp>
        <p:nvSpPr>
          <p:cNvPr id="26" name="Left-Right Arrow 25"/>
          <p:cNvSpPr/>
          <p:nvPr/>
        </p:nvSpPr>
        <p:spPr>
          <a:xfrm>
            <a:off x="1278195" y="3834633"/>
            <a:ext cx="6548178" cy="387912"/>
          </a:xfrm>
          <a:prstGeom prst="leftRightArrow">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7" name="TextBox 26"/>
          <p:cNvSpPr txBox="1"/>
          <p:nvPr/>
        </p:nvSpPr>
        <p:spPr>
          <a:xfrm>
            <a:off x="2311603" y="3905959"/>
            <a:ext cx="4423006" cy="261610"/>
          </a:xfrm>
          <a:prstGeom prst="rect">
            <a:avLst/>
          </a:prstGeom>
          <a:noFill/>
        </p:spPr>
        <p:txBody>
          <a:bodyPr wrap="none" rtlCol="0">
            <a:spAutoFit/>
          </a:bodyPr>
          <a:lstStyle/>
          <a:p>
            <a:r>
              <a:rPr lang="ja-JP" altLang="en-US" sz="1100">
                <a:latin typeface="+mn-lt"/>
              </a:rPr>
              <a:t>シスコ全体の脅威インテリジェンスと拡張性及び有効性の為の機械学習</a:t>
            </a:r>
            <a:endParaRPr lang="en-US" sz="1100" dirty="0">
              <a:latin typeface="+mn-lt"/>
            </a:endParaRPr>
          </a:p>
        </p:txBody>
      </p:sp>
      <p:sp>
        <p:nvSpPr>
          <p:cNvPr id="28" name="Left-Right Arrow 27"/>
          <p:cNvSpPr/>
          <p:nvPr/>
        </p:nvSpPr>
        <p:spPr>
          <a:xfrm>
            <a:off x="1278194" y="3618334"/>
            <a:ext cx="6548178" cy="387912"/>
          </a:xfrm>
          <a:prstGeom prst="leftRightArrow">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29" name="TextBox 28"/>
          <p:cNvSpPr txBox="1"/>
          <p:nvPr/>
        </p:nvSpPr>
        <p:spPr>
          <a:xfrm>
            <a:off x="3019711" y="3681968"/>
            <a:ext cx="2904962" cy="261610"/>
          </a:xfrm>
          <a:prstGeom prst="rect">
            <a:avLst/>
          </a:prstGeom>
          <a:noFill/>
        </p:spPr>
        <p:txBody>
          <a:bodyPr wrap="none" rtlCol="0">
            <a:spAutoFit/>
          </a:bodyPr>
          <a:lstStyle/>
          <a:p>
            <a:r>
              <a:rPr lang="ja-JP" altLang="en-US" sz="1100">
                <a:latin typeface="+mn-lt"/>
              </a:rPr>
              <a:t>コンテキストとエンフォースメントの汎用識別性</a:t>
            </a:r>
            <a:endParaRPr lang="en-US" sz="1100" dirty="0">
              <a:latin typeface="+mn-lt"/>
            </a:endParaRPr>
          </a:p>
        </p:txBody>
      </p:sp>
      <p:sp>
        <p:nvSpPr>
          <p:cNvPr id="7" name="Left Arrow 6"/>
          <p:cNvSpPr/>
          <p:nvPr/>
        </p:nvSpPr>
        <p:spPr>
          <a:xfrm>
            <a:off x="7876325" y="2240574"/>
            <a:ext cx="1110359" cy="961899"/>
          </a:xfrm>
          <a:prstGeom prst="leftArrow">
            <a:avLst/>
          </a:prstGeom>
          <a:solidFill>
            <a:schemeClr val="bg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a:solidFill>
                  <a:schemeClr val="tx1"/>
                </a:solidFill>
              </a:rPr>
              <a:t>新しい販路</a:t>
            </a:r>
            <a:endParaRPr lang="en-US" sz="1100" b="1" dirty="0">
              <a:solidFill>
                <a:schemeClr val="tx1"/>
              </a:solidFill>
            </a:endParaRPr>
          </a:p>
        </p:txBody>
      </p:sp>
      <p:sp>
        <p:nvSpPr>
          <p:cNvPr id="8" name="Right Arrow 7"/>
          <p:cNvSpPr/>
          <p:nvPr/>
        </p:nvSpPr>
        <p:spPr>
          <a:xfrm>
            <a:off x="127819" y="1883485"/>
            <a:ext cx="1127431" cy="1031575"/>
          </a:xfrm>
          <a:prstGeom prst="rightArrow">
            <a:avLst/>
          </a:prstGeom>
          <a:solidFill>
            <a:schemeClr val="bg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a:solidFill>
                  <a:schemeClr val="tx1"/>
                </a:solidFill>
              </a:rPr>
              <a:t>既存パートナー</a:t>
            </a:r>
            <a:endParaRPr lang="en-US" sz="1100" b="1" dirty="0">
              <a:solidFill>
                <a:schemeClr val="tx1"/>
              </a:solidFill>
            </a:endParaRPr>
          </a:p>
        </p:txBody>
      </p:sp>
      <p:sp>
        <p:nvSpPr>
          <p:cNvPr id="11" name="TextBox 10"/>
          <p:cNvSpPr txBox="1"/>
          <p:nvPr/>
        </p:nvSpPr>
        <p:spPr>
          <a:xfrm>
            <a:off x="1263861" y="2240947"/>
            <a:ext cx="2172371" cy="1231106"/>
          </a:xfrm>
          <a:prstGeom prst="rect">
            <a:avLst/>
          </a:prstGeom>
          <a:noFill/>
        </p:spPr>
        <p:txBody>
          <a:bodyPr wrap="square" rtlCol="0">
            <a:spAutoFit/>
          </a:bodyPr>
          <a:lstStyle/>
          <a:p>
            <a:pPr algn="ctr">
              <a:spcBef>
                <a:spcPts val="1200"/>
              </a:spcBef>
            </a:pPr>
            <a:r>
              <a:rPr lang="ja-JP" altLang="en-US" sz="1600">
                <a:solidFill>
                  <a:schemeClr val="bg2"/>
                </a:solidFill>
                <a:latin typeface="CiscoSansTT ExtraLight" panose="020B0303020201020303" pitchFamily="34" charset="0"/>
              </a:rPr>
              <a:t>防御</a:t>
            </a:r>
            <a:endParaRPr lang="en-US" sz="1600" dirty="0">
              <a:solidFill>
                <a:schemeClr val="bg2"/>
              </a:solidFill>
              <a:latin typeface="CiscoSansTT ExtraLight" panose="020B0303020201020303" pitchFamily="34" charset="0"/>
            </a:endParaRPr>
          </a:p>
          <a:p>
            <a:pPr marL="342900" indent="-342900">
              <a:spcBef>
                <a:spcPts val="1200"/>
              </a:spcBef>
              <a:buFont typeface="Arial" charset="0"/>
              <a:buChar char="•"/>
            </a:pPr>
            <a:r>
              <a:rPr lang="ja-JP" altLang="en-US" sz="1200">
                <a:solidFill>
                  <a:schemeClr val="bg2"/>
                </a:solidFill>
                <a:latin typeface="CiscoSansTT ExtraLight" panose="020B0303020201020303" pitchFamily="34" charset="0"/>
              </a:rPr>
              <a:t>エンジンの拡張</a:t>
            </a:r>
            <a:endParaRPr lang="en-US" sz="1200" dirty="0">
              <a:solidFill>
                <a:schemeClr val="bg2"/>
              </a:solidFill>
              <a:latin typeface="CiscoSansTT ExtraLight" panose="020B0303020201020303" pitchFamily="34" charset="0"/>
            </a:endParaRPr>
          </a:p>
          <a:p>
            <a:pPr marL="342900" indent="-342900">
              <a:spcBef>
                <a:spcPts val="1200"/>
              </a:spcBef>
              <a:buFont typeface="Arial" charset="0"/>
              <a:buChar char="•"/>
            </a:pPr>
            <a:r>
              <a:rPr lang="ja-JP" altLang="en-US" sz="1200">
                <a:solidFill>
                  <a:schemeClr val="bg2"/>
                </a:solidFill>
                <a:latin typeface="CiscoSansTT ExtraLight" panose="020B0303020201020303" pitchFamily="34" charset="0"/>
              </a:rPr>
              <a:t>有効な手法の提供</a:t>
            </a:r>
            <a:endParaRPr lang="en-US" sz="1200" dirty="0">
              <a:solidFill>
                <a:schemeClr val="bg2"/>
              </a:solidFill>
              <a:latin typeface="CiscoSansTT ExtraLight" panose="020B0303020201020303" pitchFamily="34" charset="0"/>
            </a:endParaRPr>
          </a:p>
          <a:p>
            <a:endParaRPr lang="en-US" sz="1400" dirty="0">
              <a:solidFill>
                <a:schemeClr val="bg2"/>
              </a:solidFill>
              <a:latin typeface="+mn-lt"/>
            </a:endParaRPr>
          </a:p>
        </p:txBody>
      </p:sp>
      <p:sp>
        <p:nvSpPr>
          <p:cNvPr id="12" name="TextBox 11"/>
          <p:cNvSpPr txBox="1"/>
          <p:nvPr/>
        </p:nvSpPr>
        <p:spPr>
          <a:xfrm>
            <a:off x="3612717" y="2240574"/>
            <a:ext cx="2028613" cy="1200329"/>
          </a:xfrm>
          <a:prstGeom prst="rect">
            <a:avLst/>
          </a:prstGeom>
          <a:noFill/>
        </p:spPr>
        <p:txBody>
          <a:bodyPr wrap="square" rtlCol="0">
            <a:spAutoFit/>
          </a:bodyPr>
          <a:lstStyle/>
          <a:p>
            <a:pPr algn="ctr">
              <a:spcBef>
                <a:spcPts val="1200"/>
              </a:spcBef>
            </a:pPr>
            <a:r>
              <a:rPr lang="ja-JP" altLang="en-US" sz="1600">
                <a:solidFill>
                  <a:srgbClr val="FFFFFF"/>
                </a:solidFill>
                <a:latin typeface="CiscoSansTT ExtraLight" panose="020B0303020201020303" pitchFamily="34" charset="0"/>
              </a:rPr>
              <a:t>検知</a:t>
            </a:r>
            <a:endParaRPr lang="en-US" sz="1600" dirty="0">
              <a:solidFill>
                <a:srgbClr val="FFFFFF"/>
              </a:solidFill>
              <a:latin typeface="CiscoSansTT ExtraLight" panose="020B0303020201020303" pitchFamily="34" charset="0"/>
            </a:endParaRPr>
          </a:p>
          <a:p>
            <a:pPr marL="342900" indent="-342900">
              <a:spcBef>
                <a:spcPts val="1200"/>
              </a:spcBef>
              <a:buFont typeface="Arial" charset="0"/>
              <a:buChar char="•"/>
            </a:pPr>
            <a:r>
              <a:rPr lang="ja-JP" altLang="en-US" sz="1200">
                <a:solidFill>
                  <a:srgbClr val="FFFFFF"/>
                </a:solidFill>
                <a:latin typeface="CiscoSansTT ExtraLight" panose="020B0303020201020303" pitchFamily="34" charset="0"/>
              </a:rPr>
              <a:t>カバー範囲</a:t>
            </a:r>
            <a:endParaRPr lang="en-US" sz="1200" dirty="0">
              <a:solidFill>
                <a:srgbClr val="FFFFFF"/>
              </a:solidFill>
              <a:latin typeface="CiscoSansTT ExtraLight" panose="020B0303020201020303" pitchFamily="34" charset="0"/>
            </a:endParaRPr>
          </a:p>
          <a:p>
            <a:pPr marL="342900" indent="-342900">
              <a:spcBef>
                <a:spcPts val="1200"/>
              </a:spcBef>
              <a:buFont typeface="Arial" charset="0"/>
              <a:buChar char="•"/>
            </a:pPr>
            <a:r>
              <a:rPr lang="ja-JP" altLang="en-US" sz="1200">
                <a:solidFill>
                  <a:srgbClr val="FFFFFF"/>
                </a:solidFill>
                <a:latin typeface="CiscoSansTT ExtraLight" panose="020B0303020201020303" pitchFamily="34" charset="0"/>
              </a:rPr>
              <a:t>検知できなかった驚異の検知</a:t>
            </a:r>
            <a:endParaRPr lang="en-US" sz="1200" dirty="0">
              <a:solidFill>
                <a:srgbClr val="FFFFFF"/>
              </a:solidFill>
              <a:latin typeface="CiscoSansTT ExtraLight" panose="020B0303020201020303" pitchFamily="34" charset="0"/>
            </a:endParaRPr>
          </a:p>
        </p:txBody>
      </p:sp>
      <p:sp>
        <p:nvSpPr>
          <p:cNvPr id="13" name="TextBox 12"/>
          <p:cNvSpPr txBox="1"/>
          <p:nvPr/>
        </p:nvSpPr>
        <p:spPr>
          <a:xfrm>
            <a:off x="6042044" y="2250906"/>
            <a:ext cx="1385316" cy="1200329"/>
          </a:xfrm>
          <a:prstGeom prst="rect">
            <a:avLst/>
          </a:prstGeom>
          <a:noFill/>
        </p:spPr>
        <p:txBody>
          <a:bodyPr wrap="none" rtlCol="0">
            <a:spAutoFit/>
          </a:bodyPr>
          <a:lstStyle/>
          <a:p>
            <a:pPr algn="ctr">
              <a:spcBef>
                <a:spcPts val="1200"/>
              </a:spcBef>
            </a:pPr>
            <a:r>
              <a:rPr lang="ja-JP" altLang="en-US" sz="1600">
                <a:solidFill>
                  <a:srgbClr val="FFFFFF"/>
                </a:solidFill>
                <a:latin typeface="CiscoSansTT ExtraLight" panose="020B0303020201020303" pitchFamily="34" charset="0"/>
              </a:rPr>
              <a:t>対応</a:t>
            </a:r>
            <a:endParaRPr lang="en-US" sz="1600" dirty="0">
              <a:solidFill>
                <a:srgbClr val="FFFFFF"/>
              </a:solidFill>
              <a:latin typeface="CiscoSansTT ExtraLight" panose="020B0303020201020303" pitchFamily="34" charset="0"/>
            </a:endParaRPr>
          </a:p>
          <a:p>
            <a:pPr marL="285750" indent="-285750">
              <a:spcBef>
                <a:spcPts val="1200"/>
              </a:spcBef>
              <a:buFont typeface="Arial" charset="0"/>
              <a:buChar char="•"/>
            </a:pPr>
            <a:r>
              <a:rPr lang="ja-JP" altLang="en-US" sz="1200">
                <a:solidFill>
                  <a:srgbClr val="FFFFFF"/>
                </a:solidFill>
                <a:latin typeface="CiscoSansTT ExtraLight" panose="020B0303020201020303" pitchFamily="34" charset="0"/>
              </a:rPr>
              <a:t>自動化</a:t>
            </a:r>
            <a:endParaRPr lang="en-US" sz="1200" dirty="0">
              <a:solidFill>
                <a:srgbClr val="FFFFFF"/>
              </a:solidFill>
              <a:latin typeface="CiscoSansTT ExtraLight" panose="020B0303020201020303" pitchFamily="34" charset="0"/>
            </a:endParaRPr>
          </a:p>
          <a:p>
            <a:pPr marL="285750" indent="-285750">
              <a:spcBef>
                <a:spcPts val="1200"/>
              </a:spcBef>
              <a:buFont typeface="Arial" charset="0"/>
              <a:buChar char="•"/>
            </a:pPr>
            <a:r>
              <a:rPr lang="ja-JP" altLang="en-US" sz="1200">
                <a:solidFill>
                  <a:srgbClr val="FFFFFF"/>
                </a:solidFill>
                <a:latin typeface="CiscoSansTT ExtraLight" panose="020B0303020201020303" pitchFamily="34" charset="0"/>
              </a:rPr>
              <a:t>フォレンジック</a:t>
            </a:r>
            <a:endParaRPr lang="en-US" sz="1200" dirty="0">
              <a:solidFill>
                <a:srgbClr val="FFFFFF"/>
              </a:solidFill>
              <a:latin typeface="CiscoSansTT ExtraLight" panose="020B0303020201020303" pitchFamily="34" charset="0"/>
            </a:endParaRPr>
          </a:p>
          <a:p>
            <a:endParaRPr lang="en-US" sz="1200" dirty="0">
              <a:latin typeface="+mn-lt"/>
            </a:endParaRPr>
          </a:p>
        </p:txBody>
      </p:sp>
      <p:sp>
        <p:nvSpPr>
          <p:cNvPr id="38" name="Right Arrow 37"/>
          <p:cNvSpPr/>
          <p:nvPr/>
        </p:nvSpPr>
        <p:spPr>
          <a:xfrm>
            <a:off x="136430" y="2746496"/>
            <a:ext cx="1127431" cy="1031575"/>
          </a:xfrm>
          <a:prstGeom prst="rightArrow">
            <a:avLst/>
          </a:prstGeom>
          <a:solidFill>
            <a:schemeClr val="bg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100" b="1">
                <a:solidFill>
                  <a:schemeClr val="tx1"/>
                </a:solidFill>
              </a:rPr>
              <a:t>開発や買収</a:t>
            </a:r>
            <a:endParaRPr lang="en-US" sz="1100" b="1" dirty="0">
              <a:solidFill>
                <a:schemeClr val="tx1"/>
              </a:solidFill>
            </a:endParaRPr>
          </a:p>
        </p:txBody>
      </p:sp>
      <p:sp>
        <p:nvSpPr>
          <p:cNvPr id="39" name="Left-Right Arrow 38"/>
          <p:cNvSpPr/>
          <p:nvPr/>
        </p:nvSpPr>
        <p:spPr>
          <a:xfrm>
            <a:off x="1278194" y="4052341"/>
            <a:ext cx="6548178" cy="387912"/>
          </a:xfrm>
          <a:prstGeom prst="leftRightArrow">
            <a:avLst/>
          </a:prstGeom>
          <a:solidFill>
            <a:schemeClr val="accent1">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sp>
        <p:nvSpPr>
          <p:cNvPr id="40" name="TextBox 39"/>
          <p:cNvSpPr txBox="1"/>
          <p:nvPr/>
        </p:nvSpPr>
        <p:spPr>
          <a:xfrm>
            <a:off x="4093326" y="4129903"/>
            <a:ext cx="1306768" cy="261610"/>
          </a:xfrm>
          <a:prstGeom prst="rect">
            <a:avLst/>
          </a:prstGeom>
          <a:noFill/>
        </p:spPr>
        <p:txBody>
          <a:bodyPr wrap="none" rtlCol="0">
            <a:spAutoFit/>
          </a:bodyPr>
          <a:lstStyle/>
          <a:p>
            <a:r>
              <a:rPr lang="ja-JP" altLang="en-US" sz="1100">
                <a:latin typeface="+mn-lt"/>
              </a:rPr>
              <a:t>シンプル、オープン</a:t>
            </a:r>
            <a:endParaRPr lang="en-US" sz="1100" dirty="0">
              <a:latin typeface="+mn-lt"/>
            </a:endParaRPr>
          </a:p>
        </p:txBody>
      </p:sp>
    </p:spTree>
    <p:extLst>
      <p:ext uri="{BB962C8B-B14F-4D97-AF65-F5344CB8AC3E}">
        <p14:creationId xmlns:p14="http://schemas.microsoft.com/office/powerpoint/2010/main" val="7916421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a:xfrm>
            <a:off x="111043" y="784335"/>
            <a:ext cx="4371068" cy="1231495"/>
          </a:xfrm>
          <a:prstGeom prst="rect">
            <a:avLst/>
          </a:prstGeom>
          <a:solidFill>
            <a:schemeClr val="bg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JPN" pitchFamily="2" charset="-128"/>
              <a:ea typeface="CiscoSansJPN" pitchFamily="2" charset="-128"/>
              <a:cs typeface="CiscoSansJPN" pitchFamily="2" charset="-128"/>
            </a:endParaRPr>
          </a:p>
        </p:txBody>
      </p:sp>
      <p:sp>
        <p:nvSpPr>
          <p:cNvPr id="99" name="Rectangle 98"/>
          <p:cNvSpPr/>
          <p:nvPr/>
        </p:nvSpPr>
        <p:spPr>
          <a:xfrm>
            <a:off x="111043" y="2082355"/>
            <a:ext cx="4371067" cy="127041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JPN" pitchFamily="2" charset="-128"/>
              <a:ea typeface="CiscoSansJPN" pitchFamily="2" charset="-128"/>
              <a:cs typeface="CiscoSansJPN" pitchFamily="2" charset="-128"/>
            </a:endParaRPr>
          </a:p>
        </p:txBody>
      </p:sp>
      <p:sp>
        <p:nvSpPr>
          <p:cNvPr id="100" name="Rectangle 99"/>
          <p:cNvSpPr/>
          <p:nvPr/>
        </p:nvSpPr>
        <p:spPr>
          <a:xfrm>
            <a:off x="139619" y="3425845"/>
            <a:ext cx="4325585" cy="1178143"/>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JPN" pitchFamily="2" charset="-128"/>
              <a:ea typeface="CiscoSansJPN" pitchFamily="2" charset="-128"/>
              <a:cs typeface="CiscoSansJPN" pitchFamily="2" charset="-128"/>
            </a:endParaRPr>
          </a:p>
        </p:txBody>
      </p:sp>
      <p:sp>
        <p:nvSpPr>
          <p:cNvPr id="3" name="Title 2"/>
          <p:cNvSpPr>
            <a:spLocks noGrp="1"/>
          </p:cNvSpPr>
          <p:nvPr>
            <p:ph type="title"/>
          </p:nvPr>
        </p:nvSpPr>
        <p:spPr>
          <a:xfrm>
            <a:off x="168856" y="21282"/>
            <a:ext cx="8343315" cy="731647"/>
          </a:xfrm>
        </p:spPr>
        <p:txBody>
          <a:bodyPr vert="horz" wrap="square" lIns="82282" tIns="45712" rIns="82282" bIns="45712" numCol="1" rtlCol="0" anchor="b" anchorCtr="0" compatLnSpc="1">
            <a:prstTxWarp prst="textNoShape">
              <a:avLst/>
            </a:prstTxWarp>
            <a:noAutofit/>
          </a:bodyPr>
          <a:lstStyle/>
          <a:p>
            <a:r>
              <a:rPr lang="en-US" altLang="ja-JP" sz="3200" spc="-100" dirty="0">
                <a:latin typeface="CiscoSansJPN" pitchFamily="2" charset="-128"/>
                <a:ea typeface="CiscoSansJPN" pitchFamily="2" charset="-128"/>
                <a:cs typeface="CiscoSansJPN" pitchFamily="2" charset="-128"/>
              </a:rPr>
              <a:t>AMP4E</a:t>
            </a:r>
            <a:r>
              <a:rPr lang="ja-JP" altLang="en-US" sz="3200" spc="-100">
                <a:latin typeface="CiscoSansJPN" pitchFamily="2" charset="-128"/>
                <a:ea typeface="CiscoSansJPN" pitchFamily="2" charset="-128"/>
                <a:cs typeface="CiscoSansJPN" pitchFamily="2" charset="-128"/>
              </a:rPr>
              <a:t>エンハンスメントハイライト（予定）</a:t>
            </a:r>
            <a:endParaRPr lang="en-US" sz="3200" spc="-100" dirty="0">
              <a:latin typeface="CiscoSansJPN" pitchFamily="2" charset="-128"/>
              <a:ea typeface="CiscoSansJPN" pitchFamily="2" charset="-128"/>
              <a:cs typeface="CiscoSansJPN" pitchFamily="2" charset="-128"/>
            </a:endParaRPr>
          </a:p>
        </p:txBody>
      </p:sp>
      <p:sp>
        <p:nvSpPr>
          <p:cNvPr id="6" name="Rectangle 5"/>
          <p:cNvSpPr/>
          <p:nvPr/>
        </p:nvSpPr>
        <p:spPr>
          <a:xfrm>
            <a:off x="4596616" y="784335"/>
            <a:ext cx="4371068" cy="123149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JPN" pitchFamily="2" charset="-128"/>
              <a:ea typeface="CiscoSansJPN" pitchFamily="2" charset="-128"/>
              <a:cs typeface="CiscoSansJPN" pitchFamily="2" charset="-128"/>
            </a:endParaRPr>
          </a:p>
        </p:txBody>
      </p:sp>
      <p:sp>
        <p:nvSpPr>
          <p:cNvPr id="69" name="Rectangle 68"/>
          <p:cNvSpPr/>
          <p:nvPr/>
        </p:nvSpPr>
        <p:spPr>
          <a:xfrm>
            <a:off x="4596616" y="2082355"/>
            <a:ext cx="4371067" cy="127041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JPN" pitchFamily="2" charset="-128"/>
              <a:ea typeface="CiscoSansJPN" pitchFamily="2" charset="-128"/>
              <a:cs typeface="CiscoSansJPN" pitchFamily="2" charset="-128"/>
            </a:endParaRPr>
          </a:p>
        </p:txBody>
      </p:sp>
      <p:sp>
        <p:nvSpPr>
          <p:cNvPr id="76" name="Rectangle 75"/>
          <p:cNvSpPr/>
          <p:nvPr/>
        </p:nvSpPr>
        <p:spPr>
          <a:xfrm>
            <a:off x="4625192" y="3425845"/>
            <a:ext cx="4325585" cy="1178143"/>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JPN" pitchFamily="2" charset="-128"/>
              <a:ea typeface="CiscoSansJPN" pitchFamily="2" charset="-128"/>
              <a:cs typeface="CiscoSansJPN" pitchFamily="2" charset="-128"/>
            </a:endParaRPr>
          </a:p>
        </p:txBody>
      </p:sp>
      <p:sp>
        <p:nvSpPr>
          <p:cNvPr id="107" name="TextBox 106"/>
          <p:cNvSpPr txBox="1"/>
          <p:nvPr/>
        </p:nvSpPr>
        <p:spPr>
          <a:xfrm>
            <a:off x="1257786" y="3535597"/>
            <a:ext cx="3253538" cy="769441"/>
          </a:xfrm>
          <a:prstGeom prst="rect">
            <a:avLst/>
          </a:prstGeom>
          <a:noFill/>
        </p:spPr>
        <p:txBody>
          <a:bodyPr wrap="square" rtlCol="0">
            <a:spAutoFit/>
          </a:bodyPr>
          <a:lstStyle/>
          <a:p>
            <a:pPr defTabSz="685628"/>
            <a:r>
              <a:rPr lang="en-US" sz="1600" dirty="0">
                <a:solidFill>
                  <a:schemeClr val="bg2"/>
                </a:solidFill>
                <a:latin typeface="CiscoSansJPN" pitchFamily="2" charset="-128"/>
                <a:ea typeface="CiscoSansJPN" pitchFamily="2" charset="-128"/>
                <a:cs typeface="CiscoSansJPN" pitchFamily="2" charset="-128"/>
              </a:rPr>
              <a:t>Host Isolation </a:t>
            </a:r>
          </a:p>
          <a:p>
            <a:pPr defTabSz="685628"/>
            <a:r>
              <a:rPr lang="en-US" sz="1600" dirty="0">
                <a:solidFill>
                  <a:schemeClr val="bg2"/>
                </a:solidFill>
                <a:latin typeface="CiscoSansJPN" pitchFamily="2" charset="-128"/>
                <a:ea typeface="CiscoSansJPN" pitchFamily="2" charset="-128"/>
                <a:cs typeface="CiscoSansJPN" pitchFamily="2" charset="-128"/>
              </a:rPr>
              <a:t>(2HFY19)</a:t>
            </a:r>
          </a:p>
          <a:p>
            <a:pPr defTabSz="685628"/>
            <a:r>
              <a:rPr lang="ja-JP" altLang="en-US" sz="1200">
                <a:solidFill>
                  <a:schemeClr val="bg2"/>
                </a:solidFill>
                <a:latin typeface="CiscoSansJPN" pitchFamily="2" charset="-128"/>
                <a:ea typeface="CiscoSansJPN" pitchFamily="2" charset="-128"/>
                <a:cs typeface="CiscoSansJPN" pitchFamily="2" charset="-128"/>
              </a:rPr>
              <a:t>単体でのホスト隔離機能</a:t>
            </a:r>
            <a:endParaRPr lang="en-US" sz="1200" dirty="0">
              <a:solidFill>
                <a:schemeClr val="bg2"/>
              </a:solidFill>
              <a:latin typeface="CiscoSansJPN" pitchFamily="2" charset="-128"/>
              <a:ea typeface="CiscoSansJPN" pitchFamily="2" charset="-128"/>
              <a:cs typeface="CiscoSansJPN" pitchFamily="2" charset="-128"/>
            </a:endParaRPr>
          </a:p>
        </p:txBody>
      </p:sp>
      <p:sp>
        <p:nvSpPr>
          <p:cNvPr id="108" name="TextBox 107"/>
          <p:cNvSpPr txBox="1"/>
          <p:nvPr/>
        </p:nvSpPr>
        <p:spPr>
          <a:xfrm>
            <a:off x="5672298" y="903169"/>
            <a:ext cx="3278479" cy="954107"/>
          </a:xfrm>
          <a:prstGeom prst="rect">
            <a:avLst/>
          </a:prstGeom>
          <a:noFill/>
        </p:spPr>
        <p:txBody>
          <a:bodyPr wrap="square" rtlCol="0">
            <a:spAutoFit/>
          </a:bodyPr>
          <a:lstStyle/>
          <a:p>
            <a:pPr defTabSz="685628"/>
            <a:r>
              <a:rPr lang="en-US" sz="1600" dirty="0">
                <a:solidFill>
                  <a:schemeClr val="bg2"/>
                </a:solidFill>
                <a:latin typeface="CiscoSansJPN" pitchFamily="2" charset="-128"/>
                <a:ea typeface="CiscoSansJPN" pitchFamily="2" charset="-128"/>
                <a:cs typeface="CiscoSansJPN" pitchFamily="2" charset="-128"/>
              </a:rPr>
              <a:t>Threat Classification</a:t>
            </a:r>
          </a:p>
          <a:p>
            <a:pPr defTabSz="685628"/>
            <a:r>
              <a:rPr lang="en-US" sz="1600" dirty="0">
                <a:solidFill>
                  <a:schemeClr val="bg2"/>
                </a:solidFill>
                <a:latin typeface="CiscoSansJPN" pitchFamily="2" charset="-128"/>
                <a:ea typeface="CiscoSansJPN" pitchFamily="2" charset="-128"/>
                <a:cs typeface="CiscoSansJPN" pitchFamily="2" charset="-128"/>
              </a:rPr>
              <a:t>(2HFY19) </a:t>
            </a:r>
          </a:p>
          <a:p>
            <a:pPr defTabSz="685628"/>
            <a:r>
              <a:rPr lang="en-US" sz="1200" dirty="0">
                <a:solidFill>
                  <a:schemeClr val="bg2"/>
                </a:solidFill>
                <a:latin typeface="CiscoSansJPN" pitchFamily="2" charset="-128"/>
                <a:ea typeface="CiscoSansJPN" pitchFamily="2" charset="-128"/>
                <a:cs typeface="CiscoSansJPN" pitchFamily="2" charset="-128"/>
              </a:rPr>
              <a:t>Talos</a:t>
            </a:r>
            <a:r>
              <a:rPr lang="ja-JP" altLang="en-US" sz="1200">
                <a:solidFill>
                  <a:schemeClr val="bg2"/>
                </a:solidFill>
                <a:latin typeface="CiscoSansJPN" pitchFamily="2" charset="-128"/>
                <a:ea typeface="CiscoSansJPN" pitchFamily="2" charset="-128"/>
                <a:cs typeface="CiscoSansJPN" pitchFamily="2" charset="-128"/>
              </a:rPr>
              <a:t>や</a:t>
            </a:r>
            <a:r>
              <a:rPr lang="en-US" altLang="ja-JP" sz="1200" dirty="0">
                <a:solidFill>
                  <a:schemeClr val="bg2"/>
                </a:solidFill>
                <a:latin typeface="CiscoSansJPN" pitchFamily="2" charset="-128"/>
                <a:ea typeface="CiscoSansJPN" pitchFamily="2" charset="-128"/>
                <a:cs typeface="CiscoSansJPN" pitchFamily="2" charset="-128"/>
              </a:rPr>
              <a:t>TG</a:t>
            </a:r>
            <a:r>
              <a:rPr lang="ja-JP" altLang="en-US" sz="1200">
                <a:solidFill>
                  <a:schemeClr val="bg2"/>
                </a:solidFill>
                <a:latin typeface="CiscoSansJPN" pitchFamily="2" charset="-128"/>
                <a:ea typeface="CiscoSansJPN" pitchFamily="2" charset="-128"/>
                <a:cs typeface="CiscoSansJPN" pitchFamily="2" charset="-128"/>
              </a:rPr>
              <a:t>に基づく脅威情報を元に脅威の分類を行いより効率的な</a:t>
            </a:r>
            <a:r>
              <a:rPr lang="en-US" altLang="ja-JP" sz="1200" dirty="0">
                <a:solidFill>
                  <a:schemeClr val="bg2"/>
                </a:solidFill>
                <a:latin typeface="CiscoSansJPN" pitchFamily="2" charset="-128"/>
                <a:ea typeface="CiscoSansJPN" pitchFamily="2" charset="-128"/>
                <a:cs typeface="CiscoSansJPN" pitchFamily="2" charset="-128"/>
              </a:rPr>
              <a:t>IR</a:t>
            </a:r>
            <a:r>
              <a:rPr lang="ja-JP" altLang="en-US" sz="1200">
                <a:solidFill>
                  <a:schemeClr val="bg2"/>
                </a:solidFill>
                <a:latin typeface="CiscoSansJPN" pitchFamily="2" charset="-128"/>
                <a:ea typeface="CiscoSansJPN" pitchFamily="2" charset="-128"/>
                <a:cs typeface="CiscoSansJPN" pitchFamily="2" charset="-128"/>
              </a:rPr>
              <a:t>や封じ込めを行う</a:t>
            </a:r>
            <a:endParaRPr lang="en-US" sz="900" dirty="0">
              <a:solidFill>
                <a:schemeClr val="bg2"/>
              </a:solidFill>
              <a:latin typeface="CiscoSansJPN" pitchFamily="2" charset="-128"/>
              <a:ea typeface="CiscoSansJPN" pitchFamily="2" charset="-128"/>
              <a:cs typeface="CiscoSansJPN" pitchFamily="2" charset="-128"/>
            </a:endParaRPr>
          </a:p>
        </p:txBody>
      </p:sp>
      <p:sp>
        <p:nvSpPr>
          <p:cNvPr id="109" name="TextBox 108"/>
          <p:cNvSpPr txBox="1"/>
          <p:nvPr/>
        </p:nvSpPr>
        <p:spPr>
          <a:xfrm>
            <a:off x="5703741" y="3468248"/>
            <a:ext cx="3099364" cy="769441"/>
          </a:xfrm>
          <a:prstGeom prst="rect">
            <a:avLst/>
          </a:prstGeom>
          <a:noFill/>
        </p:spPr>
        <p:txBody>
          <a:bodyPr wrap="square" rtlCol="0">
            <a:spAutoFit/>
          </a:bodyPr>
          <a:lstStyle/>
          <a:p>
            <a:pPr defTabSz="685628"/>
            <a:r>
              <a:rPr lang="en-US" sz="1600" dirty="0">
                <a:solidFill>
                  <a:schemeClr val="bg2"/>
                </a:solidFill>
                <a:latin typeface="CiscoSansJPN" pitchFamily="2" charset="-128"/>
                <a:ea typeface="CiscoSansJPN" pitchFamily="2" charset="-128"/>
                <a:cs typeface="CiscoSansJPN" pitchFamily="2" charset="-128"/>
              </a:rPr>
              <a:t>MSSP Console Updates (FY19)</a:t>
            </a:r>
          </a:p>
          <a:p>
            <a:pPr defTabSz="685628"/>
            <a:r>
              <a:rPr lang="ja-JP" altLang="en-US" sz="1200">
                <a:solidFill>
                  <a:schemeClr val="bg2"/>
                </a:solidFill>
                <a:latin typeface="CiscoSansJPN" pitchFamily="2" charset="-128"/>
                <a:ea typeface="CiscoSansJPN" pitchFamily="2" charset="-128"/>
                <a:cs typeface="CiscoSansJPN" pitchFamily="2" charset="-128"/>
              </a:rPr>
              <a:t>ポリシーのネスト機能等の拡張</a:t>
            </a:r>
            <a:endParaRPr lang="en-US" sz="900" dirty="0">
              <a:solidFill>
                <a:schemeClr val="bg2"/>
              </a:solidFill>
              <a:latin typeface="CiscoSansJPN" pitchFamily="2" charset="-128"/>
              <a:ea typeface="CiscoSansJPN" pitchFamily="2" charset="-128"/>
              <a:cs typeface="CiscoSansJPN" pitchFamily="2" charset="-128"/>
            </a:endParaRPr>
          </a:p>
        </p:txBody>
      </p:sp>
      <p:sp>
        <p:nvSpPr>
          <p:cNvPr id="219" name="Rectangle 218"/>
          <p:cNvSpPr/>
          <p:nvPr/>
        </p:nvSpPr>
        <p:spPr>
          <a:xfrm rot="5400000">
            <a:off x="345078" y="981372"/>
            <a:ext cx="771479" cy="810462"/>
          </a:xfrm>
          <a:prstGeom prst="rect">
            <a:avLst/>
          </a:prstGeom>
          <a:solidFill>
            <a:srgbClr val="0498D1"/>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JPN" pitchFamily="2" charset="-128"/>
              <a:ea typeface="CiscoSansJPN" pitchFamily="2" charset="-128"/>
              <a:cs typeface="CiscoSansJPN" pitchFamily="2" charset="-128"/>
            </a:endParaRPr>
          </a:p>
        </p:txBody>
      </p:sp>
      <p:sp>
        <p:nvSpPr>
          <p:cNvPr id="220" name="Rectangle 219"/>
          <p:cNvSpPr/>
          <p:nvPr/>
        </p:nvSpPr>
        <p:spPr>
          <a:xfrm rot="5400000">
            <a:off x="346241" y="2264402"/>
            <a:ext cx="769153" cy="810463"/>
          </a:xfrm>
          <a:prstGeom prst="rect">
            <a:avLst/>
          </a:prstGeom>
          <a:solidFill>
            <a:srgbClr val="555558"/>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JPN" pitchFamily="2" charset="-128"/>
              <a:ea typeface="CiscoSansJPN" pitchFamily="2" charset="-128"/>
              <a:cs typeface="CiscoSansJPN" pitchFamily="2" charset="-128"/>
            </a:endParaRPr>
          </a:p>
        </p:txBody>
      </p:sp>
      <p:sp>
        <p:nvSpPr>
          <p:cNvPr id="221" name="Rectangle 220"/>
          <p:cNvSpPr/>
          <p:nvPr/>
        </p:nvSpPr>
        <p:spPr>
          <a:xfrm rot="5400000">
            <a:off x="330653" y="3560875"/>
            <a:ext cx="769042" cy="807938"/>
          </a:xfrm>
          <a:prstGeom prst="rect">
            <a:avLst/>
          </a:prstGeom>
          <a:solidFill>
            <a:srgbClr val="0498D1"/>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JPN" pitchFamily="2" charset="-128"/>
              <a:ea typeface="CiscoSansJPN" pitchFamily="2" charset="-128"/>
              <a:cs typeface="CiscoSansJPN" pitchFamily="2" charset="-128"/>
            </a:endParaRPr>
          </a:p>
        </p:txBody>
      </p:sp>
      <p:sp>
        <p:nvSpPr>
          <p:cNvPr id="222" name="Rectangle 221"/>
          <p:cNvSpPr/>
          <p:nvPr/>
        </p:nvSpPr>
        <p:spPr>
          <a:xfrm rot="5400000">
            <a:off x="4764007" y="1007997"/>
            <a:ext cx="769041" cy="805073"/>
          </a:xfrm>
          <a:prstGeom prst="rect">
            <a:avLst/>
          </a:prstGeom>
          <a:solidFill>
            <a:srgbClr val="555558"/>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JPN" pitchFamily="2" charset="-128"/>
              <a:ea typeface="CiscoSansJPN" pitchFamily="2" charset="-128"/>
              <a:cs typeface="CiscoSansJPN" pitchFamily="2" charset="-128"/>
            </a:endParaRPr>
          </a:p>
        </p:txBody>
      </p:sp>
      <p:sp>
        <p:nvSpPr>
          <p:cNvPr id="223" name="Rectangle 222"/>
          <p:cNvSpPr/>
          <p:nvPr/>
        </p:nvSpPr>
        <p:spPr>
          <a:xfrm rot="5400000">
            <a:off x="4765290" y="2284302"/>
            <a:ext cx="766472" cy="805073"/>
          </a:xfrm>
          <a:prstGeom prst="rect">
            <a:avLst/>
          </a:prstGeom>
          <a:solidFill>
            <a:srgbClr val="0498D1"/>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JPN" pitchFamily="2" charset="-128"/>
              <a:ea typeface="CiscoSansJPN" pitchFamily="2" charset="-128"/>
              <a:cs typeface="CiscoSansJPN" pitchFamily="2" charset="-128"/>
            </a:endParaRPr>
          </a:p>
        </p:txBody>
      </p:sp>
      <p:sp>
        <p:nvSpPr>
          <p:cNvPr id="228" name="Freeform 22"/>
          <p:cNvSpPr>
            <a:spLocks noEditPoints="1"/>
          </p:cNvSpPr>
          <p:nvPr/>
        </p:nvSpPr>
        <p:spPr bwMode="auto">
          <a:xfrm>
            <a:off x="4871830" y="1155632"/>
            <a:ext cx="529711" cy="519499"/>
          </a:xfrm>
          <a:custGeom>
            <a:avLst/>
            <a:gdLst>
              <a:gd name="T0" fmla="*/ 28 w 399"/>
              <a:gd name="T1" fmla="*/ 1 h 362"/>
              <a:gd name="T2" fmla="*/ 33 w 399"/>
              <a:gd name="T3" fmla="*/ 69 h 362"/>
              <a:gd name="T4" fmla="*/ 21 w 399"/>
              <a:gd name="T5" fmla="*/ 15 h 362"/>
              <a:gd name="T6" fmla="*/ 6 w 399"/>
              <a:gd name="T7" fmla="*/ 13 h 362"/>
              <a:gd name="T8" fmla="*/ 83 w 399"/>
              <a:gd name="T9" fmla="*/ 70 h 362"/>
              <a:gd name="T10" fmla="*/ 93 w 399"/>
              <a:gd name="T11" fmla="*/ 35 h 362"/>
              <a:gd name="T12" fmla="*/ 128 w 399"/>
              <a:gd name="T13" fmla="*/ 20 h 362"/>
              <a:gd name="T14" fmla="*/ 137 w 399"/>
              <a:gd name="T15" fmla="*/ 55 h 362"/>
              <a:gd name="T16" fmla="*/ 144 w 399"/>
              <a:gd name="T17" fmla="*/ 1 h 362"/>
              <a:gd name="T18" fmla="*/ 123 w 399"/>
              <a:gd name="T19" fmla="*/ 18 h 362"/>
              <a:gd name="T20" fmla="*/ 195 w 399"/>
              <a:gd name="T21" fmla="*/ 15 h 362"/>
              <a:gd name="T22" fmla="*/ 211 w 399"/>
              <a:gd name="T23" fmla="*/ 5 h 362"/>
              <a:gd name="T24" fmla="*/ 183 w 399"/>
              <a:gd name="T25" fmla="*/ 8 h 362"/>
              <a:gd name="T26" fmla="*/ 267 w 399"/>
              <a:gd name="T27" fmla="*/ 25 h 362"/>
              <a:gd name="T28" fmla="*/ 249 w 399"/>
              <a:gd name="T29" fmla="*/ 21 h 362"/>
              <a:gd name="T30" fmla="*/ 399 w 399"/>
              <a:gd name="T31" fmla="*/ 35 h 362"/>
              <a:gd name="T32" fmla="*/ 374 w 399"/>
              <a:gd name="T33" fmla="*/ 58 h 362"/>
              <a:gd name="T34" fmla="*/ 7 w 399"/>
              <a:gd name="T35" fmla="*/ 143 h 362"/>
              <a:gd name="T36" fmla="*/ 21 w 399"/>
              <a:gd name="T37" fmla="*/ 145 h 362"/>
              <a:gd name="T38" fmla="*/ 37 w 399"/>
              <a:gd name="T39" fmla="*/ 191 h 362"/>
              <a:gd name="T40" fmla="*/ 20 w 399"/>
              <a:gd name="T41" fmla="*/ 128 h 362"/>
              <a:gd name="T42" fmla="*/ 83 w 399"/>
              <a:gd name="T43" fmla="*/ 196 h 362"/>
              <a:gd name="T44" fmla="*/ 74 w 399"/>
              <a:gd name="T45" fmla="*/ 161 h 362"/>
              <a:gd name="T46" fmla="*/ 94 w 399"/>
              <a:gd name="T47" fmla="*/ 128 h 362"/>
              <a:gd name="T48" fmla="*/ 165 w 399"/>
              <a:gd name="T49" fmla="*/ 178 h 362"/>
              <a:gd name="T50" fmla="*/ 207 w 399"/>
              <a:gd name="T51" fmla="*/ 127 h 362"/>
              <a:gd name="T52" fmla="*/ 180 w 399"/>
              <a:gd name="T53" fmla="*/ 139 h 362"/>
              <a:gd name="T54" fmla="*/ 195 w 399"/>
              <a:gd name="T55" fmla="*/ 141 h 362"/>
              <a:gd name="T56" fmla="*/ 207 w 399"/>
              <a:gd name="T57" fmla="*/ 195 h 362"/>
              <a:gd name="T58" fmla="*/ 283 w 399"/>
              <a:gd name="T59" fmla="*/ 160 h 362"/>
              <a:gd name="T60" fmla="*/ 283 w 399"/>
              <a:gd name="T61" fmla="*/ 160 h 362"/>
              <a:gd name="T62" fmla="*/ 258 w 399"/>
              <a:gd name="T63" fmla="*/ 184 h 362"/>
              <a:gd name="T64" fmla="*/ 366 w 399"/>
              <a:gd name="T65" fmla="*/ 144 h 362"/>
              <a:gd name="T66" fmla="*/ 366 w 399"/>
              <a:gd name="T67" fmla="*/ 176 h 362"/>
              <a:gd name="T68" fmla="*/ 374 w 399"/>
              <a:gd name="T69" fmla="*/ 125 h 362"/>
              <a:gd name="T70" fmla="*/ 26 w 399"/>
              <a:gd name="T71" fmla="*/ 251 h 362"/>
              <a:gd name="T72" fmla="*/ 16 w 399"/>
              <a:gd name="T73" fmla="*/ 286 h 362"/>
              <a:gd name="T74" fmla="*/ 141 w 399"/>
              <a:gd name="T75" fmla="*/ 320 h 362"/>
              <a:gd name="T76" fmla="*/ 137 w 399"/>
              <a:gd name="T77" fmla="*/ 311 h 362"/>
              <a:gd name="T78" fmla="*/ 174 w 399"/>
              <a:gd name="T79" fmla="*/ 285 h 362"/>
              <a:gd name="T80" fmla="*/ 209 w 399"/>
              <a:gd name="T81" fmla="*/ 295 h 362"/>
              <a:gd name="T82" fmla="*/ 265 w 399"/>
              <a:gd name="T83" fmla="*/ 320 h 362"/>
              <a:gd name="T84" fmla="*/ 253 w 399"/>
              <a:gd name="T85" fmla="*/ 316 h 362"/>
              <a:gd name="T86" fmla="*/ 311 w 399"/>
              <a:gd name="T87" fmla="*/ 316 h 362"/>
              <a:gd name="T88" fmla="*/ 327 w 399"/>
              <a:gd name="T89" fmla="*/ 256 h 362"/>
              <a:gd name="T90" fmla="*/ 373 w 399"/>
              <a:gd name="T91" fmla="*/ 321 h 362"/>
              <a:gd name="T92" fmla="*/ 383 w 399"/>
              <a:gd name="T93" fmla="*/ 286 h 362"/>
              <a:gd name="T94" fmla="*/ 383 w 399"/>
              <a:gd name="T95" fmla="*/ 286 h 362"/>
              <a:gd name="T96" fmla="*/ 71 w 399"/>
              <a:gd name="T97" fmla="*/ 354 h 362"/>
              <a:gd name="T98" fmla="*/ 125 w 399"/>
              <a:gd name="T99" fmla="*/ 223 h 362"/>
              <a:gd name="T100" fmla="*/ 315 w 399"/>
              <a:gd name="T101" fmla="*/ 245 h 362"/>
              <a:gd name="T102" fmla="*/ 170 w 399"/>
              <a:gd name="T103" fmla="*/ 100 h 362"/>
              <a:gd name="T104" fmla="*/ 312 w 399"/>
              <a:gd name="T105" fmla="*/ 158 h 362"/>
              <a:gd name="T106" fmla="*/ 311 w 399"/>
              <a:gd name="T107" fmla="*/ 15 h 362"/>
              <a:gd name="T108" fmla="*/ 327 w 399"/>
              <a:gd name="T109" fmla="*/ 61 h 362"/>
              <a:gd name="T110" fmla="*/ 310 w 399"/>
              <a:gd name="T111" fmla="*/ 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9" h="362">
                <a:moveTo>
                  <a:pt x="6" y="13"/>
                </a:moveTo>
                <a:cubicBezTo>
                  <a:pt x="6" y="11"/>
                  <a:pt x="7" y="9"/>
                  <a:pt x="9" y="8"/>
                </a:cubicBezTo>
                <a:cubicBezTo>
                  <a:pt x="20" y="3"/>
                  <a:pt x="20" y="3"/>
                  <a:pt x="20" y="3"/>
                </a:cubicBezTo>
                <a:cubicBezTo>
                  <a:pt x="22" y="2"/>
                  <a:pt x="25" y="1"/>
                  <a:pt x="28" y="1"/>
                </a:cubicBezTo>
                <a:cubicBezTo>
                  <a:pt x="33" y="1"/>
                  <a:pt x="33" y="1"/>
                  <a:pt x="33" y="1"/>
                </a:cubicBezTo>
                <a:cubicBezTo>
                  <a:pt x="35" y="1"/>
                  <a:pt x="37" y="3"/>
                  <a:pt x="37" y="5"/>
                </a:cubicBezTo>
                <a:cubicBezTo>
                  <a:pt x="37" y="65"/>
                  <a:pt x="37" y="65"/>
                  <a:pt x="37" y="65"/>
                </a:cubicBezTo>
                <a:cubicBezTo>
                  <a:pt x="37" y="67"/>
                  <a:pt x="35" y="69"/>
                  <a:pt x="33" y="69"/>
                </a:cubicBezTo>
                <a:cubicBezTo>
                  <a:pt x="25" y="69"/>
                  <a:pt x="25" y="69"/>
                  <a:pt x="25" y="69"/>
                </a:cubicBezTo>
                <a:cubicBezTo>
                  <a:pt x="23" y="69"/>
                  <a:pt x="21" y="67"/>
                  <a:pt x="21" y="65"/>
                </a:cubicBezTo>
                <a:cubicBezTo>
                  <a:pt x="21" y="19"/>
                  <a:pt x="21" y="19"/>
                  <a:pt x="21" y="19"/>
                </a:cubicBezTo>
                <a:cubicBezTo>
                  <a:pt x="21" y="17"/>
                  <a:pt x="21" y="15"/>
                  <a:pt x="21" y="15"/>
                </a:cubicBezTo>
                <a:cubicBezTo>
                  <a:pt x="21" y="15"/>
                  <a:pt x="19" y="16"/>
                  <a:pt x="18" y="17"/>
                </a:cubicBezTo>
                <a:cubicBezTo>
                  <a:pt x="12" y="20"/>
                  <a:pt x="12" y="20"/>
                  <a:pt x="12" y="20"/>
                </a:cubicBezTo>
                <a:cubicBezTo>
                  <a:pt x="10" y="21"/>
                  <a:pt x="8" y="20"/>
                  <a:pt x="7" y="18"/>
                </a:cubicBezTo>
                <a:lnTo>
                  <a:pt x="6" y="13"/>
                </a:lnTo>
                <a:close/>
                <a:moveTo>
                  <a:pt x="58" y="35"/>
                </a:moveTo>
                <a:cubicBezTo>
                  <a:pt x="58" y="16"/>
                  <a:pt x="66" y="0"/>
                  <a:pt x="84" y="0"/>
                </a:cubicBezTo>
                <a:cubicBezTo>
                  <a:pt x="102" y="0"/>
                  <a:pt x="109" y="16"/>
                  <a:pt x="109" y="35"/>
                </a:cubicBezTo>
                <a:cubicBezTo>
                  <a:pt x="109" y="56"/>
                  <a:pt x="101" y="70"/>
                  <a:pt x="83" y="70"/>
                </a:cubicBezTo>
                <a:cubicBezTo>
                  <a:pt x="66" y="70"/>
                  <a:pt x="58" y="55"/>
                  <a:pt x="58" y="35"/>
                </a:cubicBezTo>
                <a:close/>
                <a:moveTo>
                  <a:pt x="74" y="35"/>
                </a:moveTo>
                <a:cubicBezTo>
                  <a:pt x="74" y="51"/>
                  <a:pt x="78" y="58"/>
                  <a:pt x="84" y="58"/>
                </a:cubicBezTo>
                <a:cubicBezTo>
                  <a:pt x="90" y="58"/>
                  <a:pt x="93" y="51"/>
                  <a:pt x="93" y="35"/>
                </a:cubicBezTo>
                <a:cubicBezTo>
                  <a:pt x="93" y="20"/>
                  <a:pt x="90" y="12"/>
                  <a:pt x="84" y="12"/>
                </a:cubicBezTo>
                <a:cubicBezTo>
                  <a:pt x="78" y="12"/>
                  <a:pt x="74" y="20"/>
                  <a:pt x="74" y="35"/>
                </a:cubicBezTo>
                <a:close/>
                <a:moveTo>
                  <a:pt x="123" y="18"/>
                </a:moveTo>
                <a:cubicBezTo>
                  <a:pt x="124" y="20"/>
                  <a:pt x="126" y="21"/>
                  <a:pt x="128" y="20"/>
                </a:cubicBezTo>
                <a:cubicBezTo>
                  <a:pt x="134" y="17"/>
                  <a:pt x="134" y="17"/>
                  <a:pt x="134" y="17"/>
                </a:cubicBezTo>
                <a:cubicBezTo>
                  <a:pt x="135" y="16"/>
                  <a:pt x="137" y="15"/>
                  <a:pt x="137" y="15"/>
                </a:cubicBezTo>
                <a:cubicBezTo>
                  <a:pt x="137" y="15"/>
                  <a:pt x="137" y="17"/>
                  <a:pt x="137" y="19"/>
                </a:cubicBezTo>
                <a:cubicBezTo>
                  <a:pt x="137" y="55"/>
                  <a:pt x="137" y="55"/>
                  <a:pt x="137" y="55"/>
                </a:cubicBezTo>
                <a:cubicBezTo>
                  <a:pt x="142" y="50"/>
                  <a:pt x="147" y="46"/>
                  <a:pt x="153" y="43"/>
                </a:cubicBezTo>
                <a:cubicBezTo>
                  <a:pt x="153" y="5"/>
                  <a:pt x="153" y="5"/>
                  <a:pt x="153" y="5"/>
                </a:cubicBezTo>
                <a:cubicBezTo>
                  <a:pt x="153" y="3"/>
                  <a:pt x="151" y="1"/>
                  <a:pt x="149" y="1"/>
                </a:cubicBezTo>
                <a:cubicBezTo>
                  <a:pt x="144" y="1"/>
                  <a:pt x="144" y="1"/>
                  <a:pt x="144" y="1"/>
                </a:cubicBezTo>
                <a:cubicBezTo>
                  <a:pt x="141" y="1"/>
                  <a:pt x="138" y="2"/>
                  <a:pt x="136" y="3"/>
                </a:cubicBezTo>
                <a:cubicBezTo>
                  <a:pt x="125" y="8"/>
                  <a:pt x="125" y="8"/>
                  <a:pt x="125" y="8"/>
                </a:cubicBezTo>
                <a:cubicBezTo>
                  <a:pt x="123" y="9"/>
                  <a:pt x="122" y="11"/>
                  <a:pt x="122" y="13"/>
                </a:cubicBezTo>
                <a:lnTo>
                  <a:pt x="123" y="18"/>
                </a:lnTo>
                <a:close/>
                <a:moveTo>
                  <a:pt x="181" y="18"/>
                </a:moveTo>
                <a:cubicBezTo>
                  <a:pt x="182" y="20"/>
                  <a:pt x="184" y="21"/>
                  <a:pt x="186" y="20"/>
                </a:cubicBezTo>
                <a:cubicBezTo>
                  <a:pt x="192" y="17"/>
                  <a:pt x="192" y="17"/>
                  <a:pt x="192" y="17"/>
                </a:cubicBezTo>
                <a:cubicBezTo>
                  <a:pt x="194" y="16"/>
                  <a:pt x="195" y="15"/>
                  <a:pt x="195" y="15"/>
                </a:cubicBezTo>
                <a:cubicBezTo>
                  <a:pt x="195" y="15"/>
                  <a:pt x="195" y="17"/>
                  <a:pt x="195" y="19"/>
                </a:cubicBezTo>
                <a:cubicBezTo>
                  <a:pt x="195" y="24"/>
                  <a:pt x="195" y="24"/>
                  <a:pt x="195" y="24"/>
                </a:cubicBezTo>
                <a:cubicBezTo>
                  <a:pt x="200" y="23"/>
                  <a:pt x="206" y="22"/>
                  <a:pt x="211" y="21"/>
                </a:cubicBezTo>
                <a:cubicBezTo>
                  <a:pt x="211" y="5"/>
                  <a:pt x="211" y="5"/>
                  <a:pt x="211" y="5"/>
                </a:cubicBezTo>
                <a:cubicBezTo>
                  <a:pt x="211" y="3"/>
                  <a:pt x="209" y="1"/>
                  <a:pt x="207" y="1"/>
                </a:cubicBezTo>
                <a:cubicBezTo>
                  <a:pt x="202" y="1"/>
                  <a:pt x="202" y="1"/>
                  <a:pt x="202" y="1"/>
                </a:cubicBezTo>
                <a:cubicBezTo>
                  <a:pt x="199" y="1"/>
                  <a:pt x="196" y="2"/>
                  <a:pt x="194" y="3"/>
                </a:cubicBezTo>
                <a:cubicBezTo>
                  <a:pt x="183" y="8"/>
                  <a:pt x="183" y="8"/>
                  <a:pt x="183" y="8"/>
                </a:cubicBezTo>
                <a:cubicBezTo>
                  <a:pt x="181" y="9"/>
                  <a:pt x="180" y="11"/>
                  <a:pt x="180" y="13"/>
                </a:cubicBezTo>
                <a:lnTo>
                  <a:pt x="181" y="18"/>
                </a:lnTo>
                <a:close/>
                <a:moveTo>
                  <a:pt x="258" y="12"/>
                </a:moveTo>
                <a:cubicBezTo>
                  <a:pt x="263" y="12"/>
                  <a:pt x="266" y="17"/>
                  <a:pt x="267" y="25"/>
                </a:cubicBezTo>
                <a:cubicBezTo>
                  <a:pt x="272" y="27"/>
                  <a:pt x="278" y="29"/>
                  <a:pt x="283" y="31"/>
                </a:cubicBezTo>
                <a:cubicBezTo>
                  <a:pt x="282" y="14"/>
                  <a:pt x="275" y="0"/>
                  <a:pt x="258" y="0"/>
                </a:cubicBezTo>
                <a:cubicBezTo>
                  <a:pt x="245" y="0"/>
                  <a:pt x="237" y="8"/>
                  <a:pt x="234" y="20"/>
                </a:cubicBezTo>
                <a:cubicBezTo>
                  <a:pt x="239" y="20"/>
                  <a:pt x="244" y="21"/>
                  <a:pt x="249" y="21"/>
                </a:cubicBezTo>
                <a:cubicBezTo>
                  <a:pt x="251" y="15"/>
                  <a:pt x="254" y="12"/>
                  <a:pt x="258" y="12"/>
                </a:cubicBezTo>
                <a:close/>
                <a:moveTo>
                  <a:pt x="348" y="35"/>
                </a:moveTo>
                <a:cubicBezTo>
                  <a:pt x="348" y="16"/>
                  <a:pt x="356" y="0"/>
                  <a:pt x="374" y="0"/>
                </a:cubicBezTo>
                <a:cubicBezTo>
                  <a:pt x="392" y="0"/>
                  <a:pt x="399" y="16"/>
                  <a:pt x="399" y="35"/>
                </a:cubicBezTo>
                <a:cubicBezTo>
                  <a:pt x="399" y="56"/>
                  <a:pt x="391" y="70"/>
                  <a:pt x="373" y="70"/>
                </a:cubicBezTo>
                <a:cubicBezTo>
                  <a:pt x="356" y="70"/>
                  <a:pt x="348" y="55"/>
                  <a:pt x="348" y="35"/>
                </a:cubicBezTo>
                <a:close/>
                <a:moveTo>
                  <a:pt x="364" y="35"/>
                </a:moveTo>
                <a:cubicBezTo>
                  <a:pt x="364" y="51"/>
                  <a:pt x="368" y="58"/>
                  <a:pt x="374" y="58"/>
                </a:cubicBezTo>
                <a:cubicBezTo>
                  <a:pt x="380" y="58"/>
                  <a:pt x="383" y="51"/>
                  <a:pt x="383" y="35"/>
                </a:cubicBezTo>
                <a:cubicBezTo>
                  <a:pt x="383" y="20"/>
                  <a:pt x="380" y="12"/>
                  <a:pt x="374" y="12"/>
                </a:cubicBezTo>
                <a:cubicBezTo>
                  <a:pt x="368" y="12"/>
                  <a:pt x="364" y="20"/>
                  <a:pt x="364" y="35"/>
                </a:cubicBezTo>
                <a:close/>
                <a:moveTo>
                  <a:pt x="7" y="143"/>
                </a:moveTo>
                <a:cubicBezTo>
                  <a:pt x="8" y="145"/>
                  <a:pt x="10" y="146"/>
                  <a:pt x="12" y="145"/>
                </a:cubicBezTo>
                <a:cubicBezTo>
                  <a:pt x="18" y="142"/>
                  <a:pt x="18" y="142"/>
                  <a:pt x="18" y="142"/>
                </a:cubicBezTo>
                <a:cubicBezTo>
                  <a:pt x="19" y="142"/>
                  <a:pt x="21" y="141"/>
                  <a:pt x="21" y="141"/>
                </a:cubicBezTo>
                <a:cubicBezTo>
                  <a:pt x="21" y="141"/>
                  <a:pt x="21" y="143"/>
                  <a:pt x="21" y="145"/>
                </a:cubicBezTo>
                <a:cubicBezTo>
                  <a:pt x="21" y="191"/>
                  <a:pt x="21" y="191"/>
                  <a:pt x="21" y="191"/>
                </a:cubicBezTo>
                <a:cubicBezTo>
                  <a:pt x="21" y="193"/>
                  <a:pt x="23" y="195"/>
                  <a:pt x="25" y="195"/>
                </a:cubicBezTo>
                <a:cubicBezTo>
                  <a:pt x="33" y="195"/>
                  <a:pt x="33" y="195"/>
                  <a:pt x="33" y="195"/>
                </a:cubicBezTo>
                <a:cubicBezTo>
                  <a:pt x="35" y="195"/>
                  <a:pt x="37" y="193"/>
                  <a:pt x="37" y="191"/>
                </a:cubicBezTo>
                <a:cubicBezTo>
                  <a:pt x="37" y="131"/>
                  <a:pt x="37" y="131"/>
                  <a:pt x="37" y="131"/>
                </a:cubicBezTo>
                <a:cubicBezTo>
                  <a:pt x="37" y="128"/>
                  <a:pt x="35" y="127"/>
                  <a:pt x="33" y="127"/>
                </a:cubicBezTo>
                <a:cubicBezTo>
                  <a:pt x="28" y="127"/>
                  <a:pt x="28" y="127"/>
                  <a:pt x="28" y="127"/>
                </a:cubicBezTo>
                <a:cubicBezTo>
                  <a:pt x="25" y="127"/>
                  <a:pt x="22" y="127"/>
                  <a:pt x="20" y="128"/>
                </a:cubicBezTo>
                <a:cubicBezTo>
                  <a:pt x="9" y="133"/>
                  <a:pt x="9" y="133"/>
                  <a:pt x="9" y="133"/>
                </a:cubicBezTo>
                <a:cubicBezTo>
                  <a:pt x="7" y="134"/>
                  <a:pt x="6" y="137"/>
                  <a:pt x="6" y="139"/>
                </a:cubicBezTo>
                <a:lnTo>
                  <a:pt x="7" y="143"/>
                </a:lnTo>
                <a:close/>
                <a:moveTo>
                  <a:pt x="83" y="196"/>
                </a:moveTo>
                <a:cubicBezTo>
                  <a:pt x="88" y="196"/>
                  <a:pt x="92" y="195"/>
                  <a:pt x="95" y="193"/>
                </a:cubicBezTo>
                <a:cubicBezTo>
                  <a:pt x="94" y="187"/>
                  <a:pt x="92" y="181"/>
                  <a:pt x="92" y="175"/>
                </a:cubicBezTo>
                <a:cubicBezTo>
                  <a:pt x="90" y="181"/>
                  <a:pt x="88" y="184"/>
                  <a:pt x="84" y="184"/>
                </a:cubicBezTo>
                <a:cubicBezTo>
                  <a:pt x="78" y="184"/>
                  <a:pt x="74" y="176"/>
                  <a:pt x="74" y="161"/>
                </a:cubicBezTo>
                <a:cubicBezTo>
                  <a:pt x="74" y="145"/>
                  <a:pt x="78" y="138"/>
                  <a:pt x="84" y="138"/>
                </a:cubicBezTo>
                <a:cubicBezTo>
                  <a:pt x="87" y="138"/>
                  <a:pt x="90" y="140"/>
                  <a:pt x="91" y="144"/>
                </a:cubicBezTo>
                <a:cubicBezTo>
                  <a:pt x="91" y="144"/>
                  <a:pt x="91" y="144"/>
                  <a:pt x="91" y="143"/>
                </a:cubicBezTo>
                <a:cubicBezTo>
                  <a:pt x="92" y="138"/>
                  <a:pt x="93" y="133"/>
                  <a:pt x="94" y="128"/>
                </a:cubicBezTo>
                <a:cubicBezTo>
                  <a:pt x="91" y="126"/>
                  <a:pt x="88" y="125"/>
                  <a:pt x="84" y="125"/>
                </a:cubicBezTo>
                <a:cubicBezTo>
                  <a:pt x="66" y="125"/>
                  <a:pt x="58" y="141"/>
                  <a:pt x="58" y="161"/>
                </a:cubicBezTo>
                <a:cubicBezTo>
                  <a:pt x="58" y="180"/>
                  <a:pt x="66" y="196"/>
                  <a:pt x="83" y="196"/>
                </a:cubicBezTo>
                <a:close/>
                <a:moveTo>
                  <a:pt x="165" y="178"/>
                </a:moveTo>
                <a:cubicBezTo>
                  <a:pt x="166" y="173"/>
                  <a:pt x="167" y="167"/>
                  <a:pt x="167" y="160"/>
                </a:cubicBezTo>
                <a:cubicBezTo>
                  <a:pt x="167" y="153"/>
                  <a:pt x="166" y="147"/>
                  <a:pt x="164" y="141"/>
                </a:cubicBezTo>
                <a:cubicBezTo>
                  <a:pt x="161" y="153"/>
                  <a:pt x="161" y="166"/>
                  <a:pt x="165" y="178"/>
                </a:cubicBezTo>
                <a:close/>
                <a:moveTo>
                  <a:pt x="207" y="127"/>
                </a:moveTo>
                <a:cubicBezTo>
                  <a:pt x="202" y="127"/>
                  <a:pt x="202" y="127"/>
                  <a:pt x="202" y="127"/>
                </a:cubicBezTo>
                <a:cubicBezTo>
                  <a:pt x="199" y="127"/>
                  <a:pt x="196" y="127"/>
                  <a:pt x="194" y="128"/>
                </a:cubicBezTo>
                <a:cubicBezTo>
                  <a:pt x="183" y="133"/>
                  <a:pt x="183" y="133"/>
                  <a:pt x="183" y="133"/>
                </a:cubicBezTo>
                <a:cubicBezTo>
                  <a:pt x="181" y="134"/>
                  <a:pt x="180" y="137"/>
                  <a:pt x="180" y="139"/>
                </a:cubicBezTo>
                <a:cubicBezTo>
                  <a:pt x="181" y="143"/>
                  <a:pt x="181" y="143"/>
                  <a:pt x="181" y="143"/>
                </a:cubicBezTo>
                <a:cubicBezTo>
                  <a:pt x="182" y="145"/>
                  <a:pt x="184" y="146"/>
                  <a:pt x="186" y="145"/>
                </a:cubicBezTo>
                <a:cubicBezTo>
                  <a:pt x="192" y="142"/>
                  <a:pt x="192" y="142"/>
                  <a:pt x="192" y="142"/>
                </a:cubicBezTo>
                <a:cubicBezTo>
                  <a:pt x="194" y="142"/>
                  <a:pt x="195" y="141"/>
                  <a:pt x="195" y="141"/>
                </a:cubicBezTo>
                <a:cubicBezTo>
                  <a:pt x="195" y="141"/>
                  <a:pt x="195" y="143"/>
                  <a:pt x="195" y="145"/>
                </a:cubicBezTo>
                <a:cubicBezTo>
                  <a:pt x="195" y="191"/>
                  <a:pt x="195" y="191"/>
                  <a:pt x="195" y="191"/>
                </a:cubicBezTo>
                <a:cubicBezTo>
                  <a:pt x="195" y="193"/>
                  <a:pt x="197" y="195"/>
                  <a:pt x="199" y="195"/>
                </a:cubicBezTo>
                <a:cubicBezTo>
                  <a:pt x="207" y="195"/>
                  <a:pt x="207" y="195"/>
                  <a:pt x="207" y="195"/>
                </a:cubicBezTo>
                <a:cubicBezTo>
                  <a:pt x="209" y="195"/>
                  <a:pt x="211" y="193"/>
                  <a:pt x="211" y="191"/>
                </a:cubicBezTo>
                <a:cubicBezTo>
                  <a:pt x="211" y="131"/>
                  <a:pt x="211" y="131"/>
                  <a:pt x="211" y="131"/>
                </a:cubicBezTo>
                <a:cubicBezTo>
                  <a:pt x="211" y="128"/>
                  <a:pt x="209" y="127"/>
                  <a:pt x="207" y="127"/>
                </a:cubicBezTo>
                <a:close/>
                <a:moveTo>
                  <a:pt x="283" y="160"/>
                </a:moveTo>
                <a:cubicBezTo>
                  <a:pt x="283" y="181"/>
                  <a:pt x="275" y="196"/>
                  <a:pt x="257" y="196"/>
                </a:cubicBezTo>
                <a:cubicBezTo>
                  <a:pt x="240" y="196"/>
                  <a:pt x="232" y="180"/>
                  <a:pt x="232" y="161"/>
                </a:cubicBezTo>
                <a:cubicBezTo>
                  <a:pt x="232" y="141"/>
                  <a:pt x="240" y="125"/>
                  <a:pt x="258" y="125"/>
                </a:cubicBezTo>
                <a:cubicBezTo>
                  <a:pt x="276" y="125"/>
                  <a:pt x="283" y="142"/>
                  <a:pt x="283" y="160"/>
                </a:cubicBezTo>
                <a:close/>
                <a:moveTo>
                  <a:pt x="267" y="160"/>
                </a:moveTo>
                <a:cubicBezTo>
                  <a:pt x="267" y="145"/>
                  <a:pt x="264" y="138"/>
                  <a:pt x="258" y="138"/>
                </a:cubicBezTo>
                <a:cubicBezTo>
                  <a:pt x="252" y="138"/>
                  <a:pt x="248" y="145"/>
                  <a:pt x="248" y="161"/>
                </a:cubicBezTo>
                <a:cubicBezTo>
                  <a:pt x="248" y="176"/>
                  <a:pt x="252" y="184"/>
                  <a:pt x="258" y="184"/>
                </a:cubicBezTo>
                <a:cubicBezTo>
                  <a:pt x="264" y="184"/>
                  <a:pt x="267" y="176"/>
                  <a:pt x="267" y="160"/>
                </a:cubicBezTo>
                <a:close/>
                <a:moveTo>
                  <a:pt x="374" y="125"/>
                </a:moveTo>
                <a:cubicBezTo>
                  <a:pt x="370" y="125"/>
                  <a:pt x="367" y="126"/>
                  <a:pt x="364" y="128"/>
                </a:cubicBezTo>
                <a:cubicBezTo>
                  <a:pt x="365" y="133"/>
                  <a:pt x="366" y="139"/>
                  <a:pt x="366" y="144"/>
                </a:cubicBezTo>
                <a:cubicBezTo>
                  <a:pt x="368" y="140"/>
                  <a:pt x="371" y="138"/>
                  <a:pt x="374" y="138"/>
                </a:cubicBezTo>
                <a:cubicBezTo>
                  <a:pt x="380" y="138"/>
                  <a:pt x="383" y="145"/>
                  <a:pt x="383" y="160"/>
                </a:cubicBezTo>
                <a:cubicBezTo>
                  <a:pt x="383" y="176"/>
                  <a:pt x="380" y="184"/>
                  <a:pt x="374" y="184"/>
                </a:cubicBezTo>
                <a:cubicBezTo>
                  <a:pt x="370" y="184"/>
                  <a:pt x="368" y="181"/>
                  <a:pt x="366" y="176"/>
                </a:cubicBezTo>
                <a:cubicBezTo>
                  <a:pt x="365" y="182"/>
                  <a:pt x="364" y="188"/>
                  <a:pt x="363" y="193"/>
                </a:cubicBezTo>
                <a:cubicBezTo>
                  <a:pt x="366" y="195"/>
                  <a:pt x="369" y="196"/>
                  <a:pt x="373" y="196"/>
                </a:cubicBezTo>
                <a:cubicBezTo>
                  <a:pt x="391" y="196"/>
                  <a:pt x="399" y="181"/>
                  <a:pt x="399" y="160"/>
                </a:cubicBezTo>
                <a:cubicBezTo>
                  <a:pt x="399" y="142"/>
                  <a:pt x="392" y="125"/>
                  <a:pt x="374" y="125"/>
                </a:cubicBezTo>
                <a:close/>
                <a:moveTo>
                  <a:pt x="35" y="286"/>
                </a:moveTo>
                <a:cubicBezTo>
                  <a:pt x="35" y="288"/>
                  <a:pt x="35" y="289"/>
                  <a:pt x="35" y="291"/>
                </a:cubicBezTo>
                <a:cubicBezTo>
                  <a:pt x="50" y="275"/>
                  <a:pt x="50" y="275"/>
                  <a:pt x="50" y="275"/>
                </a:cubicBezTo>
                <a:cubicBezTo>
                  <a:pt x="48" y="261"/>
                  <a:pt x="41" y="251"/>
                  <a:pt x="26" y="251"/>
                </a:cubicBezTo>
                <a:cubicBezTo>
                  <a:pt x="8" y="251"/>
                  <a:pt x="0" y="266"/>
                  <a:pt x="0" y="286"/>
                </a:cubicBezTo>
                <a:cubicBezTo>
                  <a:pt x="0" y="300"/>
                  <a:pt x="4" y="312"/>
                  <a:pt x="13" y="318"/>
                </a:cubicBezTo>
                <a:cubicBezTo>
                  <a:pt x="14" y="313"/>
                  <a:pt x="17" y="309"/>
                  <a:pt x="20" y="306"/>
                </a:cubicBezTo>
                <a:cubicBezTo>
                  <a:pt x="17" y="302"/>
                  <a:pt x="16" y="296"/>
                  <a:pt x="16" y="286"/>
                </a:cubicBezTo>
                <a:cubicBezTo>
                  <a:pt x="16" y="270"/>
                  <a:pt x="20" y="263"/>
                  <a:pt x="26" y="263"/>
                </a:cubicBezTo>
                <a:cubicBezTo>
                  <a:pt x="32" y="263"/>
                  <a:pt x="35" y="271"/>
                  <a:pt x="35" y="286"/>
                </a:cubicBezTo>
                <a:close/>
                <a:moveTo>
                  <a:pt x="137" y="316"/>
                </a:moveTo>
                <a:cubicBezTo>
                  <a:pt x="137" y="318"/>
                  <a:pt x="139" y="320"/>
                  <a:pt x="141" y="320"/>
                </a:cubicBezTo>
                <a:cubicBezTo>
                  <a:pt x="149" y="320"/>
                  <a:pt x="149" y="320"/>
                  <a:pt x="149" y="320"/>
                </a:cubicBezTo>
                <a:cubicBezTo>
                  <a:pt x="151" y="320"/>
                  <a:pt x="153" y="318"/>
                  <a:pt x="153" y="316"/>
                </a:cubicBezTo>
                <a:cubicBezTo>
                  <a:pt x="153" y="296"/>
                  <a:pt x="153" y="296"/>
                  <a:pt x="153" y="296"/>
                </a:cubicBezTo>
                <a:cubicBezTo>
                  <a:pt x="137" y="311"/>
                  <a:pt x="137" y="311"/>
                  <a:pt x="137" y="311"/>
                </a:cubicBezTo>
                <a:lnTo>
                  <a:pt x="137" y="316"/>
                </a:lnTo>
                <a:close/>
                <a:moveTo>
                  <a:pt x="200" y="309"/>
                </a:moveTo>
                <a:cubicBezTo>
                  <a:pt x="194" y="309"/>
                  <a:pt x="191" y="303"/>
                  <a:pt x="190" y="291"/>
                </a:cubicBezTo>
                <a:cubicBezTo>
                  <a:pt x="185" y="289"/>
                  <a:pt x="179" y="287"/>
                  <a:pt x="174" y="285"/>
                </a:cubicBezTo>
                <a:cubicBezTo>
                  <a:pt x="174" y="285"/>
                  <a:pt x="174" y="286"/>
                  <a:pt x="174" y="286"/>
                </a:cubicBezTo>
                <a:cubicBezTo>
                  <a:pt x="174" y="305"/>
                  <a:pt x="182" y="321"/>
                  <a:pt x="199" y="321"/>
                </a:cubicBezTo>
                <a:cubicBezTo>
                  <a:pt x="214" y="321"/>
                  <a:pt x="222" y="311"/>
                  <a:pt x="224" y="296"/>
                </a:cubicBezTo>
                <a:cubicBezTo>
                  <a:pt x="219" y="296"/>
                  <a:pt x="214" y="296"/>
                  <a:pt x="209" y="295"/>
                </a:cubicBezTo>
                <a:cubicBezTo>
                  <a:pt x="208" y="304"/>
                  <a:pt x="205" y="309"/>
                  <a:pt x="200" y="309"/>
                </a:cubicBezTo>
                <a:close/>
                <a:moveTo>
                  <a:pt x="253" y="316"/>
                </a:moveTo>
                <a:cubicBezTo>
                  <a:pt x="253" y="318"/>
                  <a:pt x="255" y="320"/>
                  <a:pt x="257" y="320"/>
                </a:cubicBezTo>
                <a:cubicBezTo>
                  <a:pt x="265" y="320"/>
                  <a:pt x="265" y="320"/>
                  <a:pt x="265" y="320"/>
                </a:cubicBezTo>
                <a:cubicBezTo>
                  <a:pt x="267" y="320"/>
                  <a:pt x="269" y="318"/>
                  <a:pt x="269" y="316"/>
                </a:cubicBezTo>
                <a:cubicBezTo>
                  <a:pt x="269" y="291"/>
                  <a:pt x="269" y="291"/>
                  <a:pt x="269" y="291"/>
                </a:cubicBezTo>
                <a:cubicBezTo>
                  <a:pt x="264" y="292"/>
                  <a:pt x="259" y="293"/>
                  <a:pt x="253" y="294"/>
                </a:cubicBezTo>
                <a:lnTo>
                  <a:pt x="253" y="316"/>
                </a:lnTo>
                <a:close/>
                <a:moveTo>
                  <a:pt x="327" y="256"/>
                </a:moveTo>
                <a:cubicBezTo>
                  <a:pt x="322" y="261"/>
                  <a:pt x="317" y="265"/>
                  <a:pt x="311" y="269"/>
                </a:cubicBezTo>
                <a:cubicBezTo>
                  <a:pt x="311" y="269"/>
                  <a:pt x="311" y="270"/>
                  <a:pt x="311" y="270"/>
                </a:cubicBezTo>
                <a:cubicBezTo>
                  <a:pt x="311" y="316"/>
                  <a:pt x="311" y="316"/>
                  <a:pt x="311" y="316"/>
                </a:cubicBezTo>
                <a:cubicBezTo>
                  <a:pt x="311" y="318"/>
                  <a:pt x="313" y="320"/>
                  <a:pt x="315" y="320"/>
                </a:cubicBezTo>
                <a:cubicBezTo>
                  <a:pt x="323" y="320"/>
                  <a:pt x="323" y="320"/>
                  <a:pt x="323" y="320"/>
                </a:cubicBezTo>
                <a:cubicBezTo>
                  <a:pt x="325" y="320"/>
                  <a:pt x="327" y="318"/>
                  <a:pt x="327" y="316"/>
                </a:cubicBezTo>
                <a:cubicBezTo>
                  <a:pt x="327" y="256"/>
                  <a:pt x="327" y="256"/>
                  <a:pt x="327" y="256"/>
                </a:cubicBezTo>
                <a:cubicBezTo>
                  <a:pt x="327" y="256"/>
                  <a:pt x="327" y="256"/>
                  <a:pt x="327" y="256"/>
                </a:cubicBezTo>
                <a:cubicBezTo>
                  <a:pt x="327" y="256"/>
                  <a:pt x="327" y="256"/>
                  <a:pt x="327" y="256"/>
                </a:cubicBezTo>
                <a:close/>
                <a:moveTo>
                  <a:pt x="399" y="286"/>
                </a:moveTo>
                <a:cubicBezTo>
                  <a:pt x="399" y="307"/>
                  <a:pt x="391" y="321"/>
                  <a:pt x="373" y="321"/>
                </a:cubicBezTo>
                <a:cubicBezTo>
                  <a:pt x="356" y="321"/>
                  <a:pt x="348" y="305"/>
                  <a:pt x="348" y="286"/>
                </a:cubicBezTo>
                <a:cubicBezTo>
                  <a:pt x="348" y="266"/>
                  <a:pt x="356" y="251"/>
                  <a:pt x="374" y="251"/>
                </a:cubicBezTo>
                <a:cubicBezTo>
                  <a:pt x="392" y="251"/>
                  <a:pt x="399" y="267"/>
                  <a:pt x="399" y="286"/>
                </a:cubicBezTo>
                <a:close/>
                <a:moveTo>
                  <a:pt x="383" y="286"/>
                </a:moveTo>
                <a:cubicBezTo>
                  <a:pt x="383" y="271"/>
                  <a:pt x="380" y="263"/>
                  <a:pt x="374" y="263"/>
                </a:cubicBezTo>
                <a:cubicBezTo>
                  <a:pt x="368" y="263"/>
                  <a:pt x="364" y="270"/>
                  <a:pt x="364" y="286"/>
                </a:cubicBezTo>
                <a:cubicBezTo>
                  <a:pt x="364" y="302"/>
                  <a:pt x="368" y="309"/>
                  <a:pt x="374" y="309"/>
                </a:cubicBezTo>
                <a:cubicBezTo>
                  <a:pt x="380" y="309"/>
                  <a:pt x="383" y="301"/>
                  <a:pt x="383" y="286"/>
                </a:cubicBezTo>
                <a:close/>
                <a:moveTo>
                  <a:pt x="315" y="245"/>
                </a:moveTo>
                <a:cubicBezTo>
                  <a:pt x="291" y="268"/>
                  <a:pt x="260" y="280"/>
                  <a:pt x="229" y="280"/>
                </a:cubicBezTo>
                <a:cubicBezTo>
                  <a:pt x="206" y="280"/>
                  <a:pt x="184" y="274"/>
                  <a:pt x="164" y="262"/>
                </a:cubicBezTo>
                <a:cubicBezTo>
                  <a:pt x="71" y="354"/>
                  <a:pt x="71" y="354"/>
                  <a:pt x="71" y="354"/>
                </a:cubicBezTo>
                <a:cubicBezTo>
                  <a:pt x="64" y="362"/>
                  <a:pt x="51" y="362"/>
                  <a:pt x="43" y="354"/>
                </a:cubicBezTo>
                <a:cubicBezTo>
                  <a:pt x="33" y="344"/>
                  <a:pt x="33" y="344"/>
                  <a:pt x="33" y="344"/>
                </a:cubicBezTo>
                <a:cubicBezTo>
                  <a:pt x="25" y="336"/>
                  <a:pt x="25" y="323"/>
                  <a:pt x="33" y="316"/>
                </a:cubicBezTo>
                <a:cubicBezTo>
                  <a:pt x="125" y="223"/>
                  <a:pt x="125" y="223"/>
                  <a:pt x="125" y="223"/>
                </a:cubicBezTo>
                <a:cubicBezTo>
                  <a:pt x="96" y="176"/>
                  <a:pt x="101" y="113"/>
                  <a:pt x="142" y="72"/>
                </a:cubicBezTo>
                <a:cubicBezTo>
                  <a:pt x="166" y="48"/>
                  <a:pt x="198" y="36"/>
                  <a:pt x="229" y="36"/>
                </a:cubicBezTo>
                <a:cubicBezTo>
                  <a:pt x="260" y="36"/>
                  <a:pt x="291" y="48"/>
                  <a:pt x="315" y="72"/>
                </a:cubicBezTo>
                <a:cubicBezTo>
                  <a:pt x="363" y="119"/>
                  <a:pt x="363" y="197"/>
                  <a:pt x="315" y="245"/>
                </a:cubicBezTo>
                <a:close/>
                <a:moveTo>
                  <a:pt x="312" y="158"/>
                </a:moveTo>
                <a:cubicBezTo>
                  <a:pt x="312" y="136"/>
                  <a:pt x="303" y="115"/>
                  <a:pt x="287" y="100"/>
                </a:cubicBezTo>
                <a:cubicBezTo>
                  <a:pt x="272" y="84"/>
                  <a:pt x="251" y="75"/>
                  <a:pt x="229" y="75"/>
                </a:cubicBezTo>
                <a:cubicBezTo>
                  <a:pt x="207" y="75"/>
                  <a:pt x="186" y="84"/>
                  <a:pt x="170" y="100"/>
                </a:cubicBezTo>
                <a:cubicBezTo>
                  <a:pt x="138" y="132"/>
                  <a:pt x="138" y="184"/>
                  <a:pt x="170" y="217"/>
                </a:cubicBezTo>
                <a:cubicBezTo>
                  <a:pt x="186" y="232"/>
                  <a:pt x="207" y="241"/>
                  <a:pt x="229" y="241"/>
                </a:cubicBezTo>
                <a:cubicBezTo>
                  <a:pt x="251" y="241"/>
                  <a:pt x="272" y="232"/>
                  <a:pt x="287" y="217"/>
                </a:cubicBezTo>
                <a:cubicBezTo>
                  <a:pt x="303" y="201"/>
                  <a:pt x="312" y="180"/>
                  <a:pt x="312" y="158"/>
                </a:cubicBezTo>
                <a:close/>
                <a:moveTo>
                  <a:pt x="297" y="18"/>
                </a:moveTo>
                <a:cubicBezTo>
                  <a:pt x="298" y="20"/>
                  <a:pt x="300" y="21"/>
                  <a:pt x="302" y="20"/>
                </a:cubicBezTo>
                <a:cubicBezTo>
                  <a:pt x="308" y="17"/>
                  <a:pt x="308" y="17"/>
                  <a:pt x="308" y="17"/>
                </a:cubicBezTo>
                <a:cubicBezTo>
                  <a:pt x="310" y="16"/>
                  <a:pt x="311" y="15"/>
                  <a:pt x="311" y="15"/>
                </a:cubicBezTo>
                <a:cubicBezTo>
                  <a:pt x="311" y="15"/>
                  <a:pt x="311" y="17"/>
                  <a:pt x="311" y="19"/>
                </a:cubicBezTo>
                <a:cubicBezTo>
                  <a:pt x="311" y="47"/>
                  <a:pt x="311" y="47"/>
                  <a:pt x="311" y="47"/>
                </a:cubicBezTo>
                <a:cubicBezTo>
                  <a:pt x="317" y="51"/>
                  <a:pt x="322" y="56"/>
                  <a:pt x="327" y="60"/>
                </a:cubicBezTo>
                <a:cubicBezTo>
                  <a:pt x="327" y="60"/>
                  <a:pt x="327" y="60"/>
                  <a:pt x="327" y="61"/>
                </a:cubicBezTo>
                <a:cubicBezTo>
                  <a:pt x="327" y="5"/>
                  <a:pt x="327" y="5"/>
                  <a:pt x="327" y="5"/>
                </a:cubicBezTo>
                <a:cubicBezTo>
                  <a:pt x="327" y="3"/>
                  <a:pt x="325" y="1"/>
                  <a:pt x="323" y="1"/>
                </a:cubicBezTo>
                <a:cubicBezTo>
                  <a:pt x="318" y="1"/>
                  <a:pt x="318" y="1"/>
                  <a:pt x="318" y="1"/>
                </a:cubicBezTo>
                <a:cubicBezTo>
                  <a:pt x="315" y="1"/>
                  <a:pt x="312" y="2"/>
                  <a:pt x="310" y="3"/>
                </a:cubicBezTo>
                <a:cubicBezTo>
                  <a:pt x="299" y="8"/>
                  <a:pt x="299" y="8"/>
                  <a:pt x="299" y="8"/>
                </a:cubicBezTo>
                <a:cubicBezTo>
                  <a:pt x="297" y="9"/>
                  <a:pt x="296" y="11"/>
                  <a:pt x="296" y="13"/>
                </a:cubicBezTo>
                <a:lnTo>
                  <a:pt x="297" y="18"/>
                </a:lnTo>
                <a:close/>
              </a:path>
            </a:pathLst>
          </a:custGeom>
          <a:solidFill>
            <a:srgbClr val="FFFFFF"/>
          </a:solidFill>
          <a:ln w="25400" cap="flat" cmpd="sng" algn="ctr">
            <a:noFill/>
            <a:prstDash val="solid"/>
          </a:ln>
          <a:effectLst/>
        </p:spPr>
        <p:txBody>
          <a:bodyPr lIns="68556" tIns="34278" rIns="68556" bIns="34278" anchor="ctr"/>
          <a:lstStyle/>
          <a:p>
            <a:pPr algn="ctr" defTabSz="676889"/>
            <a:endParaRPr lang="en-US" sz="1350" dirty="0">
              <a:solidFill>
                <a:srgbClr val="0096D6"/>
              </a:solidFill>
              <a:latin typeface="CiscoSansJPN" pitchFamily="2" charset="-128"/>
              <a:ea typeface="CiscoSansJPN" pitchFamily="2" charset="-128"/>
              <a:cs typeface="CiscoSansJPN" pitchFamily="2" charset="-128"/>
            </a:endParaRPr>
          </a:p>
        </p:txBody>
      </p:sp>
      <p:grpSp>
        <p:nvGrpSpPr>
          <p:cNvPr id="229" name="Group 2"/>
          <p:cNvGrpSpPr/>
          <p:nvPr/>
        </p:nvGrpSpPr>
        <p:grpSpPr>
          <a:xfrm>
            <a:off x="526400" y="3777454"/>
            <a:ext cx="412583" cy="342406"/>
            <a:chOff x="3307824" y="1844442"/>
            <a:chExt cx="319860" cy="294556"/>
          </a:xfrm>
        </p:grpSpPr>
        <p:sp>
          <p:nvSpPr>
            <p:cNvPr id="230" name="Freeform 226"/>
            <p:cNvSpPr>
              <a:spLocks/>
            </p:cNvSpPr>
            <p:nvPr/>
          </p:nvSpPr>
          <p:spPr bwMode="auto">
            <a:xfrm>
              <a:off x="3369799" y="1991094"/>
              <a:ext cx="21326" cy="21322"/>
            </a:xfrm>
            <a:custGeom>
              <a:avLst/>
              <a:gdLst>
                <a:gd name="T0" fmla="*/ 65 w 130"/>
                <a:gd name="T1" fmla="*/ 0 h 129"/>
                <a:gd name="T2" fmla="*/ 65 w 130"/>
                <a:gd name="T3" fmla="*/ 0 h 129"/>
                <a:gd name="T4" fmla="*/ 58 w 130"/>
                <a:gd name="T5" fmla="*/ 0 h 129"/>
                <a:gd name="T6" fmla="*/ 52 w 130"/>
                <a:gd name="T7" fmla="*/ 1 h 129"/>
                <a:gd name="T8" fmla="*/ 46 w 130"/>
                <a:gd name="T9" fmla="*/ 3 h 129"/>
                <a:gd name="T10" fmla="*/ 40 w 130"/>
                <a:gd name="T11" fmla="*/ 5 h 129"/>
                <a:gd name="T12" fmla="*/ 34 w 130"/>
                <a:gd name="T13" fmla="*/ 8 h 129"/>
                <a:gd name="T14" fmla="*/ 29 w 130"/>
                <a:gd name="T15" fmla="*/ 11 h 129"/>
                <a:gd name="T16" fmla="*/ 19 w 130"/>
                <a:gd name="T17" fmla="*/ 19 h 129"/>
                <a:gd name="T18" fmla="*/ 11 w 130"/>
                <a:gd name="T19" fmla="*/ 28 h 129"/>
                <a:gd name="T20" fmla="*/ 5 w 130"/>
                <a:gd name="T21" fmla="*/ 39 h 129"/>
                <a:gd name="T22" fmla="*/ 3 w 130"/>
                <a:gd name="T23" fmla="*/ 46 h 129"/>
                <a:gd name="T24" fmla="*/ 1 w 130"/>
                <a:gd name="T25" fmla="*/ 52 h 129"/>
                <a:gd name="T26" fmla="*/ 1 w 130"/>
                <a:gd name="T27" fmla="*/ 58 h 129"/>
                <a:gd name="T28" fmla="*/ 0 w 130"/>
                <a:gd name="T29" fmla="*/ 65 h 129"/>
                <a:gd name="T30" fmla="*/ 0 w 130"/>
                <a:gd name="T31" fmla="*/ 65 h 129"/>
                <a:gd name="T32" fmla="*/ 1 w 130"/>
                <a:gd name="T33" fmla="*/ 71 h 129"/>
                <a:gd name="T34" fmla="*/ 1 w 130"/>
                <a:gd name="T35" fmla="*/ 77 h 129"/>
                <a:gd name="T36" fmla="*/ 3 w 130"/>
                <a:gd name="T37" fmla="*/ 83 h 129"/>
                <a:gd name="T38" fmla="*/ 5 w 130"/>
                <a:gd name="T39" fmla="*/ 89 h 129"/>
                <a:gd name="T40" fmla="*/ 11 w 130"/>
                <a:gd name="T41" fmla="*/ 101 h 129"/>
                <a:gd name="T42" fmla="*/ 19 w 130"/>
                <a:gd name="T43" fmla="*/ 110 h 129"/>
                <a:gd name="T44" fmla="*/ 29 w 130"/>
                <a:gd name="T45" fmla="*/ 118 h 129"/>
                <a:gd name="T46" fmla="*/ 34 w 130"/>
                <a:gd name="T47" fmla="*/ 121 h 129"/>
                <a:gd name="T48" fmla="*/ 40 w 130"/>
                <a:gd name="T49" fmla="*/ 124 h 129"/>
                <a:gd name="T50" fmla="*/ 46 w 130"/>
                <a:gd name="T51" fmla="*/ 126 h 129"/>
                <a:gd name="T52" fmla="*/ 52 w 130"/>
                <a:gd name="T53" fmla="*/ 128 h 129"/>
                <a:gd name="T54" fmla="*/ 58 w 130"/>
                <a:gd name="T55" fmla="*/ 129 h 129"/>
                <a:gd name="T56" fmla="*/ 65 w 130"/>
                <a:gd name="T57" fmla="*/ 129 h 129"/>
                <a:gd name="T58" fmla="*/ 65 w 130"/>
                <a:gd name="T59" fmla="*/ 129 h 129"/>
                <a:gd name="T60" fmla="*/ 71 w 130"/>
                <a:gd name="T61" fmla="*/ 129 h 129"/>
                <a:gd name="T62" fmla="*/ 78 w 130"/>
                <a:gd name="T63" fmla="*/ 128 h 129"/>
                <a:gd name="T64" fmla="*/ 84 w 130"/>
                <a:gd name="T65" fmla="*/ 126 h 129"/>
                <a:gd name="T66" fmla="*/ 90 w 130"/>
                <a:gd name="T67" fmla="*/ 124 h 129"/>
                <a:gd name="T68" fmla="*/ 101 w 130"/>
                <a:gd name="T69" fmla="*/ 118 h 129"/>
                <a:gd name="T70" fmla="*/ 110 w 130"/>
                <a:gd name="T71" fmla="*/ 110 h 129"/>
                <a:gd name="T72" fmla="*/ 118 w 130"/>
                <a:gd name="T73" fmla="*/ 101 h 129"/>
                <a:gd name="T74" fmla="*/ 125 w 130"/>
                <a:gd name="T75" fmla="*/ 89 h 129"/>
                <a:gd name="T76" fmla="*/ 127 w 130"/>
                <a:gd name="T77" fmla="*/ 83 h 129"/>
                <a:gd name="T78" fmla="*/ 129 w 130"/>
                <a:gd name="T79" fmla="*/ 77 h 129"/>
                <a:gd name="T80" fmla="*/ 130 w 130"/>
                <a:gd name="T81" fmla="*/ 71 h 129"/>
                <a:gd name="T82" fmla="*/ 130 w 130"/>
                <a:gd name="T83" fmla="*/ 65 h 129"/>
                <a:gd name="T84" fmla="*/ 130 w 130"/>
                <a:gd name="T85" fmla="*/ 65 h 129"/>
                <a:gd name="T86" fmla="*/ 130 w 130"/>
                <a:gd name="T87" fmla="*/ 58 h 129"/>
                <a:gd name="T88" fmla="*/ 129 w 130"/>
                <a:gd name="T89" fmla="*/ 52 h 129"/>
                <a:gd name="T90" fmla="*/ 127 w 130"/>
                <a:gd name="T91" fmla="*/ 46 h 129"/>
                <a:gd name="T92" fmla="*/ 125 w 130"/>
                <a:gd name="T93" fmla="*/ 39 h 129"/>
                <a:gd name="T94" fmla="*/ 118 w 130"/>
                <a:gd name="T95" fmla="*/ 28 h 129"/>
                <a:gd name="T96" fmla="*/ 110 w 130"/>
                <a:gd name="T97" fmla="*/ 19 h 129"/>
                <a:gd name="T98" fmla="*/ 101 w 130"/>
                <a:gd name="T99" fmla="*/ 11 h 129"/>
                <a:gd name="T100" fmla="*/ 90 w 130"/>
                <a:gd name="T101" fmla="*/ 5 h 129"/>
                <a:gd name="T102" fmla="*/ 84 w 130"/>
                <a:gd name="T103" fmla="*/ 3 h 129"/>
                <a:gd name="T104" fmla="*/ 78 w 130"/>
                <a:gd name="T105" fmla="*/ 1 h 129"/>
                <a:gd name="T106" fmla="*/ 71 w 130"/>
                <a:gd name="T107" fmla="*/ 0 h 129"/>
                <a:gd name="T108" fmla="*/ 65 w 130"/>
                <a:gd name="T109" fmla="*/ 0 h 129"/>
                <a:gd name="T110" fmla="*/ 65 w 130"/>
                <a:gd name="T11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29">
                  <a:moveTo>
                    <a:pt x="65" y="0"/>
                  </a:moveTo>
                  <a:lnTo>
                    <a:pt x="65" y="0"/>
                  </a:lnTo>
                  <a:lnTo>
                    <a:pt x="58" y="0"/>
                  </a:lnTo>
                  <a:lnTo>
                    <a:pt x="52" y="1"/>
                  </a:lnTo>
                  <a:lnTo>
                    <a:pt x="46" y="3"/>
                  </a:lnTo>
                  <a:lnTo>
                    <a:pt x="40" y="5"/>
                  </a:lnTo>
                  <a:lnTo>
                    <a:pt x="34" y="8"/>
                  </a:lnTo>
                  <a:lnTo>
                    <a:pt x="29" y="11"/>
                  </a:lnTo>
                  <a:lnTo>
                    <a:pt x="19" y="19"/>
                  </a:lnTo>
                  <a:lnTo>
                    <a:pt x="11" y="28"/>
                  </a:lnTo>
                  <a:lnTo>
                    <a:pt x="5" y="39"/>
                  </a:lnTo>
                  <a:lnTo>
                    <a:pt x="3" y="46"/>
                  </a:lnTo>
                  <a:lnTo>
                    <a:pt x="1" y="52"/>
                  </a:lnTo>
                  <a:lnTo>
                    <a:pt x="1" y="58"/>
                  </a:lnTo>
                  <a:lnTo>
                    <a:pt x="0" y="65"/>
                  </a:lnTo>
                  <a:lnTo>
                    <a:pt x="0" y="65"/>
                  </a:lnTo>
                  <a:lnTo>
                    <a:pt x="1" y="71"/>
                  </a:lnTo>
                  <a:lnTo>
                    <a:pt x="1" y="77"/>
                  </a:lnTo>
                  <a:lnTo>
                    <a:pt x="3" y="83"/>
                  </a:lnTo>
                  <a:lnTo>
                    <a:pt x="5" y="89"/>
                  </a:lnTo>
                  <a:lnTo>
                    <a:pt x="11" y="101"/>
                  </a:lnTo>
                  <a:lnTo>
                    <a:pt x="19" y="110"/>
                  </a:lnTo>
                  <a:lnTo>
                    <a:pt x="29" y="118"/>
                  </a:lnTo>
                  <a:lnTo>
                    <a:pt x="34" y="121"/>
                  </a:lnTo>
                  <a:lnTo>
                    <a:pt x="40" y="124"/>
                  </a:lnTo>
                  <a:lnTo>
                    <a:pt x="46" y="126"/>
                  </a:lnTo>
                  <a:lnTo>
                    <a:pt x="52" y="128"/>
                  </a:lnTo>
                  <a:lnTo>
                    <a:pt x="58" y="129"/>
                  </a:lnTo>
                  <a:lnTo>
                    <a:pt x="65" y="129"/>
                  </a:lnTo>
                  <a:lnTo>
                    <a:pt x="65" y="129"/>
                  </a:lnTo>
                  <a:lnTo>
                    <a:pt x="71" y="129"/>
                  </a:lnTo>
                  <a:lnTo>
                    <a:pt x="78" y="128"/>
                  </a:lnTo>
                  <a:lnTo>
                    <a:pt x="84" y="126"/>
                  </a:lnTo>
                  <a:lnTo>
                    <a:pt x="90" y="124"/>
                  </a:lnTo>
                  <a:lnTo>
                    <a:pt x="101" y="118"/>
                  </a:lnTo>
                  <a:lnTo>
                    <a:pt x="110" y="110"/>
                  </a:lnTo>
                  <a:lnTo>
                    <a:pt x="118" y="101"/>
                  </a:lnTo>
                  <a:lnTo>
                    <a:pt x="125" y="89"/>
                  </a:lnTo>
                  <a:lnTo>
                    <a:pt x="127" y="83"/>
                  </a:lnTo>
                  <a:lnTo>
                    <a:pt x="129" y="77"/>
                  </a:lnTo>
                  <a:lnTo>
                    <a:pt x="130" y="71"/>
                  </a:lnTo>
                  <a:lnTo>
                    <a:pt x="130" y="65"/>
                  </a:lnTo>
                  <a:lnTo>
                    <a:pt x="130" y="65"/>
                  </a:lnTo>
                  <a:lnTo>
                    <a:pt x="130" y="58"/>
                  </a:lnTo>
                  <a:lnTo>
                    <a:pt x="129" y="52"/>
                  </a:lnTo>
                  <a:lnTo>
                    <a:pt x="127" y="46"/>
                  </a:lnTo>
                  <a:lnTo>
                    <a:pt x="125" y="39"/>
                  </a:lnTo>
                  <a:lnTo>
                    <a:pt x="118" y="28"/>
                  </a:lnTo>
                  <a:lnTo>
                    <a:pt x="110" y="19"/>
                  </a:lnTo>
                  <a:lnTo>
                    <a:pt x="101" y="11"/>
                  </a:lnTo>
                  <a:lnTo>
                    <a:pt x="90" y="5"/>
                  </a:lnTo>
                  <a:lnTo>
                    <a:pt x="84" y="3"/>
                  </a:lnTo>
                  <a:lnTo>
                    <a:pt x="78" y="1"/>
                  </a:lnTo>
                  <a:lnTo>
                    <a:pt x="71"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31" name="Freeform 227"/>
            <p:cNvSpPr>
              <a:spLocks/>
            </p:cNvSpPr>
            <p:nvPr/>
          </p:nvSpPr>
          <p:spPr bwMode="auto">
            <a:xfrm>
              <a:off x="3369799" y="2028124"/>
              <a:ext cx="21326" cy="21322"/>
            </a:xfrm>
            <a:custGeom>
              <a:avLst/>
              <a:gdLst>
                <a:gd name="T0" fmla="*/ 65 w 130"/>
                <a:gd name="T1" fmla="*/ 0 h 130"/>
                <a:gd name="T2" fmla="*/ 65 w 130"/>
                <a:gd name="T3" fmla="*/ 0 h 130"/>
                <a:gd name="T4" fmla="*/ 58 w 130"/>
                <a:gd name="T5" fmla="*/ 1 h 130"/>
                <a:gd name="T6" fmla="*/ 52 w 130"/>
                <a:gd name="T7" fmla="*/ 1 h 130"/>
                <a:gd name="T8" fmla="*/ 46 w 130"/>
                <a:gd name="T9" fmla="*/ 3 h 130"/>
                <a:gd name="T10" fmla="*/ 40 w 130"/>
                <a:gd name="T11" fmla="*/ 5 h 130"/>
                <a:gd name="T12" fmla="*/ 34 w 130"/>
                <a:gd name="T13" fmla="*/ 8 h 130"/>
                <a:gd name="T14" fmla="*/ 29 w 130"/>
                <a:gd name="T15" fmla="*/ 11 h 130"/>
                <a:gd name="T16" fmla="*/ 19 w 130"/>
                <a:gd name="T17" fmla="*/ 20 h 130"/>
                <a:gd name="T18" fmla="*/ 11 w 130"/>
                <a:gd name="T19" fmla="*/ 29 h 130"/>
                <a:gd name="T20" fmla="*/ 5 w 130"/>
                <a:gd name="T21" fmla="*/ 40 h 130"/>
                <a:gd name="T22" fmla="*/ 3 w 130"/>
                <a:gd name="T23" fmla="*/ 46 h 130"/>
                <a:gd name="T24" fmla="*/ 1 w 130"/>
                <a:gd name="T25" fmla="*/ 52 h 130"/>
                <a:gd name="T26" fmla="*/ 1 w 130"/>
                <a:gd name="T27" fmla="*/ 58 h 130"/>
                <a:gd name="T28" fmla="*/ 0 w 130"/>
                <a:gd name="T29" fmla="*/ 66 h 130"/>
                <a:gd name="T30" fmla="*/ 0 w 130"/>
                <a:gd name="T31" fmla="*/ 66 h 130"/>
                <a:gd name="T32" fmla="*/ 1 w 130"/>
                <a:gd name="T33" fmla="*/ 72 h 130"/>
                <a:gd name="T34" fmla="*/ 1 w 130"/>
                <a:gd name="T35" fmla="*/ 78 h 130"/>
                <a:gd name="T36" fmla="*/ 3 w 130"/>
                <a:gd name="T37" fmla="*/ 84 h 130"/>
                <a:gd name="T38" fmla="*/ 5 w 130"/>
                <a:gd name="T39" fmla="*/ 90 h 130"/>
                <a:gd name="T40" fmla="*/ 11 w 130"/>
                <a:gd name="T41" fmla="*/ 101 h 130"/>
                <a:gd name="T42" fmla="*/ 19 w 130"/>
                <a:gd name="T43" fmla="*/ 110 h 130"/>
                <a:gd name="T44" fmla="*/ 29 w 130"/>
                <a:gd name="T45" fmla="*/ 119 h 130"/>
                <a:gd name="T46" fmla="*/ 34 w 130"/>
                <a:gd name="T47" fmla="*/ 122 h 130"/>
                <a:gd name="T48" fmla="*/ 40 w 130"/>
                <a:gd name="T49" fmla="*/ 125 h 130"/>
                <a:gd name="T50" fmla="*/ 46 w 130"/>
                <a:gd name="T51" fmla="*/ 127 h 130"/>
                <a:gd name="T52" fmla="*/ 52 w 130"/>
                <a:gd name="T53" fmla="*/ 129 h 130"/>
                <a:gd name="T54" fmla="*/ 58 w 130"/>
                <a:gd name="T55" fmla="*/ 130 h 130"/>
                <a:gd name="T56" fmla="*/ 65 w 130"/>
                <a:gd name="T57" fmla="*/ 130 h 130"/>
                <a:gd name="T58" fmla="*/ 65 w 130"/>
                <a:gd name="T59" fmla="*/ 130 h 130"/>
                <a:gd name="T60" fmla="*/ 71 w 130"/>
                <a:gd name="T61" fmla="*/ 130 h 130"/>
                <a:gd name="T62" fmla="*/ 78 w 130"/>
                <a:gd name="T63" fmla="*/ 129 h 130"/>
                <a:gd name="T64" fmla="*/ 84 w 130"/>
                <a:gd name="T65" fmla="*/ 127 h 130"/>
                <a:gd name="T66" fmla="*/ 90 w 130"/>
                <a:gd name="T67" fmla="*/ 125 h 130"/>
                <a:gd name="T68" fmla="*/ 101 w 130"/>
                <a:gd name="T69" fmla="*/ 119 h 130"/>
                <a:gd name="T70" fmla="*/ 110 w 130"/>
                <a:gd name="T71" fmla="*/ 110 h 130"/>
                <a:gd name="T72" fmla="*/ 118 w 130"/>
                <a:gd name="T73" fmla="*/ 101 h 130"/>
                <a:gd name="T74" fmla="*/ 125 w 130"/>
                <a:gd name="T75" fmla="*/ 90 h 130"/>
                <a:gd name="T76" fmla="*/ 127 w 130"/>
                <a:gd name="T77" fmla="*/ 84 h 130"/>
                <a:gd name="T78" fmla="*/ 129 w 130"/>
                <a:gd name="T79" fmla="*/ 78 h 130"/>
                <a:gd name="T80" fmla="*/ 130 w 130"/>
                <a:gd name="T81" fmla="*/ 72 h 130"/>
                <a:gd name="T82" fmla="*/ 130 w 130"/>
                <a:gd name="T83" fmla="*/ 66 h 130"/>
                <a:gd name="T84" fmla="*/ 130 w 130"/>
                <a:gd name="T85" fmla="*/ 66 h 130"/>
                <a:gd name="T86" fmla="*/ 130 w 130"/>
                <a:gd name="T87" fmla="*/ 58 h 130"/>
                <a:gd name="T88" fmla="*/ 129 w 130"/>
                <a:gd name="T89" fmla="*/ 52 h 130"/>
                <a:gd name="T90" fmla="*/ 127 w 130"/>
                <a:gd name="T91" fmla="*/ 46 h 130"/>
                <a:gd name="T92" fmla="*/ 125 w 130"/>
                <a:gd name="T93" fmla="*/ 40 h 130"/>
                <a:gd name="T94" fmla="*/ 118 w 130"/>
                <a:gd name="T95" fmla="*/ 29 h 130"/>
                <a:gd name="T96" fmla="*/ 110 w 130"/>
                <a:gd name="T97" fmla="*/ 20 h 130"/>
                <a:gd name="T98" fmla="*/ 101 w 130"/>
                <a:gd name="T99" fmla="*/ 11 h 130"/>
                <a:gd name="T100" fmla="*/ 90 w 130"/>
                <a:gd name="T101" fmla="*/ 5 h 130"/>
                <a:gd name="T102" fmla="*/ 84 w 130"/>
                <a:gd name="T103" fmla="*/ 3 h 130"/>
                <a:gd name="T104" fmla="*/ 78 w 130"/>
                <a:gd name="T105" fmla="*/ 1 h 130"/>
                <a:gd name="T106" fmla="*/ 71 w 130"/>
                <a:gd name="T107" fmla="*/ 1 h 130"/>
                <a:gd name="T108" fmla="*/ 65 w 130"/>
                <a:gd name="T109" fmla="*/ 0 h 130"/>
                <a:gd name="T110" fmla="*/ 65 w 130"/>
                <a:gd name="T11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30">
                  <a:moveTo>
                    <a:pt x="65" y="0"/>
                  </a:moveTo>
                  <a:lnTo>
                    <a:pt x="65" y="0"/>
                  </a:lnTo>
                  <a:lnTo>
                    <a:pt x="58" y="1"/>
                  </a:lnTo>
                  <a:lnTo>
                    <a:pt x="52" y="1"/>
                  </a:lnTo>
                  <a:lnTo>
                    <a:pt x="46" y="3"/>
                  </a:lnTo>
                  <a:lnTo>
                    <a:pt x="40" y="5"/>
                  </a:lnTo>
                  <a:lnTo>
                    <a:pt x="34" y="8"/>
                  </a:lnTo>
                  <a:lnTo>
                    <a:pt x="29" y="11"/>
                  </a:lnTo>
                  <a:lnTo>
                    <a:pt x="19" y="20"/>
                  </a:lnTo>
                  <a:lnTo>
                    <a:pt x="11" y="29"/>
                  </a:lnTo>
                  <a:lnTo>
                    <a:pt x="5" y="40"/>
                  </a:lnTo>
                  <a:lnTo>
                    <a:pt x="3" y="46"/>
                  </a:lnTo>
                  <a:lnTo>
                    <a:pt x="1" y="52"/>
                  </a:lnTo>
                  <a:lnTo>
                    <a:pt x="1" y="58"/>
                  </a:lnTo>
                  <a:lnTo>
                    <a:pt x="0" y="66"/>
                  </a:lnTo>
                  <a:lnTo>
                    <a:pt x="0" y="66"/>
                  </a:lnTo>
                  <a:lnTo>
                    <a:pt x="1" y="72"/>
                  </a:lnTo>
                  <a:lnTo>
                    <a:pt x="1" y="78"/>
                  </a:lnTo>
                  <a:lnTo>
                    <a:pt x="3" y="84"/>
                  </a:lnTo>
                  <a:lnTo>
                    <a:pt x="5" y="90"/>
                  </a:lnTo>
                  <a:lnTo>
                    <a:pt x="11" y="101"/>
                  </a:lnTo>
                  <a:lnTo>
                    <a:pt x="19" y="110"/>
                  </a:lnTo>
                  <a:lnTo>
                    <a:pt x="29" y="119"/>
                  </a:lnTo>
                  <a:lnTo>
                    <a:pt x="34" y="122"/>
                  </a:lnTo>
                  <a:lnTo>
                    <a:pt x="40" y="125"/>
                  </a:lnTo>
                  <a:lnTo>
                    <a:pt x="46" y="127"/>
                  </a:lnTo>
                  <a:lnTo>
                    <a:pt x="52" y="129"/>
                  </a:lnTo>
                  <a:lnTo>
                    <a:pt x="58" y="130"/>
                  </a:lnTo>
                  <a:lnTo>
                    <a:pt x="65" y="130"/>
                  </a:lnTo>
                  <a:lnTo>
                    <a:pt x="65" y="130"/>
                  </a:lnTo>
                  <a:lnTo>
                    <a:pt x="71" y="130"/>
                  </a:lnTo>
                  <a:lnTo>
                    <a:pt x="78" y="129"/>
                  </a:lnTo>
                  <a:lnTo>
                    <a:pt x="84" y="127"/>
                  </a:lnTo>
                  <a:lnTo>
                    <a:pt x="90" y="125"/>
                  </a:lnTo>
                  <a:lnTo>
                    <a:pt x="101" y="119"/>
                  </a:lnTo>
                  <a:lnTo>
                    <a:pt x="110" y="110"/>
                  </a:lnTo>
                  <a:lnTo>
                    <a:pt x="118" y="101"/>
                  </a:lnTo>
                  <a:lnTo>
                    <a:pt x="125" y="90"/>
                  </a:lnTo>
                  <a:lnTo>
                    <a:pt x="127" y="84"/>
                  </a:lnTo>
                  <a:lnTo>
                    <a:pt x="129" y="78"/>
                  </a:lnTo>
                  <a:lnTo>
                    <a:pt x="130" y="72"/>
                  </a:lnTo>
                  <a:lnTo>
                    <a:pt x="130" y="66"/>
                  </a:lnTo>
                  <a:lnTo>
                    <a:pt x="130" y="66"/>
                  </a:lnTo>
                  <a:lnTo>
                    <a:pt x="130" y="58"/>
                  </a:lnTo>
                  <a:lnTo>
                    <a:pt x="129" y="52"/>
                  </a:lnTo>
                  <a:lnTo>
                    <a:pt x="127" y="46"/>
                  </a:lnTo>
                  <a:lnTo>
                    <a:pt x="125" y="40"/>
                  </a:lnTo>
                  <a:lnTo>
                    <a:pt x="118" y="29"/>
                  </a:lnTo>
                  <a:lnTo>
                    <a:pt x="110" y="20"/>
                  </a:lnTo>
                  <a:lnTo>
                    <a:pt x="101" y="11"/>
                  </a:lnTo>
                  <a:lnTo>
                    <a:pt x="90" y="5"/>
                  </a:lnTo>
                  <a:lnTo>
                    <a:pt x="84" y="3"/>
                  </a:lnTo>
                  <a:lnTo>
                    <a:pt x="78" y="1"/>
                  </a:lnTo>
                  <a:lnTo>
                    <a:pt x="71" y="1"/>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32" name="Freeform 228"/>
            <p:cNvSpPr>
              <a:spLocks/>
            </p:cNvSpPr>
            <p:nvPr/>
          </p:nvSpPr>
          <p:spPr bwMode="auto">
            <a:xfrm>
              <a:off x="3369799" y="2066275"/>
              <a:ext cx="21326" cy="20199"/>
            </a:xfrm>
            <a:custGeom>
              <a:avLst/>
              <a:gdLst>
                <a:gd name="T0" fmla="*/ 65 w 130"/>
                <a:gd name="T1" fmla="*/ 0 h 129"/>
                <a:gd name="T2" fmla="*/ 65 w 130"/>
                <a:gd name="T3" fmla="*/ 0 h 129"/>
                <a:gd name="T4" fmla="*/ 58 w 130"/>
                <a:gd name="T5" fmla="*/ 0 h 129"/>
                <a:gd name="T6" fmla="*/ 52 w 130"/>
                <a:gd name="T7" fmla="*/ 1 h 129"/>
                <a:gd name="T8" fmla="*/ 46 w 130"/>
                <a:gd name="T9" fmla="*/ 3 h 129"/>
                <a:gd name="T10" fmla="*/ 40 w 130"/>
                <a:gd name="T11" fmla="*/ 5 h 129"/>
                <a:gd name="T12" fmla="*/ 34 w 130"/>
                <a:gd name="T13" fmla="*/ 8 h 129"/>
                <a:gd name="T14" fmla="*/ 29 w 130"/>
                <a:gd name="T15" fmla="*/ 11 h 129"/>
                <a:gd name="T16" fmla="*/ 19 w 130"/>
                <a:gd name="T17" fmla="*/ 19 h 129"/>
                <a:gd name="T18" fmla="*/ 11 w 130"/>
                <a:gd name="T19" fmla="*/ 28 h 129"/>
                <a:gd name="T20" fmla="*/ 5 w 130"/>
                <a:gd name="T21" fmla="*/ 40 h 129"/>
                <a:gd name="T22" fmla="*/ 3 w 130"/>
                <a:gd name="T23" fmla="*/ 46 h 129"/>
                <a:gd name="T24" fmla="*/ 1 w 130"/>
                <a:gd name="T25" fmla="*/ 52 h 129"/>
                <a:gd name="T26" fmla="*/ 1 w 130"/>
                <a:gd name="T27" fmla="*/ 58 h 129"/>
                <a:gd name="T28" fmla="*/ 0 w 130"/>
                <a:gd name="T29" fmla="*/ 65 h 129"/>
                <a:gd name="T30" fmla="*/ 0 w 130"/>
                <a:gd name="T31" fmla="*/ 65 h 129"/>
                <a:gd name="T32" fmla="*/ 1 w 130"/>
                <a:gd name="T33" fmla="*/ 71 h 129"/>
                <a:gd name="T34" fmla="*/ 1 w 130"/>
                <a:gd name="T35" fmla="*/ 77 h 129"/>
                <a:gd name="T36" fmla="*/ 3 w 130"/>
                <a:gd name="T37" fmla="*/ 83 h 129"/>
                <a:gd name="T38" fmla="*/ 5 w 130"/>
                <a:gd name="T39" fmla="*/ 90 h 129"/>
                <a:gd name="T40" fmla="*/ 11 w 130"/>
                <a:gd name="T41" fmla="*/ 101 h 129"/>
                <a:gd name="T42" fmla="*/ 19 w 130"/>
                <a:gd name="T43" fmla="*/ 110 h 129"/>
                <a:gd name="T44" fmla="*/ 29 w 130"/>
                <a:gd name="T45" fmla="*/ 118 h 129"/>
                <a:gd name="T46" fmla="*/ 34 w 130"/>
                <a:gd name="T47" fmla="*/ 121 h 129"/>
                <a:gd name="T48" fmla="*/ 40 w 130"/>
                <a:gd name="T49" fmla="*/ 124 h 129"/>
                <a:gd name="T50" fmla="*/ 46 w 130"/>
                <a:gd name="T51" fmla="*/ 126 h 129"/>
                <a:gd name="T52" fmla="*/ 52 w 130"/>
                <a:gd name="T53" fmla="*/ 128 h 129"/>
                <a:gd name="T54" fmla="*/ 58 w 130"/>
                <a:gd name="T55" fmla="*/ 129 h 129"/>
                <a:gd name="T56" fmla="*/ 65 w 130"/>
                <a:gd name="T57" fmla="*/ 129 h 129"/>
                <a:gd name="T58" fmla="*/ 65 w 130"/>
                <a:gd name="T59" fmla="*/ 129 h 129"/>
                <a:gd name="T60" fmla="*/ 71 w 130"/>
                <a:gd name="T61" fmla="*/ 129 h 129"/>
                <a:gd name="T62" fmla="*/ 78 w 130"/>
                <a:gd name="T63" fmla="*/ 128 h 129"/>
                <a:gd name="T64" fmla="*/ 84 w 130"/>
                <a:gd name="T65" fmla="*/ 126 h 129"/>
                <a:gd name="T66" fmla="*/ 90 w 130"/>
                <a:gd name="T67" fmla="*/ 124 h 129"/>
                <a:gd name="T68" fmla="*/ 101 w 130"/>
                <a:gd name="T69" fmla="*/ 118 h 129"/>
                <a:gd name="T70" fmla="*/ 110 w 130"/>
                <a:gd name="T71" fmla="*/ 110 h 129"/>
                <a:gd name="T72" fmla="*/ 118 w 130"/>
                <a:gd name="T73" fmla="*/ 101 h 129"/>
                <a:gd name="T74" fmla="*/ 125 w 130"/>
                <a:gd name="T75" fmla="*/ 90 h 129"/>
                <a:gd name="T76" fmla="*/ 127 w 130"/>
                <a:gd name="T77" fmla="*/ 83 h 129"/>
                <a:gd name="T78" fmla="*/ 129 w 130"/>
                <a:gd name="T79" fmla="*/ 77 h 129"/>
                <a:gd name="T80" fmla="*/ 130 w 130"/>
                <a:gd name="T81" fmla="*/ 71 h 129"/>
                <a:gd name="T82" fmla="*/ 130 w 130"/>
                <a:gd name="T83" fmla="*/ 65 h 129"/>
                <a:gd name="T84" fmla="*/ 130 w 130"/>
                <a:gd name="T85" fmla="*/ 65 h 129"/>
                <a:gd name="T86" fmla="*/ 130 w 130"/>
                <a:gd name="T87" fmla="*/ 58 h 129"/>
                <a:gd name="T88" fmla="*/ 129 w 130"/>
                <a:gd name="T89" fmla="*/ 52 h 129"/>
                <a:gd name="T90" fmla="*/ 127 w 130"/>
                <a:gd name="T91" fmla="*/ 46 h 129"/>
                <a:gd name="T92" fmla="*/ 125 w 130"/>
                <a:gd name="T93" fmla="*/ 40 h 129"/>
                <a:gd name="T94" fmla="*/ 118 w 130"/>
                <a:gd name="T95" fmla="*/ 28 h 129"/>
                <a:gd name="T96" fmla="*/ 110 w 130"/>
                <a:gd name="T97" fmla="*/ 19 h 129"/>
                <a:gd name="T98" fmla="*/ 101 w 130"/>
                <a:gd name="T99" fmla="*/ 11 h 129"/>
                <a:gd name="T100" fmla="*/ 90 w 130"/>
                <a:gd name="T101" fmla="*/ 5 h 129"/>
                <a:gd name="T102" fmla="*/ 84 w 130"/>
                <a:gd name="T103" fmla="*/ 3 h 129"/>
                <a:gd name="T104" fmla="*/ 78 w 130"/>
                <a:gd name="T105" fmla="*/ 1 h 129"/>
                <a:gd name="T106" fmla="*/ 71 w 130"/>
                <a:gd name="T107" fmla="*/ 0 h 129"/>
                <a:gd name="T108" fmla="*/ 65 w 130"/>
                <a:gd name="T109" fmla="*/ 0 h 129"/>
                <a:gd name="T110" fmla="*/ 65 w 130"/>
                <a:gd name="T11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29">
                  <a:moveTo>
                    <a:pt x="65" y="0"/>
                  </a:moveTo>
                  <a:lnTo>
                    <a:pt x="65" y="0"/>
                  </a:lnTo>
                  <a:lnTo>
                    <a:pt x="58" y="0"/>
                  </a:lnTo>
                  <a:lnTo>
                    <a:pt x="52" y="1"/>
                  </a:lnTo>
                  <a:lnTo>
                    <a:pt x="46" y="3"/>
                  </a:lnTo>
                  <a:lnTo>
                    <a:pt x="40" y="5"/>
                  </a:lnTo>
                  <a:lnTo>
                    <a:pt x="34" y="8"/>
                  </a:lnTo>
                  <a:lnTo>
                    <a:pt x="29" y="11"/>
                  </a:lnTo>
                  <a:lnTo>
                    <a:pt x="19" y="19"/>
                  </a:lnTo>
                  <a:lnTo>
                    <a:pt x="11" y="28"/>
                  </a:lnTo>
                  <a:lnTo>
                    <a:pt x="5" y="40"/>
                  </a:lnTo>
                  <a:lnTo>
                    <a:pt x="3" y="46"/>
                  </a:lnTo>
                  <a:lnTo>
                    <a:pt x="1" y="52"/>
                  </a:lnTo>
                  <a:lnTo>
                    <a:pt x="1" y="58"/>
                  </a:lnTo>
                  <a:lnTo>
                    <a:pt x="0" y="65"/>
                  </a:lnTo>
                  <a:lnTo>
                    <a:pt x="0" y="65"/>
                  </a:lnTo>
                  <a:lnTo>
                    <a:pt x="1" y="71"/>
                  </a:lnTo>
                  <a:lnTo>
                    <a:pt x="1" y="77"/>
                  </a:lnTo>
                  <a:lnTo>
                    <a:pt x="3" y="83"/>
                  </a:lnTo>
                  <a:lnTo>
                    <a:pt x="5" y="90"/>
                  </a:lnTo>
                  <a:lnTo>
                    <a:pt x="11" y="101"/>
                  </a:lnTo>
                  <a:lnTo>
                    <a:pt x="19" y="110"/>
                  </a:lnTo>
                  <a:lnTo>
                    <a:pt x="29" y="118"/>
                  </a:lnTo>
                  <a:lnTo>
                    <a:pt x="34" y="121"/>
                  </a:lnTo>
                  <a:lnTo>
                    <a:pt x="40" y="124"/>
                  </a:lnTo>
                  <a:lnTo>
                    <a:pt x="46" y="126"/>
                  </a:lnTo>
                  <a:lnTo>
                    <a:pt x="52" y="128"/>
                  </a:lnTo>
                  <a:lnTo>
                    <a:pt x="58" y="129"/>
                  </a:lnTo>
                  <a:lnTo>
                    <a:pt x="65" y="129"/>
                  </a:lnTo>
                  <a:lnTo>
                    <a:pt x="65" y="129"/>
                  </a:lnTo>
                  <a:lnTo>
                    <a:pt x="71" y="129"/>
                  </a:lnTo>
                  <a:lnTo>
                    <a:pt x="78" y="128"/>
                  </a:lnTo>
                  <a:lnTo>
                    <a:pt x="84" y="126"/>
                  </a:lnTo>
                  <a:lnTo>
                    <a:pt x="90" y="124"/>
                  </a:lnTo>
                  <a:lnTo>
                    <a:pt x="101" y="118"/>
                  </a:lnTo>
                  <a:lnTo>
                    <a:pt x="110" y="110"/>
                  </a:lnTo>
                  <a:lnTo>
                    <a:pt x="118" y="101"/>
                  </a:lnTo>
                  <a:lnTo>
                    <a:pt x="125" y="90"/>
                  </a:lnTo>
                  <a:lnTo>
                    <a:pt x="127" y="83"/>
                  </a:lnTo>
                  <a:lnTo>
                    <a:pt x="129" y="77"/>
                  </a:lnTo>
                  <a:lnTo>
                    <a:pt x="130" y="71"/>
                  </a:lnTo>
                  <a:lnTo>
                    <a:pt x="130" y="65"/>
                  </a:lnTo>
                  <a:lnTo>
                    <a:pt x="130" y="65"/>
                  </a:lnTo>
                  <a:lnTo>
                    <a:pt x="130" y="58"/>
                  </a:lnTo>
                  <a:lnTo>
                    <a:pt x="129" y="52"/>
                  </a:lnTo>
                  <a:lnTo>
                    <a:pt x="127" y="46"/>
                  </a:lnTo>
                  <a:lnTo>
                    <a:pt x="125" y="40"/>
                  </a:lnTo>
                  <a:lnTo>
                    <a:pt x="118" y="28"/>
                  </a:lnTo>
                  <a:lnTo>
                    <a:pt x="110" y="19"/>
                  </a:lnTo>
                  <a:lnTo>
                    <a:pt x="101" y="11"/>
                  </a:lnTo>
                  <a:lnTo>
                    <a:pt x="90" y="5"/>
                  </a:lnTo>
                  <a:lnTo>
                    <a:pt x="84" y="3"/>
                  </a:lnTo>
                  <a:lnTo>
                    <a:pt x="78" y="1"/>
                  </a:lnTo>
                  <a:lnTo>
                    <a:pt x="71"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33" name="Freeform 229"/>
            <p:cNvSpPr>
              <a:spLocks/>
            </p:cNvSpPr>
            <p:nvPr/>
          </p:nvSpPr>
          <p:spPr bwMode="auto">
            <a:xfrm>
              <a:off x="3407961" y="2066275"/>
              <a:ext cx="20203" cy="20199"/>
            </a:xfrm>
            <a:custGeom>
              <a:avLst/>
              <a:gdLst>
                <a:gd name="T0" fmla="*/ 65 w 129"/>
                <a:gd name="T1" fmla="*/ 0 h 129"/>
                <a:gd name="T2" fmla="*/ 65 w 129"/>
                <a:gd name="T3" fmla="*/ 0 h 129"/>
                <a:gd name="T4" fmla="*/ 58 w 129"/>
                <a:gd name="T5" fmla="*/ 0 h 129"/>
                <a:gd name="T6" fmla="*/ 52 w 129"/>
                <a:gd name="T7" fmla="*/ 1 h 129"/>
                <a:gd name="T8" fmla="*/ 45 w 129"/>
                <a:gd name="T9" fmla="*/ 3 h 129"/>
                <a:gd name="T10" fmla="*/ 39 w 129"/>
                <a:gd name="T11" fmla="*/ 5 h 129"/>
                <a:gd name="T12" fmla="*/ 28 w 129"/>
                <a:gd name="T13" fmla="*/ 11 h 129"/>
                <a:gd name="T14" fmla="*/ 19 w 129"/>
                <a:gd name="T15" fmla="*/ 19 h 129"/>
                <a:gd name="T16" fmla="*/ 11 w 129"/>
                <a:gd name="T17" fmla="*/ 28 h 129"/>
                <a:gd name="T18" fmla="*/ 5 w 129"/>
                <a:gd name="T19" fmla="*/ 40 h 129"/>
                <a:gd name="T20" fmla="*/ 3 w 129"/>
                <a:gd name="T21" fmla="*/ 46 h 129"/>
                <a:gd name="T22" fmla="*/ 1 w 129"/>
                <a:gd name="T23" fmla="*/ 52 h 129"/>
                <a:gd name="T24" fmla="*/ 1 w 129"/>
                <a:gd name="T25" fmla="*/ 58 h 129"/>
                <a:gd name="T26" fmla="*/ 0 w 129"/>
                <a:gd name="T27" fmla="*/ 65 h 129"/>
                <a:gd name="T28" fmla="*/ 0 w 129"/>
                <a:gd name="T29" fmla="*/ 65 h 129"/>
                <a:gd name="T30" fmla="*/ 1 w 129"/>
                <a:gd name="T31" fmla="*/ 71 h 129"/>
                <a:gd name="T32" fmla="*/ 1 w 129"/>
                <a:gd name="T33" fmla="*/ 77 h 129"/>
                <a:gd name="T34" fmla="*/ 3 w 129"/>
                <a:gd name="T35" fmla="*/ 83 h 129"/>
                <a:gd name="T36" fmla="*/ 5 w 129"/>
                <a:gd name="T37" fmla="*/ 90 h 129"/>
                <a:gd name="T38" fmla="*/ 11 w 129"/>
                <a:gd name="T39" fmla="*/ 101 h 129"/>
                <a:gd name="T40" fmla="*/ 19 w 129"/>
                <a:gd name="T41" fmla="*/ 110 h 129"/>
                <a:gd name="T42" fmla="*/ 28 w 129"/>
                <a:gd name="T43" fmla="*/ 118 h 129"/>
                <a:gd name="T44" fmla="*/ 39 w 129"/>
                <a:gd name="T45" fmla="*/ 124 h 129"/>
                <a:gd name="T46" fmla="*/ 45 w 129"/>
                <a:gd name="T47" fmla="*/ 126 h 129"/>
                <a:gd name="T48" fmla="*/ 52 w 129"/>
                <a:gd name="T49" fmla="*/ 128 h 129"/>
                <a:gd name="T50" fmla="*/ 58 w 129"/>
                <a:gd name="T51" fmla="*/ 129 h 129"/>
                <a:gd name="T52" fmla="*/ 65 w 129"/>
                <a:gd name="T53" fmla="*/ 129 h 129"/>
                <a:gd name="T54" fmla="*/ 65 w 129"/>
                <a:gd name="T55" fmla="*/ 129 h 129"/>
                <a:gd name="T56" fmla="*/ 71 w 129"/>
                <a:gd name="T57" fmla="*/ 129 h 129"/>
                <a:gd name="T58" fmla="*/ 77 w 129"/>
                <a:gd name="T59" fmla="*/ 128 h 129"/>
                <a:gd name="T60" fmla="*/ 83 w 129"/>
                <a:gd name="T61" fmla="*/ 126 h 129"/>
                <a:gd name="T62" fmla="*/ 89 w 129"/>
                <a:gd name="T63" fmla="*/ 124 h 129"/>
                <a:gd name="T64" fmla="*/ 101 w 129"/>
                <a:gd name="T65" fmla="*/ 118 h 129"/>
                <a:gd name="T66" fmla="*/ 110 w 129"/>
                <a:gd name="T67" fmla="*/ 110 h 129"/>
                <a:gd name="T68" fmla="*/ 118 w 129"/>
                <a:gd name="T69" fmla="*/ 101 h 129"/>
                <a:gd name="T70" fmla="*/ 124 w 129"/>
                <a:gd name="T71" fmla="*/ 90 h 129"/>
                <a:gd name="T72" fmla="*/ 126 w 129"/>
                <a:gd name="T73" fmla="*/ 83 h 129"/>
                <a:gd name="T74" fmla="*/ 128 w 129"/>
                <a:gd name="T75" fmla="*/ 77 h 129"/>
                <a:gd name="T76" fmla="*/ 129 w 129"/>
                <a:gd name="T77" fmla="*/ 71 h 129"/>
                <a:gd name="T78" fmla="*/ 129 w 129"/>
                <a:gd name="T79" fmla="*/ 65 h 129"/>
                <a:gd name="T80" fmla="*/ 129 w 129"/>
                <a:gd name="T81" fmla="*/ 65 h 129"/>
                <a:gd name="T82" fmla="*/ 129 w 129"/>
                <a:gd name="T83" fmla="*/ 58 h 129"/>
                <a:gd name="T84" fmla="*/ 128 w 129"/>
                <a:gd name="T85" fmla="*/ 52 h 129"/>
                <a:gd name="T86" fmla="*/ 126 w 129"/>
                <a:gd name="T87" fmla="*/ 46 h 129"/>
                <a:gd name="T88" fmla="*/ 124 w 129"/>
                <a:gd name="T89" fmla="*/ 40 h 129"/>
                <a:gd name="T90" fmla="*/ 118 w 129"/>
                <a:gd name="T91" fmla="*/ 28 h 129"/>
                <a:gd name="T92" fmla="*/ 110 w 129"/>
                <a:gd name="T93" fmla="*/ 19 h 129"/>
                <a:gd name="T94" fmla="*/ 101 w 129"/>
                <a:gd name="T95" fmla="*/ 11 h 129"/>
                <a:gd name="T96" fmla="*/ 95 w 129"/>
                <a:gd name="T97" fmla="*/ 8 h 129"/>
                <a:gd name="T98" fmla="*/ 89 w 129"/>
                <a:gd name="T99" fmla="*/ 5 h 129"/>
                <a:gd name="T100" fmla="*/ 83 w 129"/>
                <a:gd name="T101" fmla="*/ 3 h 129"/>
                <a:gd name="T102" fmla="*/ 77 w 129"/>
                <a:gd name="T103" fmla="*/ 1 h 129"/>
                <a:gd name="T104" fmla="*/ 71 w 129"/>
                <a:gd name="T105" fmla="*/ 0 h 129"/>
                <a:gd name="T106" fmla="*/ 65 w 129"/>
                <a:gd name="T107" fmla="*/ 0 h 129"/>
                <a:gd name="T108" fmla="*/ 65 w 129"/>
                <a:gd name="T10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 h="129">
                  <a:moveTo>
                    <a:pt x="65" y="0"/>
                  </a:moveTo>
                  <a:lnTo>
                    <a:pt x="65" y="0"/>
                  </a:lnTo>
                  <a:lnTo>
                    <a:pt x="58" y="0"/>
                  </a:lnTo>
                  <a:lnTo>
                    <a:pt x="52" y="1"/>
                  </a:lnTo>
                  <a:lnTo>
                    <a:pt x="45" y="3"/>
                  </a:lnTo>
                  <a:lnTo>
                    <a:pt x="39" y="5"/>
                  </a:lnTo>
                  <a:lnTo>
                    <a:pt x="28" y="11"/>
                  </a:lnTo>
                  <a:lnTo>
                    <a:pt x="19" y="19"/>
                  </a:lnTo>
                  <a:lnTo>
                    <a:pt x="11" y="28"/>
                  </a:lnTo>
                  <a:lnTo>
                    <a:pt x="5" y="40"/>
                  </a:lnTo>
                  <a:lnTo>
                    <a:pt x="3" y="46"/>
                  </a:lnTo>
                  <a:lnTo>
                    <a:pt x="1" y="52"/>
                  </a:lnTo>
                  <a:lnTo>
                    <a:pt x="1" y="58"/>
                  </a:lnTo>
                  <a:lnTo>
                    <a:pt x="0" y="65"/>
                  </a:lnTo>
                  <a:lnTo>
                    <a:pt x="0" y="65"/>
                  </a:lnTo>
                  <a:lnTo>
                    <a:pt x="1" y="71"/>
                  </a:lnTo>
                  <a:lnTo>
                    <a:pt x="1" y="77"/>
                  </a:lnTo>
                  <a:lnTo>
                    <a:pt x="3" y="83"/>
                  </a:lnTo>
                  <a:lnTo>
                    <a:pt x="5" y="90"/>
                  </a:lnTo>
                  <a:lnTo>
                    <a:pt x="11" y="101"/>
                  </a:lnTo>
                  <a:lnTo>
                    <a:pt x="19" y="110"/>
                  </a:lnTo>
                  <a:lnTo>
                    <a:pt x="28" y="118"/>
                  </a:lnTo>
                  <a:lnTo>
                    <a:pt x="39" y="124"/>
                  </a:lnTo>
                  <a:lnTo>
                    <a:pt x="45" y="126"/>
                  </a:lnTo>
                  <a:lnTo>
                    <a:pt x="52" y="128"/>
                  </a:lnTo>
                  <a:lnTo>
                    <a:pt x="58" y="129"/>
                  </a:lnTo>
                  <a:lnTo>
                    <a:pt x="65" y="129"/>
                  </a:lnTo>
                  <a:lnTo>
                    <a:pt x="65" y="129"/>
                  </a:lnTo>
                  <a:lnTo>
                    <a:pt x="71" y="129"/>
                  </a:lnTo>
                  <a:lnTo>
                    <a:pt x="77" y="128"/>
                  </a:lnTo>
                  <a:lnTo>
                    <a:pt x="83" y="126"/>
                  </a:lnTo>
                  <a:lnTo>
                    <a:pt x="89" y="124"/>
                  </a:lnTo>
                  <a:lnTo>
                    <a:pt x="101" y="118"/>
                  </a:lnTo>
                  <a:lnTo>
                    <a:pt x="110" y="110"/>
                  </a:lnTo>
                  <a:lnTo>
                    <a:pt x="118" y="101"/>
                  </a:lnTo>
                  <a:lnTo>
                    <a:pt x="124" y="90"/>
                  </a:lnTo>
                  <a:lnTo>
                    <a:pt x="126" y="83"/>
                  </a:lnTo>
                  <a:lnTo>
                    <a:pt x="128" y="77"/>
                  </a:lnTo>
                  <a:lnTo>
                    <a:pt x="129" y="71"/>
                  </a:lnTo>
                  <a:lnTo>
                    <a:pt x="129" y="65"/>
                  </a:lnTo>
                  <a:lnTo>
                    <a:pt x="129" y="65"/>
                  </a:lnTo>
                  <a:lnTo>
                    <a:pt x="129" y="58"/>
                  </a:lnTo>
                  <a:lnTo>
                    <a:pt x="128" y="52"/>
                  </a:lnTo>
                  <a:lnTo>
                    <a:pt x="126" y="46"/>
                  </a:lnTo>
                  <a:lnTo>
                    <a:pt x="124" y="40"/>
                  </a:lnTo>
                  <a:lnTo>
                    <a:pt x="118" y="28"/>
                  </a:lnTo>
                  <a:lnTo>
                    <a:pt x="110" y="19"/>
                  </a:lnTo>
                  <a:lnTo>
                    <a:pt x="101" y="11"/>
                  </a:lnTo>
                  <a:lnTo>
                    <a:pt x="95" y="8"/>
                  </a:lnTo>
                  <a:lnTo>
                    <a:pt x="89" y="5"/>
                  </a:lnTo>
                  <a:lnTo>
                    <a:pt x="83" y="3"/>
                  </a:lnTo>
                  <a:lnTo>
                    <a:pt x="77" y="1"/>
                  </a:lnTo>
                  <a:lnTo>
                    <a:pt x="71"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34" name="Freeform 230"/>
            <p:cNvSpPr>
              <a:spLocks/>
            </p:cNvSpPr>
            <p:nvPr/>
          </p:nvSpPr>
          <p:spPr bwMode="auto">
            <a:xfrm>
              <a:off x="3445000" y="2066275"/>
              <a:ext cx="20203" cy="20199"/>
            </a:xfrm>
            <a:custGeom>
              <a:avLst/>
              <a:gdLst>
                <a:gd name="T0" fmla="*/ 65 w 130"/>
                <a:gd name="T1" fmla="*/ 0 h 129"/>
                <a:gd name="T2" fmla="*/ 65 w 130"/>
                <a:gd name="T3" fmla="*/ 0 h 129"/>
                <a:gd name="T4" fmla="*/ 58 w 130"/>
                <a:gd name="T5" fmla="*/ 0 h 129"/>
                <a:gd name="T6" fmla="*/ 52 w 130"/>
                <a:gd name="T7" fmla="*/ 1 h 129"/>
                <a:gd name="T8" fmla="*/ 46 w 130"/>
                <a:gd name="T9" fmla="*/ 3 h 129"/>
                <a:gd name="T10" fmla="*/ 40 w 130"/>
                <a:gd name="T11" fmla="*/ 5 h 129"/>
                <a:gd name="T12" fmla="*/ 34 w 130"/>
                <a:gd name="T13" fmla="*/ 8 h 129"/>
                <a:gd name="T14" fmla="*/ 29 w 130"/>
                <a:gd name="T15" fmla="*/ 11 h 129"/>
                <a:gd name="T16" fmla="*/ 19 w 130"/>
                <a:gd name="T17" fmla="*/ 19 h 129"/>
                <a:gd name="T18" fmla="*/ 11 w 130"/>
                <a:gd name="T19" fmla="*/ 28 h 129"/>
                <a:gd name="T20" fmla="*/ 5 w 130"/>
                <a:gd name="T21" fmla="*/ 40 h 129"/>
                <a:gd name="T22" fmla="*/ 3 w 130"/>
                <a:gd name="T23" fmla="*/ 46 h 129"/>
                <a:gd name="T24" fmla="*/ 1 w 130"/>
                <a:gd name="T25" fmla="*/ 52 h 129"/>
                <a:gd name="T26" fmla="*/ 1 w 130"/>
                <a:gd name="T27" fmla="*/ 58 h 129"/>
                <a:gd name="T28" fmla="*/ 0 w 130"/>
                <a:gd name="T29" fmla="*/ 65 h 129"/>
                <a:gd name="T30" fmla="*/ 0 w 130"/>
                <a:gd name="T31" fmla="*/ 65 h 129"/>
                <a:gd name="T32" fmla="*/ 1 w 130"/>
                <a:gd name="T33" fmla="*/ 71 h 129"/>
                <a:gd name="T34" fmla="*/ 1 w 130"/>
                <a:gd name="T35" fmla="*/ 77 h 129"/>
                <a:gd name="T36" fmla="*/ 3 w 130"/>
                <a:gd name="T37" fmla="*/ 83 h 129"/>
                <a:gd name="T38" fmla="*/ 5 w 130"/>
                <a:gd name="T39" fmla="*/ 90 h 129"/>
                <a:gd name="T40" fmla="*/ 8 w 130"/>
                <a:gd name="T41" fmla="*/ 96 h 129"/>
                <a:gd name="T42" fmla="*/ 11 w 130"/>
                <a:gd name="T43" fmla="*/ 101 h 129"/>
                <a:gd name="T44" fmla="*/ 19 w 130"/>
                <a:gd name="T45" fmla="*/ 110 h 129"/>
                <a:gd name="T46" fmla="*/ 29 w 130"/>
                <a:gd name="T47" fmla="*/ 118 h 129"/>
                <a:gd name="T48" fmla="*/ 34 w 130"/>
                <a:gd name="T49" fmla="*/ 121 h 129"/>
                <a:gd name="T50" fmla="*/ 40 w 130"/>
                <a:gd name="T51" fmla="*/ 124 h 129"/>
                <a:gd name="T52" fmla="*/ 46 w 130"/>
                <a:gd name="T53" fmla="*/ 126 h 129"/>
                <a:gd name="T54" fmla="*/ 52 w 130"/>
                <a:gd name="T55" fmla="*/ 128 h 129"/>
                <a:gd name="T56" fmla="*/ 58 w 130"/>
                <a:gd name="T57" fmla="*/ 129 h 129"/>
                <a:gd name="T58" fmla="*/ 65 w 130"/>
                <a:gd name="T59" fmla="*/ 129 h 129"/>
                <a:gd name="T60" fmla="*/ 65 w 130"/>
                <a:gd name="T61" fmla="*/ 129 h 129"/>
                <a:gd name="T62" fmla="*/ 72 w 130"/>
                <a:gd name="T63" fmla="*/ 129 h 129"/>
                <a:gd name="T64" fmla="*/ 78 w 130"/>
                <a:gd name="T65" fmla="*/ 128 h 129"/>
                <a:gd name="T66" fmla="*/ 85 w 130"/>
                <a:gd name="T67" fmla="*/ 126 h 129"/>
                <a:gd name="T68" fmla="*/ 90 w 130"/>
                <a:gd name="T69" fmla="*/ 124 h 129"/>
                <a:gd name="T70" fmla="*/ 101 w 130"/>
                <a:gd name="T71" fmla="*/ 118 h 129"/>
                <a:gd name="T72" fmla="*/ 110 w 130"/>
                <a:gd name="T73" fmla="*/ 110 h 129"/>
                <a:gd name="T74" fmla="*/ 118 w 130"/>
                <a:gd name="T75" fmla="*/ 101 h 129"/>
                <a:gd name="T76" fmla="*/ 125 w 130"/>
                <a:gd name="T77" fmla="*/ 90 h 129"/>
                <a:gd name="T78" fmla="*/ 127 w 130"/>
                <a:gd name="T79" fmla="*/ 83 h 129"/>
                <a:gd name="T80" fmla="*/ 129 w 130"/>
                <a:gd name="T81" fmla="*/ 77 h 129"/>
                <a:gd name="T82" fmla="*/ 130 w 130"/>
                <a:gd name="T83" fmla="*/ 71 h 129"/>
                <a:gd name="T84" fmla="*/ 130 w 130"/>
                <a:gd name="T85" fmla="*/ 65 h 129"/>
                <a:gd name="T86" fmla="*/ 130 w 130"/>
                <a:gd name="T87" fmla="*/ 65 h 129"/>
                <a:gd name="T88" fmla="*/ 130 w 130"/>
                <a:gd name="T89" fmla="*/ 58 h 129"/>
                <a:gd name="T90" fmla="*/ 129 w 130"/>
                <a:gd name="T91" fmla="*/ 52 h 129"/>
                <a:gd name="T92" fmla="*/ 127 w 130"/>
                <a:gd name="T93" fmla="*/ 46 h 129"/>
                <a:gd name="T94" fmla="*/ 125 w 130"/>
                <a:gd name="T95" fmla="*/ 40 h 129"/>
                <a:gd name="T96" fmla="*/ 118 w 130"/>
                <a:gd name="T97" fmla="*/ 28 h 129"/>
                <a:gd name="T98" fmla="*/ 110 w 130"/>
                <a:gd name="T99" fmla="*/ 19 h 129"/>
                <a:gd name="T100" fmla="*/ 101 w 130"/>
                <a:gd name="T101" fmla="*/ 11 h 129"/>
                <a:gd name="T102" fmla="*/ 90 w 130"/>
                <a:gd name="T103" fmla="*/ 5 h 129"/>
                <a:gd name="T104" fmla="*/ 85 w 130"/>
                <a:gd name="T105" fmla="*/ 3 h 129"/>
                <a:gd name="T106" fmla="*/ 78 w 130"/>
                <a:gd name="T107" fmla="*/ 1 h 129"/>
                <a:gd name="T108" fmla="*/ 72 w 130"/>
                <a:gd name="T109" fmla="*/ 0 h 129"/>
                <a:gd name="T110" fmla="*/ 65 w 130"/>
                <a:gd name="T111" fmla="*/ 0 h 129"/>
                <a:gd name="T112" fmla="*/ 65 w 130"/>
                <a:gd name="T11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29">
                  <a:moveTo>
                    <a:pt x="65" y="0"/>
                  </a:moveTo>
                  <a:lnTo>
                    <a:pt x="65" y="0"/>
                  </a:lnTo>
                  <a:lnTo>
                    <a:pt x="58" y="0"/>
                  </a:lnTo>
                  <a:lnTo>
                    <a:pt x="52" y="1"/>
                  </a:lnTo>
                  <a:lnTo>
                    <a:pt x="46" y="3"/>
                  </a:lnTo>
                  <a:lnTo>
                    <a:pt x="40" y="5"/>
                  </a:lnTo>
                  <a:lnTo>
                    <a:pt x="34" y="8"/>
                  </a:lnTo>
                  <a:lnTo>
                    <a:pt x="29" y="11"/>
                  </a:lnTo>
                  <a:lnTo>
                    <a:pt x="19" y="19"/>
                  </a:lnTo>
                  <a:lnTo>
                    <a:pt x="11" y="28"/>
                  </a:lnTo>
                  <a:lnTo>
                    <a:pt x="5" y="40"/>
                  </a:lnTo>
                  <a:lnTo>
                    <a:pt x="3" y="46"/>
                  </a:lnTo>
                  <a:lnTo>
                    <a:pt x="1" y="52"/>
                  </a:lnTo>
                  <a:lnTo>
                    <a:pt x="1" y="58"/>
                  </a:lnTo>
                  <a:lnTo>
                    <a:pt x="0" y="65"/>
                  </a:lnTo>
                  <a:lnTo>
                    <a:pt x="0" y="65"/>
                  </a:lnTo>
                  <a:lnTo>
                    <a:pt x="1" y="71"/>
                  </a:lnTo>
                  <a:lnTo>
                    <a:pt x="1" y="77"/>
                  </a:lnTo>
                  <a:lnTo>
                    <a:pt x="3" y="83"/>
                  </a:lnTo>
                  <a:lnTo>
                    <a:pt x="5" y="90"/>
                  </a:lnTo>
                  <a:lnTo>
                    <a:pt x="8" y="96"/>
                  </a:lnTo>
                  <a:lnTo>
                    <a:pt x="11" y="101"/>
                  </a:lnTo>
                  <a:lnTo>
                    <a:pt x="19" y="110"/>
                  </a:lnTo>
                  <a:lnTo>
                    <a:pt x="29" y="118"/>
                  </a:lnTo>
                  <a:lnTo>
                    <a:pt x="34" y="121"/>
                  </a:lnTo>
                  <a:lnTo>
                    <a:pt x="40" y="124"/>
                  </a:lnTo>
                  <a:lnTo>
                    <a:pt x="46" y="126"/>
                  </a:lnTo>
                  <a:lnTo>
                    <a:pt x="52" y="128"/>
                  </a:lnTo>
                  <a:lnTo>
                    <a:pt x="58" y="129"/>
                  </a:lnTo>
                  <a:lnTo>
                    <a:pt x="65" y="129"/>
                  </a:lnTo>
                  <a:lnTo>
                    <a:pt x="65" y="129"/>
                  </a:lnTo>
                  <a:lnTo>
                    <a:pt x="72" y="129"/>
                  </a:lnTo>
                  <a:lnTo>
                    <a:pt x="78" y="128"/>
                  </a:lnTo>
                  <a:lnTo>
                    <a:pt x="85" y="126"/>
                  </a:lnTo>
                  <a:lnTo>
                    <a:pt x="90" y="124"/>
                  </a:lnTo>
                  <a:lnTo>
                    <a:pt x="101" y="118"/>
                  </a:lnTo>
                  <a:lnTo>
                    <a:pt x="110" y="110"/>
                  </a:lnTo>
                  <a:lnTo>
                    <a:pt x="118" y="101"/>
                  </a:lnTo>
                  <a:lnTo>
                    <a:pt x="125" y="90"/>
                  </a:lnTo>
                  <a:lnTo>
                    <a:pt x="127" y="83"/>
                  </a:lnTo>
                  <a:lnTo>
                    <a:pt x="129" y="77"/>
                  </a:lnTo>
                  <a:lnTo>
                    <a:pt x="130" y="71"/>
                  </a:lnTo>
                  <a:lnTo>
                    <a:pt x="130" y="65"/>
                  </a:lnTo>
                  <a:lnTo>
                    <a:pt x="130" y="65"/>
                  </a:lnTo>
                  <a:lnTo>
                    <a:pt x="130" y="58"/>
                  </a:lnTo>
                  <a:lnTo>
                    <a:pt x="129" y="52"/>
                  </a:lnTo>
                  <a:lnTo>
                    <a:pt x="127" y="46"/>
                  </a:lnTo>
                  <a:lnTo>
                    <a:pt x="125" y="40"/>
                  </a:lnTo>
                  <a:lnTo>
                    <a:pt x="118" y="28"/>
                  </a:lnTo>
                  <a:lnTo>
                    <a:pt x="110" y="19"/>
                  </a:lnTo>
                  <a:lnTo>
                    <a:pt x="101" y="11"/>
                  </a:lnTo>
                  <a:lnTo>
                    <a:pt x="90" y="5"/>
                  </a:lnTo>
                  <a:lnTo>
                    <a:pt x="85" y="3"/>
                  </a:lnTo>
                  <a:lnTo>
                    <a:pt x="78" y="1"/>
                  </a:lnTo>
                  <a:lnTo>
                    <a:pt x="72"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35" name="Freeform 231"/>
            <p:cNvSpPr>
              <a:spLocks/>
            </p:cNvSpPr>
            <p:nvPr/>
          </p:nvSpPr>
          <p:spPr bwMode="auto">
            <a:xfrm>
              <a:off x="3538159" y="1973140"/>
              <a:ext cx="20203" cy="20199"/>
            </a:xfrm>
            <a:custGeom>
              <a:avLst/>
              <a:gdLst>
                <a:gd name="T0" fmla="*/ 65 w 130"/>
                <a:gd name="T1" fmla="*/ 129 h 129"/>
                <a:gd name="T2" fmla="*/ 65 w 130"/>
                <a:gd name="T3" fmla="*/ 129 h 129"/>
                <a:gd name="T4" fmla="*/ 72 w 130"/>
                <a:gd name="T5" fmla="*/ 129 h 129"/>
                <a:gd name="T6" fmla="*/ 78 w 130"/>
                <a:gd name="T7" fmla="*/ 128 h 129"/>
                <a:gd name="T8" fmla="*/ 84 w 130"/>
                <a:gd name="T9" fmla="*/ 126 h 129"/>
                <a:gd name="T10" fmla="*/ 90 w 130"/>
                <a:gd name="T11" fmla="*/ 124 h 129"/>
                <a:gd name="T12" fmla="*/ 101 w 130"/>
                <a:gd name="T13" fmla="*/ 118 h 129"/>
                <a:gd name="T14" fmla="*/ 110 w 130"/>
                <a:gd name="T15" fmla="*/ 111 h 129"/>
                <a:gd name="T16" fmla="*/ 119 w 130"/>
                <a:gd name="T17" fmla="*/ 100 h 129"/>
                <a:gd name="T18" fmla="*/ 122 w 130"/>
                <a:gd name="T19" fmla="*/ 95 h 129"/>
                <a:gd name="T20" fmla="*/ 125 w 130"/>
                <a:gd name="T21" fmla="*/ 90 h 129"/>
                <a:gd name="T22" fmla="*/ 127 w 130"/>
                <a:gd name="T23" fmla="*/ 84 h 129"/>
                <a:gd name="T24" fmla="*/ 128 w 130"/>
                <a:gd name="T25" fmla="*/ 78 h 129"/>
                <a:gd name="T26" fmla="*/ 129 w 130"/>
                <a:gd name="T27" fmla="*/ 71 h 129"/>
                <a:gd name="T28" fmla="*/ 130 w 130"/>
                <a:gd name="T29" fmla="*/ 65 h 129"/>
                <a:gd name="T30" fmla="*/ 130 w 130"/>
                <a:gd name="T31" fmla="*/ 65 h 129"/>
                <a:gd name="T32" fmla="*/ 129 w 130"/>
                <a:gd name="T33" fmla="*/ 58 h 129"/>
                <a:gd name="T34" fmla="*/ 128 w 130"/>
                <a:gd name="T35" fmla="*/ 51 h 129"/>
                <a:gd name="T36" fmla="*/ 127 w 130"/>
                <a:gd name="T37" fmla="*/ 45 h 129"/>
                <a:gd name="T38" fmla="*/ 125 w 130"/>
                <a:gd name="T39" fmla="*/ 39 h 129"/>
                <a:gd name="T40" fmla="*/ 119 w 130"/>
                <a:gd name="T41" fmla="*/ 28 h 129"/>
                <a:gd name="T42" fmla="*/ 110 w 130"/>
                <a:gd name="T43" fmla="*/ 19 h 129"/>
                <a:gd name="T44" fmla="*/ 101 w 130"/>
                <a:gd name="T45" fmla="*/ 11 h 129"/>
                <a:gd name="T46" fmla="*/ 90 w 130"/>
                <a:gd name="T47" fmla="*/ 6 h 129"/>
                <a:gd name="T48" fmla="*/ 84 w 130"/>
                <a:gd name="T49" fmla="*/ 3 h 129"/>
                <a:gd name="T50" fmla="*/ 78 w 130"/>
                <a:gd name="T51" fmla="*/ 1 h 129"/>
                <a:gd name="T52" fmla="*/ 72 w 130"/>
                <a:gd name="T53" fmla="*/ 0 h 129"/>
                <a:gd name="T54" fmla="*/ 65 w 130"/>
                <a:gd name="T55" fmla="*/ 0 h 129"/>
                <a:gd name="T56" fmla="*/ 65 w 130"/>
                <a:gd name="T57" fmla="*/ 0 h 129"/>
                <a:gd name="T58" fmla="*/ 58 w 130"/>
                <a:gd name="T59" fmla="*/ 0 h 129"/>
                <a:gd name="T60" fmla="*/ 51 w 130"/>
                <a:gd name="T61" fmla="*/ 1 h 129"/>
                <a:gd name="T62" fmla="*/ 45 w 130"/>
                <a:gd name="T63" fmla="*/ 3 h 129"/>
                <a:gd name="T64" fmla="*/ 40 w 130"/>
                <a:gd name="T65" fmla="*/ 6 h 129"/>
                <a:gd name="T66" fmla="*/ 29 w 130"/>
                <a:gd name="T67" fmla="*/ 11 h 129"/>
                <a:gd name="T68" fmla="*/ 20 w 130"/>
                <a:gd name="T69" fmla="*/ 19 h 129"/>
                <a:gd name="T70" fmla="*/ 12 w 130"/>
                <a:gd name="T71" fmla="*/ 28 h 129"/>
                <a:gd name="T72" fmla="*/ 5 w 130"/>
                <a:gd name="T73" fmla="*/ 39 h 129"/>
                <a:gd name="T74" fmla="*/ 3 w 130"/>
                <a:gd name="T75" fmla="*/ 45 h 129"/>
                <a:gd name="T76" fmla="*/ 1 w 130"/>
                <a:gd name="T77" fmla="*/ 51 h 129"/>
                <a:gd name="T78" fmla="*/ 0 w 130"/>
                <a:gd name="T79" fmla="*/ 58 h 129"/>
                <a:gd name="T80" fmla="*/ 0 w 130"/>
                <a:gd name="T81" fmla="*/ 65 h 129"/>
                <a:gd name="T82" fmla="*/ 0 w 130"/>
                <a:gd name="T83" fmla="*/ 65 h 129"/>
                <a:gd name="T84" fmla="*/ 0 w 130"/>
                <a:gd name="T85" fmla="*/ 71 h 129"/>
                <a:gd name="T86" fmla="*/ 1 w 130"/>
                <a:gd name="T87" fmla="*/ 78 h 129"/>
                <a:gd name="T88" fmla="*/ 3 w 130"/>
                <a:gd name="T89" fmla="*/ 84 h 129"/>
                <a:gd name="T90" fmla="*/ 5 w 130"/>
                <a:gd name="T91" fmla="*/ 90 h 129"/>
                <a:gd name="T92" fmla="*/ 12 w 130"/>
                <a:gd name="T93" fmla="*/ 100 h 129"/>
                <a:gd name="T94" fmla="*/ 20 w 130"/>
                <a:gd name="T95" fmla="*/ 111 h 129"/>
                <a:gd name="T96" fmla="*/ 29 w 130"/>
                <a:gd name="T97" fmla="*/ 118 h 129"/>
                <a:gd name="T98" fmla="*/ 40 w 130"/>
                <a:gd name="T99" fmla="*/ 124 h 129"/>
                <a:gd name="T100" fmla="*/ 45 w 130"/>
                <a:gd name="T101" fmla="*/ 126 h 129"/>
                <a:gd name="T102" fmla="*/ 51 w 130"/>
                <a:gd name="T103" fmla="*/ 128 h 129"/>
                <a:gd name="T104" fmla="*/ 58 w 130"/>
                <a:gd name="T105" fmla="*/ 129 h 129"/>
                <a:gd name="T106" fmla="*/ 65 w 130"/>
                <a:gd name="T107" fmla="*/ 129 h 129"/>
                <a:gd name="T108" fmla="*/ 65 w 130"/>
                <a:gd name="T10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 h="129">
                  <a:moveTo>
                    <a:pt x="65" y="129"/>
                  </a:moveTo>
                  <a:lnTo>
                    <a:pt x="65" y="129"/>
                  </a:lnTo>
                  <a:lnTo>
                    <a:pt x="72" y="129"/>
                  </a:lnTo>
                  <a:lnTo>
                    <a:pt x="78" y="128"/>
                  </a:lnTo>
                  <a:lnTo>
                    <a:pt x="84" y="126"/>
                  </a:lnTo>
                  <a:lnTo>
                    <a:pt x="90" y="124"/>
                  </a:lnTo>
                  <a:lnTo>
                    <a:pt x="101" y="118"/>
                  </a:lnTo>
                  <a:lnTo>
                    <a:pt x="110" y="111"/>
                  </a:lnTo>
                  <a:lnTo>
                    <a:pt x="119" y="100"/>
                  </a:lnTo>
                  <a:lnTo>
                    <a:pt x="122" y="95"/>
                  </a:lnTo>
                  <a:lnTo>
                    <a:pt x="125" y="90"/>
                  </a:lnTo>
                  <a:lnTo>
                    <a:pt x="127" y="84"/>
                  </a:lnTo>
                  <a:lnTo>
                    <a:pt x="128" y="78"/>
                  </a:lnTo>
                  <a:lnTo>
                    <a:pt x="129" y="71"/>
                  </a:lnTo>
                  <a:lnTo>
                    <a:pt x="130" y="65"/>
                  </a:lnTo>
                  <a:lnTo>
                    <a:pt x="130" y="65"/>
                  </a:lnTo>
                  <a:lnTo>
                    <a:pt x="129" y="58"/>
                  </a:lnTo>
                  <a:lnTo>
                    <a:pt x="128" y="51"/>
                  </a:lnTo>
                  <a:lnTo>
                    <a:pt x="127" y="45"/>
                  </a:lnTo>
                  <a:lnTo>
                    <a:pt x="125" y="39"/>
                  </a:lnTo>
                  <a:lnTo>
                    <a:pt x="119" y="28"/>
                  </a:lnTo>
                  <a:lnTo>
                    <a:pt x="110" y="19"/>
                  </a:lnTo>
                  <a:lnTo>
                    <a:pt x="101" y="11"/>
                  </a:lnTo>
                  <a:lnTo>
                    <a:pt x="90" y="6"/>
                  </a:lnTo>
                  <a:lnTo>
                    <a:pt x="84" y="3"/>
                  </a:lnTo>
                  <a:lnTo>
                    <a:pt x="78" y="1"/>
                  </a:lnTo>
                  <a:lnTo>
                    <a:pt x="72" y="0"/>
                  </a:lnTo>
                  <a:lnTo>
                    <a:pt x="65" y="0"/>
                  </a:lnTo>
                  <a:lnTo>
                    <a:pt x="65" y="0"/>
                  </a:lnTo>
                  <a:lnTo>
                    <a:pt x="58" y="0"/>
                  </a:lnTo>
                  <a:lnTo>
                    <a:pt x="51" y="1"/>
                  </a:lnTo>
                  <a:lnTo>
                    <a:pt x="45" y="3"/>
                  </a:lnTo>
                  <a:lnTo>
                    <a:pt x="40" y="6"/>
                  </a:lnTo>
                  <a:lnTo>
                    <a:pt x="29" y="11"/>
                  </a:lnTo>
                  <a:lnTo>
                    <a:pt x="20" y="19"/>
                  </a:lnTo>
                  <a:lnTo>
                    <a:pt x="12" y="28"/>
                  </a:lnTo>
                  <a:lnTo>
                    <a:pt x="5" y="39"/>
                  </a:lnTo>
                  <a:lnTo>
                    <a:pt x="3" y="45"/>
                  </a:lnTo>
                  <a:lnTo>
                    <a:pt x="1" y="51"/>
                  </a:lnTo>
                  <a:lnTo>
                    <a:pt x="0" y="58"/>
                  </a:lnTo>
                  <a:lnTo>
                    <a:pt x="0" y="65"/>
                  </a:lnTo>
                  <a:lnTo>
                    <a:pt x="0" y="65"/>
                  </a:lnTo>
                  <a:lnTo>
                    <a:pt x="0" y="71"/>
                  </a:lnTo>
                  <a:lnTo>
                    <a:pt x="1" y="78"/>
                  </a:lnTo>
                  <a:lnTo>
                    <a:pt x="3" y="84"/>
                  </a:lnTo>
                  <a:lnTo>
                    <a:pt x="5" y="90"/>
                  </a:lnTo>
                  <a:lnTo>
                    <a:pt x="12" y="100"/>
                  </a:lnTo>
                  <a:lnTo>
                    <a:pt x="20" y="111"/>
                  </a:lnTo>
                  <a:lnTo>
                    <a:pt x="29" y="118"/>
                  </a:lnTo>
                  <a:lnTo>
                    <a:pt x="40" y="124"/>
                  </a:lnTo>
                  <a:lnTo>
                    <a:pt x="45" y="126"/>
                  </a:lnTo>
                  <a:lnTo>
                    <a:pt x="51" y="128"/>
                  </a:lnTo>
                  <a:lnTo>
                    <a:pt x="58" y="129"/>
                  </a:lnTo>
                  <a:lnTo>
                    <a:pt x="65" y="129"/>
                  </a:lnTo>
                  <a:lnTo>
                    <a:pt x="65" y="129"/>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36" name="Freeform 232"/>
            <p:cNvSpPr>
              <a:spLocks/>
            </p:cNvSpPr>
            <p:nvPr/>
          </p:nvSpPr>
          <p:spPr bwMode="auto">
            <a:xfrm>
              <a:off x="3538159" y="1936109"/>
              <a:ext cx="20203" cy="20199"/>
            </a:xfrm>
            <a:custGeom>
              <a:avLst/>
              <a:gdLst>
                <a:gd name="T0" fmla="*/ 65 w 130"/>
                <a:gd name="T1" fmla="*/ 128 h 128"/>
                <a:gd name="T2" fmla="*/ 65 w 130"/>
                <a:gd name="T3" fmla="*/ 128 h 128"/>
                <a:gd name="T4" fmla="*/ 72 w 130"/>
                <a:gd name="T5" fmla="*/ 128 h 128"/>
                <a:gd name="T6" fmla="*/ 78 w 130"/>
                <a:gd name="T7" fmla="*/ 127 h 128"/>
                <a:gd name="T8" fmla="*/ 84 w 130"/>
                <a:gd name="T9" fmla="*/ 125 h 128"/>
                <a:gd name="T10" fmla="*/ 90 w 130"/>
                <a:gd name="T11" fmla="*/ 123 h 128"/>
                <a:gd name="T12" fmla="*/ 95 w 130"/>
                <a:gd name="T13" fmla="*/ 121 h 128"/>
                <a:gd name="T14" fmla="*/ 101 w 130"/>
                <a:gd name="T15" fmla="*/ 117 h 128"/>
                <a:gd name="T16" fmla="*/ 110 w 130"/>
                <a:gd name="T17" fmla="*/ 110 h 128"/>
                <a:gd name="T18" fmla="*/ 119 w 130"/>
                <a:gd name="T19" fmla="*/ 100 h 128"/>
                <a:gd name="T20" fmla="*/ 125 w 130"/>
                <a:gd name="T21" fmla="*/ 90 h 128"/>
                <a:gd name="T22" fmla="*/ 127 w 130"/>
                <a:gd name="T23" fmla="*/ 84 h 128"/>
                <a:gd name="T24" fmla="*/ 128 w 130"/>
                <a:gd name="T25" fmla="*/ 77 h 128"/>
                <a:gd name="T26" fmla="*/ 129 w 130"/>
                <a:gd name="T27" fmla="*/ 70 h 128"/>
                <a:gd name="T28" fmla="*/ 130 w 130"/>
                <a:gd name="T29" fmla="*/ 64 h 128"/>
                <a:gd name="T30" fmla="*/ 130 w 130"/>
                <a:gd name="T31" fmla="*/ 64 h 128"/>
                <a:gd name="T32" fmla="*/ 129 w 130"/>
                <a:gd name="T33" fmla="*/ 57 h 128"/>
                <a:gd name="T34" fmla="*/ 128 w 130"/>
                <a:gd name="T35" fmla="*/ 51 h 128"/>
                <a:gd name="T36" fmla="*/ 127 w 130"/>
                <a:gd name="T37" fmla="*/ 45 h 128"/>
                <a:gd name="T38" fmla="*/ 125 w 130"/>
                <a:gd name="T39" fmla="*/ 39 h 128"/>
                <a:gd name="T40" fmla="*/ 122 w 130"/>
                <a:gd name="T41" fmla="*/ 34 h 128"/>
                <a:gd name="T42" fmla="*/ 119 w 130"/>
                <a:gd name="T43" fmla="*/ 27 h 128"/>
                <a:gd name="T44" fmla="*/ 110 w 130"/>
                <a:gd name="T45" fmla="*/ 18 h 128"/>
                <a:gd name="T46" fmla="*/ 101 w 130"/>
                <a:gd name="T47" fmla="*/ 10 h 128"/>
                <a:gd name="T48" fmla="*/ 90 w 130"/>
                <a:gd name="T49" fmla="*/ 5 h 128"/>
                <a:gd name="T50" fmla="*/ 84 w 130"/>
                <a:gd name="T51" fmla="*/ 2 h 128"/>
                <a:gd name="T52" fmla="*/ 78 w 130"/>
                <a:gd name="T53" fmla="*/ 1 h 128"/>
                <a:gd name="T54" fmla="*/ 72 w 130"/>
                <a:gd name="T55" fmla="*/ 0 h 128"/>
                <a:gd name="T56" fmla="*/ 65 w 130"/>
                <a:gd name="T57" fmla="*/ 0 h 128"/>
                <a:gd name="T58" fmla="*/ 65 w 130"/>
                <a:gd name="T59" fmla="*/ 0 h 128"/>
                <a:gd name="T60" fmla="*/ 58 w 130"/>
                <a:gd name="T61" fmla="*/ 0 h 128"/>
                <a:gd name="T62" fmla="*/ 51 w 130"/>
                <a:gd name="T63" fmla="*/ 1 h 128"/>
                <a:gd name="T64" fmla="*/ 45 w 130"/>
                <a:gd name="T65" fmla="*/ 2 h 128"/>
                <a:gd name="T66" fmla="*/ 40 w 130"/>
                <a:gd name="T67" fmla="*/ 5 h 128"/>
                <a:gd name="T68" fmla="*/ 29 w 130"/>
                <a:gd name="T69" fmla="*/ 10 h 128"/>
                <a:gd name="T70" fmla="*/ 20 w 130"/>
                <a:gd name="T71" fmla="*/ 18 h 128"/>
                <a:gd name="T72" fmla="*/ 12 w 130"/>
                <a:gd name="T73" fmla="*/ 27 h 128"/>
                <a:gd name="T74" fmla="*/ 5 w 130"/>
                <a:gd name="T75" fmla="*/ 39 h 128"/>
                <a:gd name="T76" fmla="*/ 3 w 130"/>
                <a:gd name="T77" fmla="*/ 45 h 128"/>
                <a:gd name="T78" fmla="*/ 1 w 130"/>
                <a:gd name="T79" fmla="*/ 51 h 128"/>
                <a:gd name="T80" fmla="*/ 0 w 130"/>
                <a:gd name="T81" fmla="*/ 57 h 128"/>
                <a:gd name="T82" fmla="*/ 0 w 130"/>
                <a:gd name="T83" fmla="*/ 64 h 128"/>
                <a:gd name="T84" fmla="*/ 0 w 130"/>
                <a:gd name="T85" fmla="*/ 64 h 128"/>
                <a:gd name="T86" fmla="*/ 0 w 130"/>
                <a:gd name="T87" fmla="*/ 70 h 128"/>
                <a:gd name="T88" fmla="*/ 1 w 130"/>
                <a:gd name="T89" fmla="*/ 77 h 128"/>
                <a:gd name="T90" fmla="*/ 3 w 130"/>
                <a:gd name="T91" fmla="*/ 84 h 128"/>
                <a:gd name="T92" fmla="*/ 5 w 130"/>
                <a:gd name="T93" fmla="*/ 90 h 128"/>
                <a:gd name="T94" fmla="*/ 12 w 130"/>
                <a:gd name="T95" fmla="*/ 100 h 128"/>
                <a:gd name="T96" fmla="*/ 20 w 130"/>
                <a:gd name="T97" fmla="*/ 110 h 128"/>
                <a:gd name="T98" fmla="*/ 29 w 130"/>
                <a:gd name="T99" fmla="*/ 117 h 128"/>
                <a:gd name="T100" fmla="*/ 40 w 130"/>
                <a:gd name="T101" fmla="*/ 123 h 128"/>
                <a:gd name="T102" fmla="*/ 45 w 130"/>
                <a:gd name="T103" fmla="*/ 125 h 128"/>
                <a:gd name="T104" fmla="*/ 51 w 130"/>
                <a:gd name="T105" fmla="*/ 127 h 128"/>
                <a:gd name="T106" fmla="*/ 58 w 130"/>
                <a:gd name="T107" fmla="*/ 128 h 128"/>
                <a:gd name="T108" fmla="*/ 65 w 130"/>
                <a:gd name="T109" fmla="*/ 128 h 128"/>
                <a:gd name="T110" fmla="*/ 65 w 130"/>
                <a:gd name="T11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28">
                  <a:moveTo>
                    <a:pt x="65" y="128"/>
                  </a:moveTo>
                  <a:lnTo>
                    <a:pt x="65" y="128"/>
                  </a:lnTo>
                  <a:lnTo>
                    <a:pt x="72" y="128"/>
                  </a:lnTo>
                  <a:lnTo>
                    <a:pt x="78" y="127"/>
                  </a:lnTo>
                  <a:lnTo>
                    <a:pt x="84" y="125"/>
                  </a:lnTo>
                  <a:lnTo>
                    <a:pt x="90" y="123"/>
                  </a:lnTo>
                  <a:lnTo>
                    <a:pt x="95" y="121"/>
                  </a:lnTo>
                  <a:lnTo>
                    <a:pt x="101" y="117"/>
                  </a:lnTo>
                  <a:lnTo>
                    <a:pt x="110" y="110"/>
                  </a:lnTo>
                  <a:lnTo>
                    <a:pt x="119" y="100"/>
                  </a:lnTo>
                  <a:lnTo>
                    <a:pt x="125" y="90"/>
                  </a:lnTo>
                  <a:lnTo>
                    <a:pt x="127" y="84"/>
                  </a:lnTo>
                  <a:lnTo>
                    <a:pt x="128" y="77"/>
                  </a:lnTo>
                  <a:lnTo>
                    <a:pt x="129" y="70"/>
                  </a:lnTo>
                  <a:lnTo>
                    <a:pt x="130" y="64"/>
                  </a:lnTo>
                  <a:lnTo>
                    <a:pt x="130" y="64"/>
                  </a:lnTo>
                  <a:lnTo>
                    <a:pt x="129" y="57"/>
                  </a:lnTo>
                  <a:lnTo>
                    <a:pt x="128" y="51"/>
                  </a:lnTo>
                  <a:lnTo>
                    <a:pt x="127" y="45"/>
                  </a:lnTo>
                  <a:lnTo>
                    <a:pt x="125" y="39"/>
                  </a:lnTo>
                  <a:lnTo>
                    <a:pt x="122" y="34"/>
                  </a:lnTo>
                  <a:lnTo>
                    <a:pt x="119" y="27"/>
                  </a:lnTo>
                  <a:lnTo>
                    <a:pt x="110" y="18"/>
                  </a:lnTo>
                  <a:lnTo>
                    <a:pt x="101" y="10"/>
                  </a:lnTo>
                  <a:lnTo>
                    <a:pt x="90" y="5"/>
                  </a:lnTo>
                  <a:lnTo>
                    <a:pt x="84" y="2"/>
                  </a:lnTo>
                  <a:lnTo>
                    <a:pt x="78" y="1"/>
                  </a:lnTo>
                  <a:lnTo>
                    <a:pt x="72" y="0"/>
                  </a:lnTo>
                  <a:lnTo>
                    <a:pt x="65" y="0"/>
                  </a:lnTo>
                  <a:lnTo>
                    <a:pt x="65" y="0"/>
                  </a:lnTo>
                  <a:lnTo>
                    <a:pt x="58" y="0"/>
                  </a:lnTo>
                  <a:lnTo>
                    <a:pt x="51" y="1"/>
                  </a:lnTo>
                  <a:lnTo>
                    <a:pt x="45" y="2"/>
                  </a:lnTo>
                  <a:lnTo>
                    <a:pt x="40" y="5"/>
                  </a:lnTo>
                  <a:lnTo>
                    <a:pt x="29" y="10"/>
                  </a:lnTo>
                  <a:lnTo>
                    <a:pt x="20" y="18"/>
                  </a:lnTo>
                  <a:lnTo>
                    <a:pt x="12" y="27"/>
                  </a:lnTo>
                  <a:lnTo>
                    <a:pt x="5" y="39"/>
                  </a:lnTo>
                  <a:lnTo>
                    <a:pt x="3" y="45"/>
                  </a:lnTo>
                  <a:lnTo>
                    <a:pt x="1" y="51"/>
                  </a:lnTo>
                  <a:lnTo>
                    <a:pt x="0" y="57"/>
                  </a:lnTo>
                  <a:lnTo>
                    <a:pt x="0" y="64"/>
                  </a:lnTo>
                  <a:lnTo>
                    <a:pt x="0" y="64"/>
                  </a:lnTo>
                  <a:lnTo>
                    <a:pt x="0" y="70"/>
                  </a:lnTo>
                  <a:lnTo>
                    <a:pt x="1" y="77"/>
                  </a:lnTo>
                  <a:lnTo>
                    <a:pt x="3" y="84"/>
                  </a:lnTo>
                  <a:lnTo>
                    <a:pt x="5" y="90"/>
                  </a:lnTo>
                  <a:lnTo>
                    <a:pt x="12" y="100"/>
                  </a:lnTo>
                  <a:lnTo>
                    <a:pt x="20" y="110"/>
                  </a:lnTo>
                  <a:lnTo>
                    <a:pt x="29" y="117"/>
                  </a:lnTo>
                  <a:lnTo>
                    <a:pt x="40" y="123"/>
                  </a:lnTo>
                  <a:lnTo>
                    <a:pt x="45" y="125"/>
                  </a:lnTo>
                  <a:lnTo>
                    <a:pt x="51" y="127"/>
                  </a:lnTo>
                  <a:lnTo>
                    <a:pt x="58" y="128"/>
                  </a:lnTo>
                  <a:lnTo>
                    <a:pt x="65" y="128"/>
                  </a:lnTo>
                  <a:lnTo>
                    <a:pt x="65" y="128"/>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37" name="Freeform 233"/>
            <p:cNvSpPr>
              <a:spLocks/>
            </p:cNvSpPr>
            <p:nvPr/>
          </p:nvSpPr>
          <p:spPr bwMode="auto">
            <a:xfrm>
              <a:off x="3538159" y="1899079"/>
              <a:ext cx="20203" cy="20199"/>
            </a:xfrm>
            <a:custGeom>
              <a:avLst/>
              <a:gdLst>
                <a:gd name="T0" fmla="*/ 65 w 130"/>
                <a:gd name="T1" fmla="*/ 130 h 130"/>
                <a:gd name="T2" fmla="*/ 65 w 130"/>
                <a:gd name="T3" fmla="*/ 130 h 130"/>
                <a:gd name="T4" fmla="*/ 72 w 130"/>
                <a:gd name="T5" fmla="*/ 129 h 130"/>
                <a:gd name="T6" fmla="*/ 78 w 130"/>
                <a:gd name="T7" fmla="*/ 128 h 130"/>
                <a:gd name="T8" fmla="*/ 84 w 130"/>
                <a:gd name="T9" fmla="*/ 127 h 130"/>
                <a:gd name="T10" fmla="*/ 90 w 130"/>
                <a:gd name="T11" fmla="*/ 125 h 130"/>
                <a:gd name="T12" fmla="*/ 95 w 130"/>
                <a:gd name="T13" fmla="*/ 122 h 130"/>
                <a:gd name="T14" fmla="*/ 101 w 130"/>
                <a:gd name="T15" fmla="*/ 119 h 130"/>
                <a:gd name="T16" fmla="*/ 110 w 130"/>
                <a:gd name="T17" fmla="*/ 110 h 130"/>
                <a:gd name="T18" fmla="*/ 119 w 130"/>
                <a:gd name="T19" fmla="*/ 100 h 130"/>
                <a:gd name="T20" fmla="*/ 125 w 130"/>
                <a:gd name="T21" fmla="*/ 90 h 130"/>
                <a:gd name="T22" fmla="*/ 127 w 130"/>
                <a:gd name="T23" fmla="*/ 84 h 130"/>
                <a:gd name="T24" fmla="*/ 128 w 130"/>
                <a:gd name="T25" fmla="*/ 78 h 130"/>
                <a:gd name="T26" fmla="*/ 129 w 130"/>
                <a:gd name="T27" fmla="*/ 71 h 130"/>
                <a:gd name="T28" fmla="*/ 130 w 130"/>
                <a:gd name="T29" fmla="*/ 65 h 130"/>
                <a:gd name="T30" fmla="*/ 130 w 130"/>
                <a:gd name="T31" fmla="*/ 65 h 130"/>
                <a:gd name="T32" fmla="*/ 129 w 130"/>
                <a:gd name="T33" fmla="*/ 57 h 130"/>
                <a:gd name="T34" fmla="*/ 128 w 130"/>
                <a:gd name="T35" fmla="*/ 51 h 130"/>
                <a:gd name="T36" fmla="*/ 127 w 130"/>
                <a:gd name="T37" fmla="*/ 45 h 130"/>
                <a:gd name="T38" fmla="*/ 125 w 130"/>
                <a:gd name="T39" fmla="*/ 39 h 130"/>
                <a:gd name="T40" fmla="*/ 119 w 130"/>
                <a:gd name="T41" fmla="*/ 29 h 130"/>
                <a:gd name="T42" fmla="*/ 110 w 130"/>
                <a:gd name="T43" fmla="*/ 19 h 130"/>
                <a:gd name="T44" fmla="*/ 101 w 130"/>
                <a:gd name="T45" fmla="*/ 11 h 130"/>
                <a:gd name="T46" fmla="*/ 90 w 130"/>
                <a:gd name="T47" fmla="*/ 5 h 130"/>
                <a:gd name="T48" fmla="*/ 84 w 130"/>
                <a:gd name="T49" fmla="*/ 2 h 130"/>
                <a:gd name="T50" fmla="*/ 78 w 130"/>
                <a:gd name="T51" fmla="*/ 1 h 130"/>
                <a:gd name="T52" fmla="*/ 72 w 130"/>
                <a:gd name="T53" fmla="*/ 0 h 130"/>
                <a:gd name="T54" fmla="*/ 65 w 130"/>
                <a:gd name="T55" fmla="*/ 0 h 130"/>
                <a:gd name="T56" fmla="*/ 65 w 130"/>
                <a:gd name="T57" fmla="*/ 0 h 130"/>
                <a:gd name="T58" fmla="*/ 58 w 130"/>
                <a:gd name="T59" fmla="*/ 0 h 130"/>
                <a:gd name="T60" fmla="*/ 51 w 130"/>
                <a:gd name="T61" fmla="*/ 1 h 130"/>
                <a:gd name="T62" fmla="*/ 45 w 130"/>
                <a:gd name="T63" fmla="*/ 2 h 130"/>
                <a:gd name="T64" fmla="*/ 40 w 130"/>
                <a:gd name="T65" fmla="*/ 5 h 130"/>
                <a:gd name="T66" fmla="*/ 29 w 130"/>
                <a:gd name="T67" fmla="*/ 11 h 130"/>
                <a:gd name="T68" fmla="*/ 20 w 130"/>
                <a:gd name="T69" fmla="*/ 19 h 130"/>
                <a:gd name="T70" fmla="*/ 12 w 130"/>
                <a:gd name="T71" fmla="*/ 29 h 130"/>
                <a:gd name="T72" fmla="*/ 5 w 130"/>
                <a:gd name="T73" fmla="*/ 39 h 130"/>
                <a:gd name="T74" fmla="*/ 3 w 130"/>
                <a:gd name="T75" fmla="*/ 45 h 130"/>
                <a:gd name="T76" fmla="*/ 1 w 130"/>
                <a:gd name="T77" fmla="*/ 51 h 130"/>
                <a:gd name="T78" fmla="*/ 0 w 130"/>
                <a:gd name="T79" fmla="*/ 57 h 130"/>
                <a:gd name="T80" fmla="*/ 0 w 130"/>
                <a:gd name="T81" fmla="*/ 65 h 130"/>
                <a:gd name="T82" fmla="*/ 0 w 130"/>
                <a:gd name="T83" fmla="*/ 65 h 130"/>
                <a:gd name="T84" fmla="*/ 0 w 130"/>
                <a:gd name="T85" fmla="*/ 71 h 130"/>
                <a:gd name="T86" fmla="*/ 1 w 130"/>
                <a:gd name="T87" fmla="*/ 78 h 130"/>
                <a:gd name="T88" fmla="*/ 3 w 130"/>
                <a:gd name="T89" fmla="*/ 84 h 130"/>
                <a:gd name="T90" fmla="*/ 5 w 130"/>
                <a:gd name="T91" fmla="*/ 90 h 130"/>
                <a:gd name="T92" fmla="*/ 12 w 130"/>
                <a:gd name="T93" fmla="*/ 100 h 130"/>
                <a:gd name="T94" fmla="*/ 20 w 130"/>
                <a:gd name="T95" fmla="*/ 110 h 130"/>
                <a:gd name="T96" fmla="*/ 29 w 130"/>
                <a:gd name="T97" fmla="*/ 119 h 130"/>
                <a:gd name="T98" fmla="*/ 34 w 130"/>
                <a:gd name="T99" fmla="*/ 122 h 130"/>
                <a:gd name="T100" fmla="*/ 40 w 130"/>
                <a:gd name="T101" fmla="*/ 125 h 130"/>
                <a:gd name="T102" fmla="*/ 45 w 130"/>
                <a:gd name="T103" fmla="*/ 127 h 130"/>
                <a:gd name="T104" fmla="*/ 51 w 130"/>
                <a:gd name="T105" fmla="*/ 128 h 130"/>
                <a:gd name="T106" fmla="*/ 58 w 130"/>
                <a:gd name="T107" fmla="*/ 129 h 130"/>
                <a:gd name="T108" fmla="*/ 65 w 130"/>
                <a:gd name="T109" fmla="*/ 130 h 130"/>
                <a:gd name="T110" fmla="*/ 65 w 130"/>
                <a:gd name="T111"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30">
                  <a:moveTo>
                    <a:pt x="65" y="130"/>
                  </a:moveTo>
                  <a:lnTo>
                    <a:pt x="65" y="130"/>
                  </a:lnTo>
                  <a:lnTo>
                    <a:pt x="72" y="129"/>
                  </a:lnTo>
                  <a:lnTo>
                    <a:pt x="78" y="128"/>
                  </a:lnTo>
                  <a:lnTo>
                    <a:pt x="84" y="127"/>
                  </a:lnTo>
                  <a:lnTo>
                    <a:pt x="90" y="125"/>
                  </a:lnTo>
                  <a:lnTo>
                    <a:pt x="95" y="122"/>
                  </a:lnTo>
                  <a:lnTo>
                    <a:pt x="101" y="119"/>
                  </a:lnTo>
                  <a:lnTo>
                    <a:pt x="110" y="110"/>
                  </a:lnTo>
                  <a:lnTo>
                    <a:pt x="119" y="100"/>
                  </a:lnTo>
                  <a:lnTo>
                    <a:pt x="125" y="90"/>
                  </a:lnTo>
                  <a:lnTo>
                    <a:pt x="127" y="84"/>
                  </a:lnTo>
                  <a:lnTo>
                    <a:pt x="128" y="78"/>
                  </a:lnTo>
                  <a:lnTo>
                    <a:pt x="129" y="71"/>
                  </a:lnTo>
                  <a:lnTo>
                    <a:pt x="130" y="65"/>
                  </a:lnTo>
                  <a:lnTo>
                    <a:pt x="130" y="65"/>
                  </a:lnTo>
                  <a:lnTo>
                    <a:pt x="129" y="57"/>
                  </a:lnTo>
                  <a:lnTo>
                    <a:pt x="128" y="51"/>
                  </a:lnTo>
                  <a:lnTo>
                    <a:pt x="127" y="45"/>
                  </a:lnTo>
                  <a:lnTo>
                    <a:pt x="125" y="39"/>
                  </a:lnTo>
                  <a:lnTo>
                    <a:pt x="119" y="29"/>
                  </a:lnTo>
                  <a:lnTo>
                    <a:pt x="110" y="19"/>
                  </a:lnTo>
                  <a:lnTo>
                    <a:pt x="101" y="11"/>
                  </a:lnTo>
                  <a:lnTo>
                    <a:pt x="90" y="5"/>
                  </a:lnTo>
                  <a:lnTo>
                    <a:pt x="84" y="2"/>
                  </a:lnTo>
                  <a:lnTo>
                    <a:pt x="78" y="1"/>
                  </a:lnTo>
                  <a:lnTo>
                    <a:pt x="72" y="0"/>
                  </a:lnTo>
                  <a:lnTo>
                    <a:pt x="65" y="0"/>
                  </a:lnTo>
                  <a:lnTo>
                    <a:pt x="65" y="0"/>
                  </a:lnTo>
                  <a:lnTo>
                    <a:pt x="58" y="0"/>
                  </a:lnTo>
                  <a:lnTo>
                    <a:pt x="51" y="1"/>
                  </a:lnTo>
                  <a:lnTo>
                    <a:pt x="45" y="2"/>
                  </a:lnTo>
                  <a:lnTo>
                    <a:pt x="40" y="5"/>
                  </a:lnTo>
                  <a:lnTo>
                    <a:pt x="29" y="11"/>
                  </a:lnTo>
                  <a:lnTo>
                    <a:pt x="20" y="19"/>
                  </a:lnTo>
                  <a:lnTo>
                    <a:pt x="12" y="29"/>
                  </a:lnTo>
                  <a:lnTo>
                    <a:pt x="5" y="39"/>
                  </a:lnTo>
                  <a:lnTo>
                    <a:pt x="3" y="45"/>
                  </a:lnTo>
                  <a:lnTo>
                    <a:pt x="1" y="51"/>
                  </a:lnTo>
                  <a:lnTo>
                    <a:pt x="0" y="57"/>
                  </a:lnTo>
                  <a:lnTo>
                    <a:pt x="0" y="65"/>
                  </a:lnTo>
                  <a:lnTo>
                    <a:pt x="0" y="65"/>
                  </a:lnTo>
                  <a:lnTo>
                    <a:pt x="0" y="71"/>
                  </a:lnTo>
                  <a:lnTo>
                    <a:pt x="1" y="78"/>
                  </a:lnTo>
                  <a:lnTo>
                    <a:pt x="3" y="84"/>
                  </a:lnTo>
                  <a:lnTo>
                    <a:pt x="5" y="90"/>
                  </a:lnTo>
                  <a:lnTo>
                    <a:pt x="12" y="100"/>
                  </a:lnTo>
                  <a:lnTo>
                    <a:pt x="20" y="110"/>
                  </a:lnTo>
                  <a:lnTo>
                    <a:pt x="29" y="119"/>
                  </a:lnTo>
                  <a:lnTo>
                    <a:pt x="34" y="122"/>
                  </a:lnTo>
                  <a:lnTo>
                    <a:pt x="40" y="125"/>
                  </a:lnTo>
                  <a:lnTo>
                    <a:pt x="45" y="127"/>
                  </a:lnTo>
                  <a:lnTo>
                    <a:pt x="51" y="128"/>
                  </a:lnTo>
                  <a:lnTo>
                    <a:pt x="58" y="129"/>
                  </a:lnTo>
                  <a:lnTo>
                    <a:pt x="65" y="130"/>
                  </a:lnTo>
                  <a:lnTo>
                    <a:pt x="65" y="13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38" name="Freeform 234"/>
            <p:cNvSpPr>
              <a:spLocks/>
            </p:cNvSpPr>
            <p:nvPr/>
          </p:nvSpPr>
          <p:spPr bwMode="auto">
            <a:xfrm>
              <a:off x="3499998" y="1899079"/>
              <a:ext cx="21326" cy="20199"/>
            </a:xfrm>
            <a:custGeom>
              <a:avLst/>
              <a:gdLst>
                <a:gd name="T0" fmla="*/ 64 w 129"/>
                <a:gd name="T1" fmla="*/ 130 h 130"/>
                <a:gd name="T2" fmla="*/ 64 w 129"/>
                <a:gd name="T3" fmla="*/ 130 h 130"/>
                <a:gd name="T4" fmla="*/ 71 w 129"/>
                <a:gd name="T5" fmla="*/ 129 h 130"/>
                <a:gd name="T6" fmla="*/ 77 w 129"/>
                <a:gd name="T7" fmla="*/ 128 h 130"/>
                <a:gd name="T8" fmla="*/ 83 w 129"/>
                <a:gd name="T9" fmla="*/ 127 h 130"/>
                <a:gd name="T10" fmla="*/ 90 w 129"/>
                <a:gd name="T11" fmla="*/ 125 h 130"/>
                <a:gd name="T12" fmla="*/ 96 w 129"/>
                <a:gd name="T13" fmla="*/ 122 h 130"/>
                <a:gd name="T14" fmla="*/ 101 w 129"/>
                <a:gd name="T15" fmla="*/ 119 h 130"/>
                <a:gd name="T16" fmla="*/ 110 w 129"/>
                <a:gd name="T17" fmla="*/ 110 h 130"/>
                <a:gd name="T18" fmla="*/ 118 w 129"/>
                <a:gd name="T19" fmla="*/ 101 h 130"/>
                <a:gd name="T20" fmla="*/ 124 w 129"/>
                <a:gd name="T21" fmla="*/ 90 h 130"/>
                <a:gd name="T22" fmla="*/ 126 w 129"/>
                <a:gd name="T23" fmla="*/ 84 h 130"/>
                <a:gd name="T24" fmla="*/ 127 w 129"/>
                <a:gd name="T25" fmla="*/ 78 h 130"/>
                <a:gd name="T26" fmla="*/ 128 w 129"/>
                <a:gd name="T27" fmla="*/ 71 h 130"/>
                <a:gd name="T28" fmla="*/ 129 w 129"/>
                <a:gd name="T29" fmla="*/ 65 h 130"/>
                <a:gd name="T30" fmla="*/ 129 w 129"/>
                <a:gd name="T31" fmla="*/ 65 h 130"/>
                <a:gd name="T32" fmla="*/ 128 w 129"/>
                <a:gd name="T33" fmla="*/ 57 h 130"/>
                <a:gd name="T34" fmla="*/ 127 w 129"/>
                <a:gd name="T35" fmla="*/ 51 h 130"/>
                <a:gd name="T36" fmla="*/ 126 w 129"/>
                <a:gd name="T37" fmla="*/ 45 h 130"/>
                <a:gd name="T38" fmla="*/ 124 w 129"/>
                <a:gd name="T39" fmla="*/ 39 h 130"/>
                <a:gd name="T40" fmla="*/ 118 w 129"/>
                <a:gd name="T41" fmla="*/ 29 h 130"/>
                <a:gd name="T42" fmla="*/ 110 w 129"/>
                <a:gd name="T43" fmla="*/ 19 h 130"/>
                <a:gd name="T44" fmla="*/ 101 w 129"/>
                <a:gd name="T45" fmla="*/ 11 h 130"/>
                <a:gd name="T46" fmla="*/ 96 w 129"/>
                <a:gd name="T47" fmla="*/ 7 h 130"/>
                <a:gd name="T48" fmla="*/ 90 w 129"/>
                <a:gd name="T49" fmla="*/ 5 h 130"/>
                <a:gd name="T50" fmla="*/ 83 w 129"/>
                <a:gd name="T51" fmla="*/ 2 h 130"/>
                <a:gd name="T52" fmla="*/ 77 w 129"/>
                <a:gd name="T53" fmla="*/ 1 h 130"/>
                <a:gd name="T54" fmla="*/ 71 w 129"/>
                <a:gd name="T55" fmla="*/ 0 h 130"/>
                <a:gd name="T56" fmla="*/ 64 w 129"/>
                <a:gd name="T57" fmla="*/ 0 h 130"/>
                <a:gd name="T58" fmla="*/ 64 w 129"/>
                <a:gd name="T59" fmla="*/ 0 h 130"/>
                <a:gd name="T60" fmla="*/ 58 w 129"/>
                <a:gd name="T61" fmla="*/ 0 h 130"/>
                <a:gd name="T62" fmla="*/ 52 w 129"/>
                <a:gd name="T63" fmla="*/ 1 h 130"/>
                <a:gd name="T64" fmla="*/ 46 w 129"/>
                <a:gd name="T65" fmla="*/ 2 h 130"/>
                <a:gd name="T66" fmla="*/ 40 w 129"/>
                <a:gd name="T67" fmla="*/ 5 h 130"/>
                <a:gd name="T68" fmla="*/ 33 w 129"/>
                <a:gd name="T69" fmla="*/ 7 h 130"/>
                <a:gd name="T70" fmla="*/ 28 w 129"/>
                <a:gd name="T71" fmla="*/ 11 h 130"/>
                <a:gd name="T72" fmla="*/ 19 w 129"/>
                <a:gd name="T73" fmla="*/ 19 h 130"/>
                <a:gd name="T74" fmla="*/ 11 w 129"/>
                <a:gd name="T75" fmla="*/ 29 h 130"/>
                <a:gd name="T76" fmla="*/ 5 w 129"/>
                <a:gd name="T77" fmla="*/ 39 h 130"/>
                <a:gd name="T78" fmla="*/ 3 w 129"/>
                <a:gd name="T79" fmla="*/ 45 h 130"/>
                <a:gd name="T80" fmla="*/ 1 w 129"/>
                <a:gd name="T81" fmla="*/ 51 h 130"/>
                <a:gd name="T82" fmla="*/ 0 w 129"/>
                <a:gd name="T83" fmla="*/ 57 h 130"/>
                <a:gd name="T84" fmla="*/ 0 w 129"/>
                <a:gd name="T85" fmla="*/ 65 h 130"/>
                <a:gd name="T86" fmla="*/ 0 w 129"/>
                <a:gd name="T87" fmla="*/ 65 h 130"/>
                <a:gd name="T88" fmla="*/ 0 w 129"/>
                <a:gd name="T89" fmla="*/ 71 h 130"/>
                <a:gd name="T90" fmla="*/ 1 w 129"/>
                <a:gd name="T91" fmla="*/ 78 h 130"/>
                <a:gd name="T92" fmla="*/ 3 w 129"/>
                <a:gd name="T93" fmla="*/ 84 h 130"/>
                <a:gd name="T94" fmla="*/ 5 w 129"/>
                <a:gd name="T95" fmla="*/ 90 h 130"/>
                <a:gd name="T96" fmla="*/ 8 w 129"/>
                <a:gd name="T97" fmla="*/ 95 h 130"/>
                <a:gd name="T98" fmla="*/ 11 w 129"/>
                <a:gd name="T99" fmla="*/ 101 h 130"/>
                <a:gd name="T100" fmla="*/ 19 w 129"/>
                <a:gd name="T101" fmla="*/ 110 h 130"/>
                <a:gd name="T102" fmla="*/ 28 w 129"/>
                <a:gd name="T103" fmla="*/ 119 h 130"/>
                <a:gd name="T104" fmla="*/ 33 w 129"/>
                <a:gd name="T105" fmla="*/ 122 h 130"/>
                <a:gd name="T106" fmla="*/ 40 w 129"/>
                <a:gd name="T107" fmla="*/ 125 h 130"/>
                <a:gd name="T108" fmla="*/ 46 w 129"/>
                <a:gd name="T109" fmla="*/ 127 h 130"/>
                <a:gd name="T110" fmla="*/ 52 w 129"/>
                <a:gd name="T111" fmla="*/ 128 h 130"/>
                <a:gd name="T112" fmla="*/ 58 w 129"/>
                <a:gd name="T113" fmla="*/ 129 h 130"/>
                <a:gd name="T114" fmla="*/ 64 w 129"/>
                <a:gd name="T115" fmla="*/ 130 h 130"/>
                <a:gd name="T116" fmla="*/ 64 w 129"/>
                <a:gd name="T1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 h="130">
                  <a:moveTo>
                    <a:pt x="64" y="130"/>
                  </a:moveTo>
                  <a:lnTo>
                    <a:pt x="64" y="130"/>
                  </a:lnTo>
                  <a:lnTo>
                    <a:pt x="71" y="129"/>
                  </a:lnTo>
                  <a:lnTo>
                    <a:pt x="77" y="128"/>
                  </a:lnTo>
                  <a:lnTo>
                    <a:pt x="83" y="127"/>
                  </a:lnTo>
                  <a:lnTo>
                    <a:pt x="90" y="125"/>
                  </a:lnTo>
                  <a:lnTo>
                    <a:pt x="96" y="122"/>
                  </a:lnTo>
                  <a:lnTo>
                    <a:pt x="101" y="119"/>
                  </a:lnTo>
                  <a:lnTo>
                    <a:pt x="110" y="110"/>
                  </a:lnTo>
                  <a:lnTo>
                    <a:pt x="118" y="101"/>
                  </a:lnTo>
                  <a:lnTo>
                    <a:pt x="124" y="90"/>
                  </a:lnTo>
                  <a:lnTo>
                    <a:pt x="126" y="84"/>
                  </a:lnTo>
                  <a:lnTo>
                    <a:pt x="127" y="78"/>
                  </a:lnTo>
                  <a:lnTo>
                    <a:pt x="128" y="71"/>
                  </a:lnTo>
                  <a:lnTo>
                    <a:pt x="129" y="65"/>
                  </a:lnTo>
                  <a:lnTo>
                    <a:pt x="129" y="65"/>
                  </a:lnTo>
                  <a:lnTo>
                    <a:pt x="128" y="57"/>
                  </a:lnTo>
                  <a:lnTo>
                    <a:pt x="127" y="51"/>
                  </a:lnTo>
                  <a:lnTo>
                    <a:pt x="126" y="45"/>
                  </a:lnTo>
                  <a:lnTo>
                    <a:pt x="124" y="39"/>
                  </a:lnTo>
                  <a:lnTo>
                    <a:pt x="118" y="29"/>
                  </a:lnTo>
                  <a:lnTo>
                    <a:pt x="110" y="19"/>
                  </a:lnTo>
                  <a:lnTo>
                    <a:pt x="101" y="11"/>
                  </a:lnTo>
                  <a:lnTo>
                    <a:pt x="96" y="7"/>
                  </a:lnTo>
                  <a:lnTo>
                    <a:pt x="90" y="5"/>
                  </a:lnTo>
                  <a:lnTo>
                    <a:pt x="83" y="2"/>
                  </a:lnTo>
                  <a:lnTo>
                    <a:pt x="77" y="1"/>
                  </a:lnTo>
                  <a:lnTo>
                    <a:pt x="71" y="0"/>
                  </a:lnTo>
                  <a:lnTo>
                    <a:pt x="64" y="0"/>
                  </a:lnTo>
                  <a:lnTo>
                    <a:pt x="64" y="0"/>
                  </a:lnTo>
                  <a:lnTo>
                    <a:pt x="58" y="0"/>
                  </a:lnTo>
                  <a:lnTo>
                    <a:pt x="52" y="1"/>
                  </a:lnTo>
                  <a:lnTo>
                    <a:pt x="46" y="2"/>
                  </a:lnTo>
                  <a:lnTo>
                    <a:pt x="40" y="5"/>
                  </a:lnTo>
                  <a:lnTo>
                    <a:pt x="33" y="7"/>
                  </a:lnTo>
                  <a:lnTo>
                    <a:pt x="28" y="11"/>
                  </a:lnTo>
                  <a:lnTo>
                    <a:pt x="19" y="19"/>
                  </a:lnTo>
                  <a:lnTo>
                    <a:pt x="11" y="29"/>
                  </a:lnTo>
                  <a:lnTo>
                    <a:pt x="5" y="39"/>
                  </a:lnTo>
                  <a:lnTo>
                    <a:pt x="3" y="45"/>
                  </a:lnTo>
                  <a:lnTo>
                    <a:pt x="1" y="51"/>
                  </a:lnTo>
                  <a:lnTo>
                    <a:pt x="0" y="57"/>
                  </a:lnTo>
                  <a:lnTo>
                    <a:pt x="0" y="65"/>
                  </a:lnTo>
                  <a:lnTo>
                    <a:pt x="0" y="65"/>
                  </a:lnTo>
                  <a:lnTo>
                    <a:pt x="0" y="71"/>
                  </a:lnTo>
                  <a:lnTo>
                    <a:pt x="1" y="78"/>
                  </a:lnTo>
                  <a:lnTo>
                    <a:pt x="3" y="84"/>
                  </a:lnTo>
                  <a:lnTo>
                    <a:pt x="5" y="90"/>
                  </a:lnTo>
                  <a:lnTo>
                    <a:pt x="8" y="95"/>
                  </a:lnTo>
                  <a:lnTo>
                    <a:pt x="11" y="101"/>
                  </a:lnTo>
                  <a:lnTo>
                    <a:pt x="19" y="110"/>
                  </a:lnTo>
                  <a:lnTo>
                    <a:pt x="28" y="119"/>
                  </a:lnTo>
                  <a:lnTo>
                    <a:pt x="33" y="122"/>
                  </a:lnTo>
                  <a:lnTo>
                    <a:pt x="40" y="125"/>
                  </a:lnTo>
                  <a:lnTo>
                    <a:pt x="46" y="127"/>
                  </a:lnTo>
                  <a:lnTo>
                    <a:pt x="52" y="128"/>
                  </a:lnTo>
                  <a:lnTo>
                    <a:pt x="58" y="129"/>
                  </a:lnTo>
                  <a:lnTo>
                    <a:pt x="64" y="130"/>
                  </a:lnTo>
                  <a:lnTo>
                    <a:pt x="64" y="13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39" name="Freeform 235"/>
            <p:cNvSpPr>
              <a:spLocks/>
            </p:cNvSpPr>
            <p:nvPr/>
          </p:nvSpPr>
          <p:spPr bwMode="auto">
            <a:xfrm>
              <a:off x="3462958" y="1899079"/>
              <a:ext cx="21326" cy="20199"/>
            </a:xfrm>
            <a:custGeom>
              <a:avLst/>
              <a:gdLst>
                <a:gd name="T0" fmla="*/ 65 w 130"/>
                <a:gd name="T1" fmla="*/ 0 h 130"/>
                <a:gd name="T2" fmla="*/ 65 w 130"/>
                <a:gd name="T3" fmla="*/ 0 h 130"/>
                <a:gd name="T4" fmla="*/ 58 w 130"/>
                <a:gd name="T5" fmla="*/ 0 h 130"/>
                <a:gd name="T6" fmla="*/ 52 w 130"/>
                <a:gd name="T7" fmla="*/ 1 h 130"/>
                <a:gd name="T8" fmla="*/ 46 w 130"/>
                <a:gd name="T9" fmla="*/ 2 h 130"/>
                <a:gd name="T10" fmla="*/ 40 w 130"/>
                <a:gd name="T11" fmla="*/ 5 h 130"/>
                <a:gd name="T12" fmla="*/ 29 w 130"/>
                <a:gd name="T13" fmla="*/ 11 h 130"/>
                <a:gd name="T14" fmla="*/ 20 w 130"/>
                <a:gd name="T15" fmla="*/ 19 h 130"/>
                <a:gd name="T16" fmla="*/ 12 w 130"/>
                <a:gd name="T17" fmla="*/ 29 h 130"/>
                <a:gd name="T18" fmla="*/ 5 w 130"/>
                <a:gd name="T19" fmla="*/ 39 h 130"/>
                <a:gd name="T20" fmla="*/ 3 w 130"/>
                <a:gd name="T21" fmla="*/ 45 h 130"/>
                <a:gd name="T22" fmla="*/ 1 w 130"/>
                <a:gd name="T23" fmla="*/ 51 h 130"/>
                <a:gd name="T24" fmla="*/ 0 w 130"/>
                <a:gd name="T25" fmla="*/ 57 h 130"/>
                <a:gd name="T26" fmla="*/ 0 w 130"/>
                <a:gd name="T27" fmla="*/ 65 h 130"/>
                <a:gd name="T28" fmla="*/ 0 w 130"/>
                <a:gd name="T29" fmla="*/ 65 h 130"/>
                <a:gd name="T30" fmla="*/ 0 w 130"/>
                <a:gd name="T31" fmla="*/ 71 h 130"/>
                <a:gd name="T32" fmla="*/ 1 w 130"/>
                <a:gd name="T33" fmla="*/ 78 h 130"/>
                <a:gd name="T34" fmla="*/ 3 w 130"/>
                <a:gd name="T35" fmla="*/ 84 h 130"/>
                <a:gd name="T36" fmla="*/ 5 w 130"/>
                <a:gd name="T37" fmla="*/ 90 h 130"/>
                <a:gd name="T38" fmla="*/ 8 w 130"/>
                <a:gd name="T39" fmla="*/ 95 h 130"/>
                <a:gd name="T40" fmla="*/ 12 w 130"/>
                <a:gd name="T41" fmla="*/ 101 h 130"/>
                <a:gd name="T42" fmla="*/ 20 w 130"/>
                <a:gd name="T43" fmla="*/ 110 h 130"/>
                <a:gd name="T44" fmla="*/ 29 w 130"/>
                <a:gd name="T45" fmla="*/ 119 h 130"/>
                <a:gd name="T46" fmla="*/ 34 w 130"/>
                <a:gd name="T47" fmla="*/ 122 h 130"/>
                <a:gd name="T48" fmla="*/ 40 w 130"/>
                <a:gd name="T49" fmla="*/ 125 h 130"/>
                <a:gd name="T50" fmla="*/ 46 w 130"/>
                <a:gd name="T51" fmla="*/ 127 h 130"/>
                <a:gd name="T52" fmla="*/ 52 w 130"/>
                <a:gd name="T53" fmla="*/ 128 h 130"/>
                <a:gd name="T54" fmla="*/ 58 w 130"/>
                <a:gd name="T55" fmla="*/ 129 h 130"/>
                <a:gd name="T56" fmla="*/ 65 w 130"/>
                <a:gd name="T57" fmla="*/ 130 h 130"/>
                <a:gd name="T58" fmla="*/ 65 w 130"/>
                <a:gd name="T59" fmla="*/ 130 h 130"/>
                <a:gd name="T60" fmla="*/ 72 w 130"/>
                <a:gd name="T61" fmla="*/ 129 h 130"/>
                <a:gd name="T62" fmla="*/ 78 w 130"/>
                <a:gd name="T63" fmla="*/ 128 h 130"/>
                <a:gd name="T64" fmla="*/ 84 w 130"/>
                <a:gd name="T65" fmla="*/ 127 h 130"/>
                <a:gd name="T66" fmla="*/ 90 w 130"/>
                <a:gd name="T67" fmla="*/ 125 h 130"/>
                <a:gd name="T68" fmla="*/ 101 w 130"/>
                <a:gd name="T69" fmla="*/ 119 h 130"/>
                <a:gd name="T70" fmla="*/ 110 w 130"/>
                <a:gd name="T71" fmla="*/ 110 h 130"/>
                <a:gd name="T72" fmla="*/ 119 w 130"/>
                <a:gd name="T73" fmla="*/ 101 h 130"/>
                <a:gd name="T74" fmla="*/ 122 w 130"/>
                <a:gd name="T75" fmla="*/ 95 h 130"/>
                <a:gd name="T76" fmla="*/ 125 w 130"/>
                <a:gd name="T77" fmla="*/ 90 h 130"/>
                <a:gd name="T78" fmla="*/ 127 w 130"/>
                <a:gd name="T79" fmla="*/ 84 h 130"/>
                <a:gd name="T80" fmla="*/ 128 w 130"/>
                <a:gd name="T81" fmla="*/ 78 h 130"/>
                <a:gd name="T82" fmla="*/ 129 w 130"/>
                <a:gd name="T83" fmla="*/ 71 h 130"/>
                <a:gd name="T84" fmla="*/ 130 w 130"/>
                <a:gd name="T85" fmla="*/ 65 h 130"/>
                <a:gd name="T86" fmla="*/ 130 w 130"/>
                <a:gd name="T87" fmla="*/ 65 h 130"/>
                <a:gd name="T88" fmla="*/ 129 w 130"/>
                <a:gd name="T89" fmla="*/ 57 h 130"/>
                <a:gd name="T90" fmla="*/ 128 w 130"/>
                <a:gd name="T91" fmla="*/ 51 h 130"/>
                <a:gd name="T92" fmla="*/ 127 w 130"/>
                <a:gd name="T93" fmla="*/ 45 h 130"/>
                <a:gd name="T94" fmla="*/ 125 w 130"/>
                <a:gd name="T95" fmla="*/ 39 h 130"/>
                <a:gd name="T96" fmla="*/ 119 w 130"/>
                <a:gd name="T97" fmla="*/ 29 h 130"/>
                <a:gd name="T98" fmla="*/ 110 w 130"/>
                <a:gd name="T99" fmla="*/ 19 h 130"/>
                <a:gd name="T100" fmla="*/ 101 w 130"/>
                <a:gd name="T101" fmla="*/ 11 h 130"/>
                <a:gd name="T102" fmla="*/ 90 w 130"/>
                <a:gd name="T103" fmla="*/ 5 h 130"/>
                <a:gd name="T104" fmla="*/ 84 w 130"/>
                <a:gd name="T105" fmla="*/ 2 h 130"/>
                <a:gd name="T106" fmla="*/ 78 w 130"/>
                <a:gd name="T107" fmla="*/ 1 h 130"/>
                <a:gd name="T108" fmla="*/ 72 w 130"/>
                <a:gd name="T109" fmla="*/ 0 h 130"/>
                <a:gd name="T110" fmla="*/ 65 w 130"/>
                <a:gd name="T111" fmla="*/ 0 h 130"/>
                <a:gd name="T112" fmla="*/ 65 w 130"/>
                <a:gd name="T11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30">
                  <a:moveTo>
                    <a:pt x="65" y="0"/>
                  </a:moveTo>
                  <a:lnTo>
                    <a:pt x="65" y="0"/>
                  </a:lnTo>
                  <a:lnTo>
                    <a:pt x="58" y="0"/>
                  </a:lnTo>
                  <a:lnTo>
                    <a:pt x="52" y="1"/>
                  </a:lnTo>
                  <a:lnTo>
                    <a:pt x="46" y="2"/>
                  </a:lnTo>
                  <a:lnTo>
                    <a:pt x="40" y="5"/>
                  </a:lnTo>
                  <a:lnTo>
                    <a:pt x="29" y="11"/>
                  </a:lnTo>
                  <a:lnTo>
                    <a:pt x="20" y="19"/>
                  </a:lnTo>
                  <a:lnTo>
                    <a:pt x="12" y="29"/>
                  </a:lnTo>
                  <a:lnTo>
                    <a:pt x="5" y="39"/>
                  </a:lnTo>
                  <a:lnTo>
                    <a:pt x="3" y="45"/>
                  </a:lnTo>
                  <a:lnTo>
                    <a:pt x="1" y="51"/>
                  </a:lnTo>
                  <a:lnTo>
                    <a:pt x="0" y="57"/>
                  </a:lnTo>
                  <a:lnTo>
                    <a:pt x="0" y="65"/>
                  </a:lnTo>
                  <a:lnTo>
                    <a:pt x="0" y="65"/>
                  </a:lnTo>
                  <a:lnTo>
                    <a:pt x="0" y="71"/>
                  </a:lnTo>
                  <a:lnTo>
                    <a:pt x="1" y="78"/>
                  </a:lnTo>
                  <a:lnTo>
                    <a:pt x="3" y="84"/>
                  </a:lnTo>
                  <a:lnTo>
                    <a:pt x="5" y="90"/>
                  </a:lnTo>
                  <a:lnTo>
                    <a:pt x="8" y="95"/>
                  </a:lnTo>
                  <a:lnTo>
                    <a:pt x="12" y="101"/>
                  </a:lnTo>
                  <a:lnTo>
                    <a:pt x="20" y="110"/>
                  </a:lnTo>
                  <a:lnTo>
                    <a:pt x="29" y="119"/>
                  </a:lnTo>
                  <a:lnTo>
                    <a:pt x="34" y="122"/>
                  </a:lnTo>
                  <a:lnTo>
                    <a:pt x="40" y="125"/>
                  </a:lnTo>
                  <a:lnTo>
                    <a:pt x="46" y="127"/>
                  </a:lnTo>
                  <a:lnTo>
                    <a:pt x="52" y="128"/>
                  </a:lnTo>
                  <a:lnTo>
                    <a:pt x="58" y="129"/>
                  </a:lnTo>
                  <a:lnTo>
                    <a:pt x="65" y="130"/>
                  </a:lnTo>
                  <a:lnTo>
                    <a:pt x="65" y="130"/>
                  </a:lnTo>
                  <a:lnTo>
                    <a:pt x="72" y="129"/>
                  </a:lnTo>
                  <a:lnTo>
                    <a:pt x="78" y="128"/>
                  </a:lnTo>
                  <a:lnTo>
                    <a:pt x="84" y="127"/>
                  </a:lnTo>
                  <a:lnTo>
                    <a:pt x="90" y="125"/>
                  </a:lnTo>
                  <a:lnTo>
                    <a:pt x="101" y="119"/>
                  </a:lnTo>
                  <a:lnTo>
                    <a:pt x="110" y="110"/>
                  </a:lnTo>
                  <a:lnTo>
                    <a:pt x="119" y="101"/>
                  </a:lnTo>
                  <a:lnTo>
                    <a:pt x="122" y="95"/>
                  </a:lnTo>
                  <a:lnTo>
                    <a:pt x="125" y="90"/>
                  </a:lnTo>
                  <a:lnTo>
                    <a:pt x="127" y="84"/>
                  </a:lnTo>
                  <a:lnTo>
                    <a:pt x="128" y="78"/>
                  </a:lnTo>
                  <a:lnTo>
                    <a:pt x="129" y="71"/>
                  </a:lnTo>
                  <a:lnTo>
                    <a:pt x="130" y="65"/>
                  </a:lnTo>
                  <a:lnTo>
                    <a:pt x="130" y="65"/>
                  </a:lnTo>
                  <a:lnTo>
                    <a:pt x="129" y="57"/>
                  </a:lnTo>
                  <a:lnTo>
                    <a:pt x="128" y="51"/>
                  </a:lnTo>
                  <a:lnTo>
                    <a:pt x="127" y="45"/>
                  </a:lnTo>
                  <a:lnTo>
                    <a:pt x="125" y="39"/>
                  </a:lnTo>
                  <a:lnTo>
                    <a:pt x="119" y="29"/>
                  </a:lnTo>
                  <a:lnTo>
                    <a:pt x="110" y="19"/>
                  </a:lnTo>
                  <a:lnTo>
                    <a:pt x="101" y="11"/>
                  </a:lnTo>
                  <a:lnTo>
                    <a:pt x="90" y="5"/>
                  </a:lnTo>
                  <a:lnTo>
                    <a:pt x="84" y="2"/>
                  </a:lnTo>
                  <a:lnTo>
                    <a:pt x="78" y="1"/>
                  </a:lnTo>
                  <a:lnTo>
                    <a:pt x="72"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0" name="Rectangle 239"/>
            <p:cNvSpPr/>
            <p:nvPr/>
          </p:nvSpPr>
          <p:spPr>
            <a:xfrm>
              <a:off x="3308348" y="1844446"/>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1" name="Rectangle 240"/>
            <p:cNvSpPr/>
            <p:nvPr/>
          </p:nvSpPr>
          <p:spPr>
            <a:xfrm>
              <a:off x="3430680" y="1844446"/>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2" name="Rectangle 241"/>
            <p:cNvSpPr/>
            <p:nvPr/>
          </p:nvSpPr>
          <p:spPr>
            <a:xfrm>
              <a:off x="3307826" y="1873330"/>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3" name="Rectangle 242"/>
            <p:cNvSpPr/>
            <p:nvPr/>
          </p:nvSpPr>
          <p:spPr>
            <a:xfrm>
              <a:off x="3369253" y="1873330"/>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4" name="Rectangle 243"/>
            <p:cNvSpPr/>
            <p:nvPr/>
          </p:nvSpPr>
          <p:spPr>
            <a:xfrm>
              <a:off x="3345484" y="1844446"/>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5" name="Rectangle 244"/>
            <p:cNvSpPr/>
            <p:nvPr/>
          </p:nvSpPr>
          <p:spPr>
            <a:xfrm>
              <a:off x="3373883" y="1844446"/>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6" name="Rectangle 245"/>
            <p:cNvSpPr/>
            <p:nvPr/>
          </p:nvSpPr>
          <p:spPr>
            <a:xfrm>
              <a:off x="3402282" y="1844442"/>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7" name="Rectangle 246"/>
            <p:cNvSpPr/>
            <p:nvPr/>
          </p:nvSpPr>
          <p:spPr>
            <a:xfrm>
              <a:off x="3307828" y="190238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8" name="Rectangle 247"/>
            <p:cNvSpPr/>
            <p:nvPr/>
          </p:nvSpPr>
          <p:spPr>
            <a:xfrm>
              <a:off x="3430158" y="190238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49" name="Rectangle 248"/>
            <p:cNvSpPr/>
            <p:nvPr/>
          </p:nvSpPr>
          <p:spPr>
            <a:xfrm>
              <a:off x="3344962" y="190238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0" name="Rectangle 249"/>
            <p:cNvSpPr/>
            <p:nvPr/>
          </p:nvSpPr>
          <p:spPr>
            <a:xfrm>
              <a:off x="3373361" y="190238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1" name="Rectangle 250"/>
            <p:cNvSpPr/>
            <p:nvPr/>
          </p:nvSpPr>
          <p:spPr>
            <a:xfrm>
              <a:off x="3401760" y="190238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2" name="Rectangle 251"/>
            <p:cNvSpPr/>
            <p:nvPr/>
          </p:nvSpPr>
          <p:spPr>
            <a:xfrm>
              <a:off x="3307828" y="1960894"/>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3" name="Rectangle 252"/>
            <p:cNvSpPr/>
            <p:nvPr/>
          </p:nvSpPr>
          <p:spPr>
            <a:xfrm>
              <a:off x="3430159" y="1960894"/>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4" name="Rectangle 253"/>
            <p:cNvSpPr/>
            <p:nvPr/>
          </p:nvSpPr>
          <p:spPr>
            <a:xfrm>
              <a:off x="3344964" y="1960894"/>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5" name="Rectangle 254"/>
            <p:cNvSpPr/>
            <p:nvPr/>
          </p:nvSpPr>
          <p:spPr>
            <a:xfrm>
              <a:off x="3373361" y="1960892"/>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6" name="Rectangle 255"/>
            <p:cNvSpPr/>
            <p:nvPr/>
          </p:nvSpPr>
          <p:spPr>
            <a:xfrm>
              <a:off x="3401760" y="1960892"/>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7" name="Rectangle 256"/>
            <p:cNvSpPr/>
            <p:nvPr/>
          </p:nvSpPr>
          <p:spPr>
            <a:xfrm>
              <a:off x="3430681" y="1873344"/>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8" name="Rectangle 257"/>
            <p:cNvSpPr/>
            <p:nvPr/>
          </p:nvSpPr>
          <p:spPr>
            <a:xfrm>
              <a:off x="3307824" y="1926843"/>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59" name="Rectangle 258"/>
            <p:cNvSpPr/>
            <p:nvPr/>
          </p:nvSpPr>
          <p:spPr>
            <a:xfrm>
              <a:off x="3369246" y="1926837"/>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0" name="Rectangle 259"/>
            <p:cNvSpPr/>
            <p:nvPr/>
          </p:nvSpPr>
          <p:spPr>
            <a:xfrm>
              <a:off x="3430679" y="1926851"/>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1" name="Rectangle 260"/>
            <p:cNvSpPr/>
            <p:nvPr/>
          </p:nvSpPr>
          <p:spPr>
            <a:xfrm>
              <a:off x="3482934" y="2008479"/>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2" name="Rectangle 261"/>
            <p:cNvSpPr/>
            <p:nvPr/>
          </p:nvSpPr>
          <p:spPr>
            <a:xfrm>
              <a:off x="3605267" y="2008479"/>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3" name="Rectangle 262"/>
            <p:cNvSpPr/>
            <p:nvPr/>
          </p:nvSpPr>
          <p:spPr>
            <a:xfrm>
              <a:off x="3482414" y="2037363"/>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4" name="Rectangle 263"/>
            <p:cNvSpPr/>
            <p:nvPr/>
          </p:nvSpPr>
          <p:spPr>
            <a:xfrm>
              <a:off x="3543840" y="2037363"/>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5" name="Rectangle 264"/>
            <p:cNvSpPr/>
            <p:nvPr/>
          </p:nvSpPr>
          <p:spPr>
            <a:xfrm>
              <a:off x="3520070" y="2008479"/>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6" name="Rectangle 265"/>
            <p:cNvSpPr/>
            <p:nvPr/>
          </p:nvSpPr>
          <p:spPr>
            <a:xfrm>
              <a:off x="3548469" y="2008479"/>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7" name="Rectangle 266"/>
            <p:cNvSpPr/>
            <p:nvPr/>
          </p:nvSpPr>
          <p:spPr>
            <a:xfrm>
              <a:off x="3576868" y="2008473"/>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8" name="Rectangle 267"/>
            <p:cNvSpPr/>
            <p:nvPr/>
          </p:nvSpPr>
          <p:spPr>
            <a:xfrm>
              <a:off x="3482414" y="206641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69" name="Rectangle 268"/>
            <p:cNvSpPr/>
            <p:nvPr/>
          </p:nvSpPr>
          <p:spPr>
            <a:xfrm>
              <a:off x="3604745" y="206641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0" name="Rectangle 269"/>
            <p:cNvSpPr/>
            <p:nvPr/>
          </p:nvSpPr>
          <p:spPr>
            <a:xfrm>
              <a:off x="3519550" y="206641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1" name="Rectangle 270"/>
            <p:cNvSpPr/>
            <p:nvPr/>
          </p:nvSpPr>
          <p:spPr>
            <a:xfrm>
              <a:off x="3547948" y="206641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2" name="Rectangle 271"/>
            <p:cNvSpPr/>
            <p:nvPr/>
          </p:nvSpPr>
          <p:spPr>
            <a:xfrm>
              <a:off x="3576347" y="206641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3" name="Rectangle 272"/>
            <p:cNvSpPr/>
            <p:nvPr/>
          </p:nvSpPr>
          <p:spPr>
            <a:xfrm>
              <a:off x="3482410" y="2124923"/>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4" name="Rectangle 273"/>
            <p:cNvSpPr/>
            <p:nvPr/>
          </p:nvSpPr>
          <p:spPr>
            <a:xfrm>
              <a:off x="3604743" y="2124926"/>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5" name="Rectangle 274"/>
            <p:cNvSpPr/>
            <p:nvPr/>
          </p:nvSpPr>
          <p:spPr>
            <a:xfrm>
              <a:off x="3519547" y="2124926"/>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6" name="Rectangle 275"/>
            <p:cNvSpPr/>
            <p:nvPr/>
          </p:nvSpPr>
          <p:spPr>
            <a:xfrm>
              <a:off x="3547945" y="2124926"/>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7" name="Rectangle 276"/>
            <p:cNvSpPr/>
            <p:nvPr/>
          </p:nvSpPr>
          <p:spPr>
            <a:xfrm>
              <a:off x="3576344" y="2124931"/>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8" name="Rectangle 277"/>
            <p:cNvSpPr/>
            <p:nvPr/>
          </p:nvSpPr>
          <p:spPr>
            <a:xfrm>
              <a:off x="3605263" y="203738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79" name="Rectangle 278"/>
            <p:cNvSpPr/>
            <p:nvPr/>
          </p:nvSpPr>
          <p:spPr>
            <a:xfrm>
              <a:off x="3482420" y="2090886"/>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80" name="Rectangle 279"/>
            <p:cNvSpPr/>
            <p:nvPr/>
          </p:nvSpPr>
          <p:spPr>
            <a:xfrm>
              <a:off x="3543829" y="2090902"/>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sp>
          <p:nvSpPr>
            <p:cNvPr id="281" name="Rectangle 280"/>
            <p:cNvSpPr/>
            <p:nvPr/>
          </p:nvSpPr>
          <p:spPr>
            <a:xfrm>
              <a:off x="3605268" y="2090849"/>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JPN" pitchFamily="2" charset="-128"/>
                <a:ea typeface="CiscoSansJPN" pitchFamily="2" charset="-128"/>
                <a:cs typeface="CiscoSansJPN" pitchFamily="2" charset="-128"/>
              </a:endParaRPr>
            </a:p>
          </p:txBody>
        </p:sp>
      </p:grpSp>
      <p:sp>
        <p:nvSpPr>
          <p:cNvPr id="282" name="Freeform 411"/>
          <p:cNvSpPr>
            <a:spLocks noChangeAspect="1" noEditPoints="1"/>
          </p:cNvSpPr>
          <p:nvPr/>
        </p:nvSpPr>
        <p:spPr bwMode="auto">
          <a:xfrm>
            <a:off x="473727" y="1155632"/>
            <a:ext cx="491389" cy="491389"/>
          </a:xfrm>
          <a:custGeom>
            <a:avLst/>
            <a:gdLst>
              <a:gd name="T0" fmla="*/ 1717 w 1741"/>
              <a:gd name="T1" fmla="*/ 292 h 1847"/>
              <a:gd name="T2" fmla="*/ 1604 w 1741"/>
              <a:gd name="T3" fmla="*/ 299 h 1847"/>
              <a:gd name="T4" fmla="*/ 1491 w 1741"/>
              <a:gd name="T5" fmla="*/ 294 h 1847"/>
              <a:gd name="T6" fmla="*/ 1393 w 1741"/>
              <a:gd name="T7" fmla="*/ 282 h 1847"/>
              <a:gd name="T8" fmla="*/ 1288 w 1741"/>
              <a:gd name="T9" fmla="*/ 259 h 1847"/>
              <a:gd name="T10" fmla="*/ 1179 w 1741"/>
              <a:gd name="T11" fmla="*/ 222 h 1847"/>
              <a:gd name="T12" fmla="*/ 1072 w 1741"/>
              <a:gd name="T13" fmla="*/ 169 h 1847"/>
              <a:gd name="T14" fmla="*/ 968 w 1741"/>
              <a:gd name="T15" fmla="*/ 97 h 1847"/>
              <a:gd name="T16" fmla="*/ 919 w 1741"/>
              <a:gd name="T17" fmla="*/ 53 h 1847"/>
              <a:gd name="T18" fmla="*/ 872 w 1741"/>
              <a:gd name="T19" fmla="*/ 3 h 1847"/>
              <a:gd name="T20" fmla="*/ 871 w 1741"/>
              <a:gd name="T21" fmla="*/ 1 h 1847"/>
              <a:gd name="T22" fmla="*/ 869 w 1741"/>
              <a:gd name="T23" fmla="*/ 3 h 1847"/>
              <a:gd name="T24" fmla="*/ 839 w 1741"/>
              <a:gd name="T25" fmla="*/ 36 h 1847"/>
              <a:gd name="T26" fmla="*/ 791 w 1741"/>
              <a:gd name="T27" fmla="*/ 83 h 1847"/>
              <a:gd name="T28" fmla="*/ 705 w 1741"/>
              <a:gd name="T29" fmla="*/ 148 h 1847"/>
              <a:gd name="T30" fmla="*/ 599 w 1741"/>
              <a:gd name="T31" fmla="*/ 207 h 1847"/>
              <a:gd name="T32" fmla="*/ 490 w 1741"/>
              <a:gd name="T33" fmla="*/ 249 h 1847"/>
              <a:gd name="T34" fmla="*/ 383 w 1741"/>
              <a:gd name="T35" fmla="*/ 276 h 1847"/>
              <a:gd name="T36" fmla="*/ 282 w 1741"/>
              <a:gd name="T37" fmla="*/ 291 h 1847"/>
              <a:gd name="T38" fmla="*/ 191 w 1741"/>
              <a:gd name="T39" fmla="*/ 299 h 1847"/>
              <a:gd name="T40" fmla="*/ 53 w 1741"/>
              <a:gd name="T41" fmla="*/ 295 h 1847"/>
              <a:gd name="T42" fmla="*/ 0 w 1741"/>
              <a:gd name="T43" fmla="*/ 289 h 1847"/>
              <a:gd name="T44" fmla="*/ 2 w 1741"/>
              <a:gd name="T45" fmla="*/ 413 h 1847"/>
              <a:gd name="T46" fmla="*/ 13 w 1741"/>
              <a:gd name="T47" fmla="*/ 548 h 1847"/>
              <a:gd name="T48" fmla="*/ 35 w 1741"/>
              <a:gd name="T49" fmla="*/ 719 h 1847"/>
              <a:gd name="T50" fmla="*/ 75 w 1741"/>
              <a:gd name="T51" fmla="*/ 911 h 1847"/>
              <a:gd name="T52" fmla="*/ 113 w 1741"/>
              <a:gd name="T53" fmla="*/ 1045 h 1847"/>
              <a:gd name="T54" fmla="*/ 149 w 1741"/>
              <a:gd name="T55" fmla="*/ 1147 h 1847"/>
              <a:gd name="T56" fmla="*/ 193 w 1741"/>
              <a:gd name="T57" fmla="*/ 1248 h 1847"/>
              <a:gd name="T58" fmla="*/ 244 w 1741"/>
              <a:gd name="T59" fmla="*/ 1346 h 1847"/>
              <a:gd name="T60" fmla="*/ 303 w 1741"/>
              <a:gd name="T61" fmla="*/ 1441 h 1847"/>
              <a:gd name="T62" fmla="*/ 372 w 1741"/>
              <a:gd name="T63" fmla="*/ 1531 h 1847"/>
              <a:gd name="T64" fmla="*/ 450 w 1741"/>
              <a:gd name="T65" fmla="*/ 1613 h 1847"/>
              <a:gd name="T66" fmla="*/ 538 w 1741"/>
              <a:gd name="T67" fmla="*/ 1688 h 1847"/>
              <a:gd name="T68" fmla="*/ 637 w 1741"/>
              <a:gd name="T69" fmla="*/ 1752 h 1847"/>
              <a:gd name="T70" fmla="*/ 747 w 1741"/>
              <a:gd name="T71" fmla="*/ 1805 h 1847"/>
              <a:gd name="T72" fmla="*/ 869 w 1741"/>
              <a:gd name="T73" fmla="*/ 1846 h 1847"/>
              <a:gd name="T74" fmla="*/ 871 w 1741"/>
              <a:gd name="T75" fmla="*/ 1847 h 1847"/>
              <a:gd name="T76" fmla="*/ 872 w 1741"/>
              <a:gd name="T77" fmla="*/ 1846 h 1847"/>
              <a:gd name="T78" fmla="*/ 956 w 1741"/>
              <a:gd name="T79" fmla="*/ 1820 h 1847"/>
              <a:gd name="T80" fmla="*/ 1070 w 1741"/>
              <a:gd name="T81" fmla="*/ 1771 h 1847"/>
              <a:gd name="T82" fmla="*/ 1172 w 1741"/>
              <a:gd name="T83" fmla="*/ 1710 h 1847"/>
              <a:gd name="T84" fmla="*/ 1264 w 1741"/>
              <a:gd name="T85" fmla="*/ 1639 h 1847"/>
              <a:gd name="T86" fmla="*/ 1345 w 1741"/>
              <a:gd name="T87" fmla="*/ 1559 h 1847"/>
              <a:gd name="T88" fmla="*/ 1417 w 1741"/>
              <a:gd name="T89" fmla="*/ 1472 h 1847"/>
              <a:gd name="T90" fmla="*/ 1479 w 1741"/>
              <a:gd name="T91" fmla="*/ 1379 h 1847"/>
              <a:gd name="T92" fmla="*/ 1533 w 1741"/>
              <a:gd name="T93" fmla="*/ 1281 h 1847"/>
              <a:gd name="T94" fmla="*/ 1579 w 1741"/>
              <a:gd name="T95" fmla="*/ 1181 h 1847"/>
              <a:gd name="T96" fmla="*/ 1618 w 1741"/>
              <a:gd name="T97" fmla="*/ 1079 h 1847"/>
              <a:gd name="T98" fmla="*/ 1649 w 1741"/>
              <a:gd name="T99" fmla="*/ 978 h 1847"/>
              <a:gd name="T100" fmla="*/ 1696 w 1741"/>
              <a:gd name="T101" fmla="*/ 781 h 1847"/>
              <a:gd name="T102" fmla="*/ 1724 w 1741"/>
              <a:gd name="T103" fmla="*/ 602 h 1847"/>
              <a:gd name="T104" fmla="*/ 1737 w 1741"/>
              <a:gd name="T105" fmla="*/ 454 h 1847"/>
              <a:gd name="T106" fmla="*/ 1741 w 1741"/>
              <a:gd name="T107" fmla="*/ 305 h 1847"/>
              <a:gd name="T108" fmla="*/ 1128 w 1741"/>
              <a:gd name="T109" fmla="*/ 1219 h 1847"/>
              <a:gd name="T110" fmla="*/ 682 w 1741"/>
              <a:gd name="T111" fmla="*/ 962 h 1847"/>
              <a:gd name="T112" fmla="*/ 864 w 1741"/>
              <a:gd name="T113" fmla="*/ 479 h 1847"/>
              <a:gd name="T114" fmla="*/ 1074 w 1741"/>
              <a:gd name="T115" fmla="*/ 950 h 1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1" h="1847">
                <a:moveTo>
                  <a:pt x="1741" y="289"/>
                </a:moveTo>
                <a:lnTo>
                  <a:pt x="1741" y="289"/>
                </a:lnTo>
                <a:lnTo>
                  <a:pt x="1717" y="292"/>
                </a:lnTo>
                <a:lnTo>
                  <a:pt x="1688" y="295"/>
                </a:lnTo>
                <a:lnTo>
                  <a:pt x="1650" y="297"/>
                </a:lnTo>
                <a:lnTo>
                  <a:pt x="1604" y="299"/>
                </a:lnTo>
                <a:lnTo>
                  <a:pt x="1550" y="299"/>
                </a:lnTo>
                <a:lnTo>
                  <a:pt x="1522" y="296"/>
                </a:lnTo>
                <a:lnTo>
                  <a:pt x="1491" y="294"/>
                </a:lnTo>
                <a:lnTo>
                  <a:pt x="1460" y="291"/>
                </a:lnTo>
                <a:lnTo>
                  <a:pt x="1427" y="287"/>
                </a:lnTo>
                <a:lnTo>
                  <a:pt x="1393" y="282"/>
                </a:lnTo>
                <a:lnTo>
                  <a:pt x="1359" y="276"/>
                </a:lnTo>
                <a:lnTo>
                  <a:pt x="1324" y="268"/>
                </a:lnTo>
                <a:lnTo>
                  <a:pt x="1288" y="259"/>
                </a:lnTo>
                <a:lnTo>
                  <a:pt x="1253" y="249"/>
                </a:lnTo>
                <a:lnTo>
                  <a:pt x="1216" y="236"/>
                </a:lnTo>
                <a:lnTo>
                  <a:pt x="1179" y="222"/>
                </a:lnTo>
                <a:lnTo>
                  <a:pt x="1143" y="207"/>
                </a:lnTo>
                <a:lnTo>
                  <a:pt x="1108" y="188"/>
                </a:lnTo>
                <a:lnTo>
                  <a:pt x="1072" y="169"/>
                </a:lnTo>
                <a:lnTo>
                  <a:pt x="1036" y="148"/>
                </a:lnTo>
                <a:lnTo>
                  <a:pt x="1002" y="123"/>
                </a:lnTo>
                <a:lnTo>
                  <a:pt x="968" y="97"/>
                </a:lnTo>
                <a:lnTo>
                  <a:pt x="952" y="83"/>
                </a:lnTo>
                <a:lnTo>
                  <a:pt x="935" y="68"/>
                </a:lnTo>
                <a:lnTo>
                  <a:pt x="919" y="53"/>
                </a:lnTo>
                <a:lnTo>
                  <a:pt x="903" y="36"/>
                </a:lnTo>
                <a:lnTo>
                  <a:pt x="888" y="20"/>
                </a:lnTo>
                <a:lnTo>
                  <a:pt x="872" y="3"/>
                </a:lnTo>
                <a:lnTo>
                  <a:pt x="872" y="0"/>
                </a:lnTo>
                <a:lnTo>
                  <a:pt x="872" y="0"/>
                </a:lnTo>
                <a:lnTo>
                  <a:pt x="871" y="1"/>
                </a:lnTo>
                <a:lnTo>
                  <a:pt x="871" y="1"/>
                </a:lnTo>
                <a:lnTo>
                  <a:pt x="869" y="0"/>
                </a:lnTo>
                <a:lnTo>
                  <a:pt x="869" y="3"/>
                </a:lnTo>
                <a:lnTo>
                  <a:pt x="869" y="3"/>
                </a:lnTo>
                <a:lnTo>
                  <a:pt x="854" y="20"/>
                </a:lnTo>
                <a:lnTo>
                  <a:pt x="839" y="36"/>
                </a:lnTo>
                <a:lnTo>
                  <a:pt x="823" y="53"/>
                </a:lnTo>
                <a:lnTo>
                  <a:pt x="807" y="68"/>
                </a:lnTo>
                <a:lnTo>
                  <a:pt x="791" y="83"/>
                </a:lnTo>
                <a:lnTo>
                  <a:pt x="774" y="97"/>
                </a:lnTo>
                <a:lnTo>
                  <a:pt x="740" y="123"/>
                </a:lnTo>
                <a:lnTo>
                  <a:pt x="705" y="148"/>
                </a:lnTo>
                <a:lnTo>
                  <a:pt x="670" y="169"/>
                </a:lnTo>
                <a:lnTo>
                  <a:pt x="635" y="188"/>
                </a:lnTo>
                <a:lnTo>
                  <a:pt x="599" y="207"/>
                </a:lnTo>
                <a:lnTo>
                  <a:pt x="562" y="222"/>
                </a:lnTo>
                <a:lnTo>
                  <a:pt x="525" y="236"/>
                </a:lnTo>
                <a:lnTo>
                  <a:pt x="490" y="249"/>
                </a:lnTo>
                <a:lnTo>
                  <a:pt x="454" y="259"/>
                </a:lnTo>
                <a:lnTo>
                  <a:pt x="418" y="268"/>
                </a:lnTo>
                <a:lnTo>
                  <a:pt x="383" y="276"/>
                </a:lnTo>
                <a:lnTo>
                  <a:pt x="349" y="282"/>
                </a:lnTo>
                <a:lnTo>
                  <a:pt x="315" y="287"/>
                </a:lnTo>
                <a:lnTo>
                  <a:pt x="282" y="291"/>
                </a:lnTo>
                <a:lnTo>
                  <a:pt x="250" y="294"/>
                </a:lnTo>
                <a:lnTo>
                  <a:pt x="221" y="296"/>
                </a:lnTo>
                <a:lnTo>
                  <a:pt x="191" y="299"/>
                </a:lnTo>
                <a:lnTo>
                  <a:pt x="138" y="299"/>
                </a:lnTo>
                <a:lnTo>
                  <a:pt x="91" y="297"/>
                </a:lnTo>
                <a:lnTo>
                  <a:pt x="53" y="295"/>
                </a:lnTo>
                <a:lnTo>
                  <a:pt x="25" y="292"/>
                </a:lnTo>
                <a:lnTo>
                  <a:pt x="0" y="289"/>
                </a:lnTo>
                <a:lnTo>
                  <a:pt x="0" y="289"/>
                </a:lnTo>
                <a:lnTo>
                  <a:pt x="0" y="305"/>
                </a:lnTo>
                <a:lnTo>
                  <a:pt x="0" y="346"/>
                </a:lnTo>
                <a:lnTo>
                  <a:pt x="2" y="413"/>
                </a:lnTo>
                <a:lnTo>
                  <a:pt x="4" y="454"/>
                </a:lnTo>
                <a:lnTo>
                  <a:pt x="8" y="498"/>
                </a:lnTo>
                <a:lnTo>
                  <a:pt x="13" y="548"/>
                </a:lnTo>
                <a:lnTo>
                  <a:pt x="19" y="602"/>
                </a:lnTo>
                <a:lnTo>
                  <a:pt x="26" y="659"/>
                </a:lnTo>
                <a:lnTo>
                  <a:pt x="35" y="719"/>
                </a:lnTo>
                <a:lnTo>
                  <a:pt x="46" y="781"/>
                </a:lnTo>
                <a:lnTo>
                  <a:pt x="58" y="845"/>
                </a:lnTo>
                <a:lnTo>
                  <a:pt x="75" y="911"/>
                </a:lnTo>
                <a:lnTo>
                  <a:pt x="92" y="978"/>
                </a:lnTo>
                <a:lnTo>
                  <a:pt x="102" y="1012"/>
                </a:lnTo>
                <a:lnTo>
                  <a:pt x="113" y="1045"/>
                </a:lnTo>
                <a:lnTo>
                  <a:pt x="125" y="1079"/>
                </a:lnTo>
                <a:lnTo>
                  <a:pt x="137" y="1114"/>
                </a:lnTo>
                <a:lnTo>
                  <a:pt x="149" y="1147"/>
                </a:lnTo>
                <a:lnTo>
                  <a:pt x="163" y="1181"/>
                </a:lnTo>
                <a:lnTo>
                  <a:pt x="178" y="1214"/>
                </a:lnTo>
                <a:lnTo>
                  <a:pt x="193" y="1248"/>
                </a:lnTo>
                <a:lnTo>
                  <a:pt x="209" y="1281"/>
                </a:lnTo>
                <a:lnTo>
                  <a:pt x="226" y="1314"/>
                </a:lnTo>
                <a:lnTo>
                  <a:pt x="244" y="1346"/>
                </a:lnTo>
                <a:lnTo>
                  <a:pt x="263" y="1379"/>
                </a:lnTo>
                <a:lnTo>
                  <a:pt x="283" y="1410"/>
                </a:lnTo>
                <a:lnTo>
                  <a:pt x="303" y="1441"/>
                </a:lnTo>
                <a:lnTo>
                  <a:pt x="326" y="1472"/>
                </a:lnTo>
                <a:lnTo>
                  <a:pt x="348" y="1501"/>
                </a:lnTo>
                <a:lnTo>
                  <a:pt x="372" y="1531"/>
                </a:lnTo>
                <a:lnTo>
                  <a:pt x="397" y="1559"/>
                </a:lnTo>
                <a:lnTo>
                  <a:pt x="422" y="1587"/>
                </a:lnTo>
                <a:lnTo>
                  <a:pt x="450" y="1613"/>
                </a:lnTo>
                <a:lnTo>
                  <a:pt x="478" y="1639"/>
                </a:lnTo>
                <a:lnTo>
                  <a:pt x="507" y="1663"/>
                </a:lnTo>
                <a:lnTo>
                  <a:pt x="538" y="1688"/>
                </a:lnTo>
                <a:lnTo>
                  <a:pt x="569" y="1710"/>
                </a:lnTo>
                <a:lnTo>
                  <a:pt x="603" y="1732"/>
                </a:lnTo>
                <a:lnTo>
                  <a:pt x="637" y="1752"/>
                </a:lnTo>
                <a:lnTo>
                  <a:pt x="672" y="1771"/>
                </a:lnTo>
                <a:lnTo>
                  <a:pt x="709" y="1789"/>
                </a:lnTo>
                <a:lnTo>
                  <a:pt x="747" y="1805"/>
                </a:lnTo>
                <a:lnTo>
                  <a:pt x="787" y="1820"/>
                </a:lnTo>
                <a:lnTo>
                  <a:pt x="827" y="1834"/>
                </a:lnTo>
                <a:lnTo>
                  <a:pt x="869" y="1846"/>
                </a:lnTo>
                <a:lnTo>
                  <a:pt x="869" y="1847"/>
                </a:lnTo>
                <a:lnTo>
                  <a:pt x="869" y="1847"/>
                </a:lnTo>
                <a:lnTo>
                  <a:pt x="871" y="1847"/>
                </a:lnTo>
                <a:lnTo>
                  <a:pt x="871" y="1847"/>
                </a:lnTo>
                <a:lnTo>
                  <a:pt x="872" y="1847"/>
                </a:lnTo>
                <a:lnTo>
                  <a:pt x="872" y="1846"/>
                </a:lnTo>
                <a:lnTo>
                  <a:pt x="872" y="1846"/>
                </a:lnTo>
                <a:lnTo>
                  <a:pt x="915" y="1834"/>
                </a:lnTo>
                <a:lnTo>
                  <a:pt x="956" y="1820"/>
                </a:lnTo>
                <a:lnTo>
                  <a:pt x="995" y="1805"/>
                </a:lnTo>
                <a:lnTo>
                  <a:pt x="1033" y="1789"/>
                </a:lnTo>
                <a:lnTo>
                  <a:pt x="1070" y="1771"/>
                </a:lnTo>
                <a:lnTo>
                  <a:pt x="1105" y="1752"/>
                </a:lnTo>
                <a:lnTo>
                  <a:pt x="1139" y="1732"/>
                </a:lnTo>
                <a:lnTo>
                  <a:pt x="1172" y="1710"/>
                </a:lnTo>
                <a:lnTo>
                  <a:pt x="1204" y="1688"/>
                </a:lnTo>
                <a:lnTo>
                  <a:pt x="1234" y="1663"/>
                </a:lnTo>
                <a:lnTo>
                  <a:pt x="1264" y="1639"/>
                </a:lnTo>
                <a:lnTo>
                  <a:pt x="1292" y="1613"/>
                </a:lnTo>
                <a:lnTo>
                  <a:pt x="1319" y="1587"/>
                </a:lnTo>
                <a:lnTo>
                  <a:pt x="1345" y="1559"/>
                </a:lnTo>
                <a:lnTo>
                  <a:pt x="1370" y="1531"/>
                </a:lnTo>
                <a:lnTo>
                  <a:pt x="1393" y="1501"/>
                </a:lnTo>
                <a:lnTo>
                  <a:pt x="1417" y="1472"/>
                </a:lnTo>
                <a:lnTo>
                  <a:pt x="1438" y="1441"/>
                </a:lnTo>
                <a:lnTo>
                  <a:pt x="1459" y="1410"/>
                </a:lnTo>
                <a:lnTo>
                  <a:pt x="1479" y="1379"/>
                </a:lnTo>
                <a:lnTo>
                  <a:pt x="1497" y="1346"/>
                </a:lnTo>
                <a:lnTo>
                  <a:pt x="1516" y="1314"/>
                </a:lnTo>
                <a:lnTo>
                  <a:pt x="1533" y="1281"/>
                </a:lnTo>
                <a:lnTo>
                  <a:pt x="1549" y="1248"/>
                </a:lnTo>
                <a:lnTo>
                  <a:pt x="1565" y="1214"/>
                </a:lnTo>
                <a:lnTo>
                  <a:pt x="1579" y="1181"/>
                </a:lnTo>
                <a:lnTo>
                  <a:pt x="1592" y="1147"/>
                </a:lnTo>
                <a:lnTo>
                  <a:pt x="1605" y="1114"/>
                </a:lnTo>
                <a:lnTo>
                  <a:pt x="1618" y="1079"/>
                </a:lnTo>
                <a:lnTo>
                  <a:pt x="1629" y="1045"/>
                </a:lnTo>
                <a:lnTo>
                  <a:pt x="1639" y="1012"/>
                </a:lnTo>
                <a:lnTo>
                  <a:pt x="1649" y="978"/>
                </a:lnTo>
                <a:lnTo>
                  <a:pt x="1668" y="911"/>
                </a:lnTo>
                <a:lnTo>
                  <a:pt x="1683" y="845"/>
                </a:lnTo>
                <a:lnTo>
                  <a:pt x="1696" y="781"/>
                </a:lnTo>
                <a:lnTo>
                  <a:pt x="1707" y="719"/>
                </a:lnTo>
                <a:lnTo>
                  <a:pt x="1717" y="659"/>
                </a:lnTo>
                <a:lnTo>
                  <a:pt x="1724" y="602"/>
                </a:lnTo>
                <a:lnTo>
                  <a:pt x="1730" y="548"/>
                </a:lnTo>
                <a:lnTo>
                  <a:pt x="1734" y="498"/>
                </a:lnTo>
                <a:lnTo>
                  <a:pt x="1737" y="454"/>
                </a:lnTo>
                <a:lnTo>
                  <a:pt x="1739" y="413"/>
                </a:lnTo>
                <a:lnTo>
                  <a:pt x="1741" y="346"/>
                </a:lnTo>
                <a:lnTo>
                  <a:pt x="1741" y="305"/>
                </a:lnTo>
                <a:lnTo>
                  <a:pt x="1741" y="289"/>
                </a:lnTo>
                <a:lnTo>
                  <a:pt x="1741" y="289"/>
                </a:lnTo>
                <a:close/>
                <a:moveTo>
                  <a:pt x="1128" y="1219"/>
                </a:moveTo>
                <a:lnTo>
                  <a:pt x="881" y="1098"/>
                </a:lnTo>
                <a:lnTo>
                  <a:pt x="643" y="1233"/>
                </a:lnTo>
                <a:lnTo>
                  <a:pt x="682" y="962"/>
                </a:lnTo>
                <a:lnTo>
                  <a:pt x="480" y="775"/>
                </a:lnTo>
                <a:lnTo>
                  <a:pt x="750" y="728"/>
                </a:lnTo>
                <a:lnTo>
                  <a:pt x="864" y="479"/>
                </a:lnTo>
                <a:lnTo>
                  <a:pt x="993" y="721"/>
                </a:lnTo>
                <a:lnTo>
                  <a:pt x="1265" y="752"/>
                </a:lnTo>
                <a:lnTo>
                  <a:pt x="1074" y="950"/>
                </a:lnTo>
                <a:lnTo>
                  <a:pt x="1128" y="1219"/>
                </a:lnTo>
                <a:close/>
              </a:path>
            </a:pathLst>
          </a:custGeom>
          <a:solidFill>
            <a:srgbClr val="FFFFFF"/>
          </a:solidFill>
          <a:ln>
            <a:noFill/>
          </a:ln>
        </p:spPr>
        <p:txBody>
          <a:bodyPr vert="horz" wrap="square" lIns="68562" tIns="34281" rIns="68562" bIns="34281" numCol="1" anchor="t" anchorCtr="0" compatLnSpc="1">
            <a:prstTxWarp prst="textNoShape">
              <a:avLst/>
            </a:prstTxWarp>
          </a:bodyPr>
          <a:lstStyle/>
          <a:p>
            <a:pPr defTabSz="514289">
              <a:defRPr/>
            </a:pPr>
            <a:endParaRPr lang="en-US" sz="1350" kern="0" dirty="0">
              <a:solidFill>
                <a:srgbClr val="676767"/>
              </a:solidFill>
              <a:latin typeface="CiscoSansJPN" pitchFamily="2" charset="-128"/>
              <a:ea typeface="CiscoSansJPN" pitchFamily="2" charset="-128"/>
              <a:cs typeface="CiscoSansJPN" pitchFamily="2" charset="-128"/>
            </a:endParaRPr>
          </a:p>
        </p:txBody>
      </p:sp>
      <p:sp>
        <p:nvSpPr>
          <p:cNvPr id="80" name="TextBox 79"/>
          <p:cNvSpPr txBox="1"/>
          <p:nvPr/>
        </p:nvSpPr>
        <p:spPr>
          <a:xfrm>
            <a:off x="5703741" y="2206998"/>
            <a:ext cx="3302117" cy="1138773"/>
          </a:xfrm>
          <a:prstGeom prst="rect">
            <a:avLst/>
          </a:prstGeom>
          <a:noFill/>
        </p:spPr>
        <p:txBody>
          <a:bodyPr wrap="square" rtlCol="0">
            <a:spAutoFit/>
          </a:bodyPr>
          <a:lstStyle/>
          <a:p>
            <a:pPr defTabSz="685628"/>
            <a:r>
              <a:rPr lang="en-US" sz="1600" dirty="0">
                <a:solidFill>
                  <a:schemeClr val="bg2"/>
                </a:solidFill>
                <a:latin typeface="CiscoSansJPN" pitchFamily="2" charset="-128"/>
                <a:ea typeface="CiscoSansJPN" pitchFamily="2" charset="-128"/>
                <a:cs typeface="CiscoSansJPN" pitchFamily="2" charset="-128"/>
              </a:rPr>
              <a:t>Cognitive Intelligence </a:t>
            </a:r>
          </a:p>
          <a:p>
            <a:pPr defTabSz="685628"/>
            <a:r>
              <a:rPr lang="en-US" sz="1600" dirty="0">
                <a:solidFill>
                  <a:schemeClr val="bg2"/>
                </a:solidFill>
                <a:latin typeface="CiscoSansJPN" pitchFamily="2" charset="-128"/>
                <a:ea typeface="CiscoSansJPN" pitchFamily="2" charset="-128"/>
                <a:cs typeface="CiscoSansJPN" pitchFamily="2" charset="-128"/>
              </a:rPr>
              <a:t>(FY19)</a:t>
            </a:r>
          </a:p>
          <a:p>
            <a:pPr defTabSz="685628"/>
            <a:r>
              <a:rPr lang="en-US" sz="1200" dirty="0">
                <a:solidFill>
                  <a:schemeClr val="bg2"/>
                </a:solidFill>
                <a:latin typeface="CiscoSansJPN" pitchFamily="2" charset="-128"/>
                <a:ea typeface="CiscoSansJPN" pitchFamily="2" charset="-128"/>
                <a:cs typeface="CiscoSansJPN" pitchFamily="2" charset="-128"/>
              </a:rPr>
              <a:t>Cognitive</a:t>
            </a:r>
            <a:r>
              <a:rPr lang="ja-JP" altLang="en-US" sz="1200">
                <a:solidFill>
                  <a:schemeClr val="bg2"/>
                </a:solidFill>
                <a:latin typeface="CiscoSansJPN" pitchFamily="2" charset="-128"/>
                <a:ea typeface="CiscoSansJPN" pitchFamily="2" charset="-128"/>
                <a:cs typeface="CiscoSansJPN" pitchFamily="2" charset="-128"/>
              </a:rPr>
              <a:t>側で</a:t>
            </a:r>
            <a:r>
              <a:rPr lang="en-US" altLang="ja-JP" sz="1200" dirty="0">
                <a:solidFill>
                  <a:schemeClr val="bg2"/>
                </a:solidFill>
                <a:latin typeface="CiscoSansJPN" pitchFamily="2" charset="-128"/>
                <a:ea typeface="CiscoSansJPN" pitchFamily="2" charset="-128"/>
                <a:cs typeface="CiscoSansJPN" pitchFamily="2" charset="-128"/>
              </a:rPr>
              <a:t>OS</a:t>
            </a:r>
            <a:r>
              <a:rPr lang="ja-JP" altLang="en-US" sz="1200">
                <a:solidFill>
                  <a:schemeClr val="bg2"/>
                </a:solidFill>
                <a:latin typeface="CiscoSansJPN" pitchFamily="2" charset="-128"/>
                <a:ea typeface="CiscoSansJPN" pitchFamily="2" charset="-128"/>
                <a:cs typeface="CiscoSansJPN" pitchFamily="2" charset="-128"/>
              </a:rPr>
              <a:t>内のコマンドなども機械学習し、異常を検出し、更に</a:t>
            </a:r>
            <a:r>
              <a:rPr lang="en-US" altLang="ja-JP" sz="1200" dirty="0">
                <a:solidFill>
                  <a:schemeClr val="bg2"/>
                </a:solidFill>
                <a:latin typeface="CiscoSansJPN" pitchFamily="2" charset="-128"/>
                <a:ea typeface="CiscoSansJPN" pitchFamily="2" charset="-128"/>
                <a:cs typeface="CiscoSansJPN" pitchFamily="2" charset="-128"/>
              </a:rPr>
              <a:t>AMP</a:t>
            </a:r>
            <a:r>
              <a:rPr lang="ja-JP" altLang="en-US" sz="1200">
                <a:solidFill>
                  <a:schemeClr val="bg2"/>
                </a:solidFill>
                <a:latin typeface="CiscoSansJPN" pitchFamily="2" charset="-128"/>
                <a:ea typeface="CiscoSansJPN" pitchFamily="2" charset="-128"/>
                <a:cs typeface="CiscoSansJPN" pitchFamily="2" charset="-128"/>
              </a:rPr>
              <a:t>の</a:t>
            </a:r>
            <a:r>
              <a:rPr lang="en-US" altLang="ja-JP" sz="1200" dirty="0">
                <a:solidFill>
                  <a:schemeClr val="bg2"/>
                </a:solidFill>
                <a:latin typeface="CiscoSansJPN" pitchFamily="2" charset="-128"/>
                <a:ea typeface="CiscoSansJPN" pitchFamily="2" charset="-128"/>
                <a:cs typeface="CiscoSansJPN" pitchFamily="2" charset="-128"/>
              </a:rPr>
              <a:t>Cloud</a:t>
            </a:r>
            <a:r>
              <a:rPr lang="ja-JP" altLang="en-US" sz="1200">
                <a:solidFill>
                  <a:schemeClr val="bg2"/>
                </a:solidFill>
                <a:latin typeface="CiscoSansJPN" pitchFamily="2" charset="-128"/>
                <a:ea typeface="CiscoSansJPN" pitchFamily="2" charset="-128"/>
                <a:cs typeface="CiscoSansJPN" pitchFamily="2" charset="-128"/>
              </a:rPr>
              <a:t> </a:t>
            </a:r>
            <a:r>
              <a:rPr lang="en-US" altLang="ja-JP" sz="1200" dirty="0" err="1">
                <a:solidFill>
                  <a:schemeClr val="bg2"/>
                </a:solidFill>
                <a:latin typeface="CiscoSansJPN" pitchFamily="2" charset="-128"/>
                <a:ea typeface="CiscoSansJPN" pitchFamily="2" charset="-128"/>
                <a:cs typeface="CiscoSansJPN" pitchFamily="2" charset="-128"/>
              </a:rPr>
              <a:t>IoC</a:t>
            </a:r>
            <a:r>
              <a:rPr lang="ja-JP" altLang="en-US" sz="1200">
                <a:solidFill>
                  <a:schemeClr val="bg2"/>
                </a:solidFill>
                <a:latin typeface="CiscoSansJPN" pitchFamily="2" charset="-128"/>
                <a:ea typeface="CiscoSansJPN" pitchFamily="2" charset="-128"/>
                <a:cs typeface="CiscoSansJPN" pitchFamily="2" charset="-128"/>
              </a:rPr>
              <a:t>へ新規シグニチャを追加する</a:t>
            </a:r>
            <a:endParaRPr lang="en-US" sz="1050" dirty="0">
              <a:solidFill>
                <a:schemeClr val="bg2"/>
              </a:solidFill>
              <a:latin typeface="CiscoSansJPN" pitchFamily="2" charset="-128"/>
              <a:ea typeface="CiscoSansJPN" pitchFamily="2" charset="-128"/>
              <a:cs typeface="CiscoSansJPN" pitchFamily="2" charset="-128"/>
            </a:endParaRPr>
          </a:p>
        </p:txBody>
      </p:sp>
      <p:sp>
        <p:nvSpPr>
          <p:cNvPr id="84" name="Rectangle 83"/>
          <p:cNvSpPr/>
          <p:nvPr/>
        </p:nvSpPr>
        <p:spPr>
          <a:xfrm rot="5400000">
            <a:off x="4751440" y="3563053"/>
            <a:ext cx="769041" cy="805073"/>
          </a:xfrm>
          <a:prstGeom prst="rect">
            <a:avLst/>
          </a:prstGeom>
          <a:solidFill>
            <a:srgbClr val="555558"/>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JPN" pitchFamily="2" charset="-128"/>
              <a:ea typeface="CiscoSansJPN" pitchFamily="2" charset="-128"/>
              <a:cs typeface="CiscoSansJPN" pitchFamily="2" charset="-128"/>
            </a:endParaRPr>
          </a:p>
        </p:txBody>
      </p:sp>
      <p:sp>
        <p:nvSpPr>
          <p:cNvPr id="91" name="Freeform 116"/>
          <p:cNvSpPr>
            <a:spLocks noEditPoints="1"/>
          </p:cNvSpPr>
          <p:nvPr/>
        </p:nvSpPr>
        <p:spPr bwMode="auto">
          <a:xfrm>
            <a:off x="4897864" y="2401262"/>
            <a:ext cx="470246" cy="496979"/>
          </a:xfrm>
          <a:custGeom>
            <a:avLst/>
            <a:gdLst>
              <a:gd name="T0" fmla="*/ 656 w 846"/>
              <a:gd name="T1" fmla="*/ 748 h 849"/>
              <a:gd name="T2" fmla="*/ 622 w 846"/>
              <a:gd name="T3" fmla="*/ 678 h 849"/>
              <a:gd name="T4" fmla="*/ 695 w 846"/>
              <a:gd name="T5" fmla="*/ 597 h 849"/>
              <a:gd name="T6" fmla="*/ 768 w 846"/>
              <a:gd name="T7" fmla="*/ 621 h 849"/>
              <a:gd name="T8" fmla="*/ 813 w 846"/>
              <a:gd name="T9" fmla="*/ 600 h 849"/>
              <a:gd name="T10" fmla="*/ 836 w 846"/>
              <a:gd name="T11" fmla="*/ 533 h 849"/>
              <a:gd name="T12" fmla="*/ 815 w 846"/>
              <a:gd name="T13" fmla="*/ 487 h 849"/>
              <a:gd name="T14" fmla="*/ 739 w 846"/>
              <a:gd name="T15" fmla="*/ 460 h 849"/>
              <a:gd name="T16" fmla="*/ 734 w 846"/>
              <a:gd name="T17" fmla="*/ 354 h 849"/>
              <a:gd name="T18" fmla="*/ 807 w 846"/>
              <a:gd name="T19" fmla="*/ 318 h 849"/>
              <a:gd name="T20" fmla="*/ 823 w 846"/>
              <a:gd name="T21" fmla="*/ 272 h 849"/>
              <a:gd name="T22" fmla="*/ 792 w 846"/>
              <a:gd name="T23" fmla="*/ 206 h 849"/>
              <a:gd name="T24" fmla="*/ 744 w 846"/>
              <a:gd name="T25" fmla="*/ 192 h 849"/>
              <a:gd name="T26" fmla="*/ 675 w 846"/>
              <a:gd name="T27" fmla="*/ 225 h 849"/>
              <a:gd name="T28" fmla="*/ 594 w 846"/>
              <a:gd name="T29" fmla="*/ 152 h 849"/>
              <a:gd name="T30" fmla="*/ 622 w 846"/>
              <a:gd name="T31" fmla="*/ 77 h 849"/>
              <a:gd name="T32" fmla="*/ 601 w 846"/>
              <a:gd name="T33" fmla="*/ 31 h 849"/>
              <a:gd name="T34" fmla="*/ 534 w 846"/>
              <a:gd name="T35" fmla="*/ 7 h 849"/>
              <a:gd name="T36" fmla="*/ 485 w 846"/>
              <a:gd name="T37" fmla="*/ 31 h 849"/>
              <a:gd name="T38" fmla="*/ 461 w 846"/>
              <a:gd name="T39" fmla="*/ 104 h 849"/>
              <a:gd name="T40" fmla="*/ 352 w 846"/>
              <a:gd name="T41" fmla="*/ 113 h 849"/>
              <a:gd name="T42" fmla="*/ 318 w 846"/>
              <a:gd name="T43" fmla="*/ 36 h 849"/>
              <a:gd name="T44" fmla="*/ 270 w 846"/>
              <a:gd name="T45" fmla="*/ 23 h 849"/>
              <a:gd name="T46" fmla="*/ 208 w 846"/>
              <a:gd name="T47" fmla="*/ 51 h 849"/>
              <a:gd name="T48" fmla="*/ 188 w 846"/>
              <a:gd name="T49" fmla="*/ 98 h 849"/>
              <a:gd name="T50" fmla="*/ 224 w 846"/>
              <a:gd name="T51" fmla="*/ 171 h 849"/>
              <a:gd name="T52" fmla="*/ 151 w 846"/>
              <a:gd name="T53" fmla="*/ 253 h 849"/>
              <a:gd name="T54" fmla="*/ 75 w 846"/>
              <a:gd name="T55" fmla="*/ 225 h 849"/>
              <a:gd name="T56" fmla="*/ 31 w 846"/>
              <a:gd name="T57" fmla="*/ 246 h 849"/>
              <a:gd name="T58" fmla="*/ 7 w 846"/>
              <a:gd name="T59" fmla="*/ 313 h 849"/>
              <a:gd name="T60" fmla="*/ 29 w 846"/>
              <a:gd name="T61" fmla="*/ 359 h 849"/>
              <a:gd name="T62" fmla="*/ 104 w 846"/>
              <a:gd name="T63" fmla="*/ 386 h 849"/>
              <a:gd name="T64" fmla="*/ 109 w 846"/>
              <a:gd name="T65" fmla="*/ 492 h 849"/>
              <a:gd name="T66" fmla="*/ 36 w 846"/>
              <a:gd name="T67" fmla="*/ 528 h 849"/>
              <a:gd name="T68" fmla="*/ 23 w 846"/>
              <a:gd name="T69" fmla="*/ 577 h 849"/>
              <a:gd name="T70" fmla="*/ 50 w 846"/>
              <a:gd name="T71" fmla="*/ 641 h 849"/>
              <a:gd name="T72" fmla="*/ 102 w 846"/>
              <a:gd name="T73" fmla="*/ 659 h 849"/>
              <a:gd name="T74" fmla="*/ 171 w 846"/>
              <a:gd name="T75" fmla="*/ 624 h 849"/>
              <a:gd name="T76" fmla="*/ 248 w 846"/>
              <a:gd name="T77" fmla="*/ 694 h 849"/>
              <a:gd name="T78" fmla="*/ 227 w 846"/>
              <a:gd name="T79" fmla="*/ 771 h 849"/>
              <a:gd name="T80" fmla="*/ 245 w 846"/>
              <a:gd name="T81" fmla="*/ 818 h 849"/>
              <a:gd name="T82" fmla="*/ 315 w 846"/>
              <a:gd name="T83" fmla="*/ 839 h 849"/>
              <a:gd name="T84" fmla="*/ 360 w 846"/>
              <a:gd name="T85" fmla="*/ 818 h 849"/>
              <a:gd name="T86" fmla="*/ 385 w 846"/>
              <a:gd name="T87" fmla="*/ 745 h 849"/>
              <a:gd name="T88" fmla="*/ 494 w 846"/>
              <a:gd name="T89" fmla="*/ 737 h 849"/>
              <a:gd name="T90" fmla="*/ 524 w 846"/>
              <a:gd name="T91" fmla="*/ 810 h 849"/>
              <a:gd name="T92" fmla="*/ 575 w 846"/>
              <a:gd name="T93" fmla="*/ 828 h 849"/>
              <a:gd name="T94" fmla="*/ 641 w 846"/>
              <a:gd name="T95" fmla="*/ 797 h 849"/>
              <a:gd name="T96" fmla="*/ 656 w 846"/>
              <a:gd name="T97" fmla="*/ 748 h 849"/>
              <a:gd name="T98" fmla="*/ 226 w 846"/>
              <a:gd name="T99" fmla="*/ 518 h 849"/>
              <a:gd name="T100" fmla="*/ 330 w 846"/>
              <a:gd name="T101" fmla="*/ 227 h 849"/>
              <a:gd name="T102" fmla="*/ 620 w 846"/>
              <a:gd name="T103" fmla="*/ 331 h 849"/>
              <a:gd name="T104" fmla="*/ 516 w 846"/>
              <a:gd name="T105" fmla="*/ 623 h 849"/>
              <a:gd name="T106" fmla="*/ 226 w 846"/>
              <a:gd name="T107" fmla="*/ 518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6" h="849">
                <a:moveTo>
                  <a:pt x="656" y="748"/>
                </a:moveTo>
                <a:cubicBezTo>
                  <a:pt x="622" y="678"/>
                  <a:pt x="622" y="678"/>
                  <a:pt x="622" y="678"/>
                </a:cubicBezTo>
                <a:cubicBezTo>
                  <a:pt x="648" y="654"/>
                  <a:pt x="674" y="629"/>
                  <a:pt x="695" y="597"/>
                </a:cubicBezTo>
                <a:cubicBezTo>
                  <a:pt x="768" y="621"/>
                  <a:pt x="768" y="621"/>
                  <a:pt x="768" y="621"/>
                </a:cubicBezTo>
                <a:cubicBezTo>
                  <a:pt x="786" y="631"/>
                  <a:pt x="807" y="621"/>
                  <a:pt x="813" y="600"/>
                </a:cubicBezTo>
                <a:cubicBezTo>
                  <a:pt x="836" y="533"/>
                  <a:pt x="836" y="533"/>
                  <a:pt x="836" y="533"/>
                </a:cubicBezTo>
                <a:cubicBezTo>
                  <a:pt x="846" y="515"/>
                  <a:pt x="836" y="496"/>
                  <a:pt x="815" y="487"/>
                </a:cubicBezTo>
                <a:cubicBezTo>
                  <a:pt x="739" y="460"/>
                  <a:pt x="739" y="460"/>
                  <a:pt x="739" y="460"/>
                </a:cubicBezTo>
                <a:cubicBezTo>
                  <a:pt x="745" y="429"/>
                  <a:pt x="744" y="390"/>
                  <a:pt x="734" y="354"/>
                </a:cubicBezTo>
                <a:cubicBezTo>
                  <a:pt x="807" y="318"/>
                  <a:pt x="807" y="318"/>
                  <a:pt x="807" y="318"/>
                </a:cubicBezTo>
                <a:cubicBezTo>
                  <a:pt x="823" y="310"/>
                  <a:pt x="831" y="289"/>
                  <a:pt x="823" y="272"/>
                </a:cubicBezTo>
                <a:cubicBezTo>
                  <a:pt x="792" y="206"/>
                  <a:pt x="792" y="206"/>
                  <a:pt x="792" y="206"/>
                </a:cubicBezTo>
                <a:cubicBezTo>
                  <a:pt x="786" y="189"/>
                  <a:pt x="765" y="183"/>
                  <a:pt x="744" y="192"/>
                </a:cubicBezTo>
                <a:cubicBezTo>
                  <a:pt x="675" y="225"/>
                  <a:pt x="675" y="225"/>
                  <a:pt x="675" y="225"/>
                </a:cubicBezTo>
                <a:cubicBezTo>
                  <a:pt x="654" y="196"/>
                  <a:pt x="625" y="173"/>
                  <a:pt x="594" y="152"/>
                </a:cubicBezTo>
                <a:cubicBezTo>
                  <a:pt x="622" y="77"/>
                  <a:pt x="622" y="77"/>
                  <a:pt x="622" y="77"/>
                </a:cubicBezTo>
                <a:cubicBezTo>
                  <a:pt x="625" y="57"/>
                  <a:pt x="619" y="41"/>
                  <a:pt x="601" y="31"/>
                </a:cubicBezTo>
                <a:cubicBezTo>
                  <a:pt x="534" y="7"/>
                  <a:pt x="534" y="7"/>
                  <a:pt x="534" y="7"/>
                </a:cubicBezTo>
                <a:cubicBezTo>
                  <a:pt x="513" y="0"/>
                  <a:pt x="492" y="10"/>
                  <a:pt x="485" y="31"/>
                </a:cubicBezTo>
                <a:cubicBezTo>
                  <a:pt x="461" y="104"/>
                  <a:pt x="461" y="104"/>
                  <a:pt x="461" y="104"/>
                </a:cubicBezTo>
                <a:cubicBezTo>
                  <a:pt x="424" y="98"/>
                  <a:pt x="388" y="103"/>
                  <a:pt x="352" y="113"/>
                </a:cubicBezTo>
                <a:cubicBezTo>
                  <a:pt x="318" y="36"/>
                  <a:pt x="318" y="36"/>
                  <a:pt x="318" y="36"/>
                </a:cubicBezTo>
                <a:cubicBezTo>
                  <a:pt x="309" y="21"/>
                  <a:pt x="291" y="13"/>
                  <a:pt x="270" y="23"/>
                </a:cubicBezTo>
                <a:cubicBezTo>
                  <a:pt x="208" y="51"/>
                  <a:pt x="208" y="51"/>
                  <a:pt x="208" y="51"/>
                </a:cubicBezTo>
                <a:cubicBezTo>
                  <a:pt x="188" y="60"/>
                  <a:pt x="180" y="82"/>
                  <a:pt x="188" y="98"/>
                </a:cubicBezTo>
                <a:cubicBezTo>
                  <a:pt x="224" y="171"/>
                  <a:pt x="224" y="171"/>
                  <a:pt x="224" y="171"/>
                </a:cubicBezTo>
                <a:cubicBezTo>
                  <a:pt x="195" y="192"/>
                  <a:pt x="172" y="220"/>
                  <a:pt x="151" y="253"/>
                </a:cubicBezTo>
                <a:cubicBezTo>
                  <a:pt x="75" y="225"/>
                  <a:pt x="75" y="225"/>
                  <a:pt x="75" y="225"/>
                </a:cubicBezTo>
                <a:cubicBezTo>
                  <a:pt x="60" y="219"/>
                  <a:pt x="39" y="228"/>
                  <a:pt x="31" y="246"/>
                </a:cubicBezTo>
                <a:cubicBezTo>
                  <a:pt x="7" y="313"/>
                  <a:pt x="7" y="313"/>
                  <a:pt x="7" y="313"/>
                </a:cubicBezTo>
                <a:cubicBezTo>
                  <a:pt x="0" y="334"/>
                  <a:pt x="10" y="355"/>
                  <a:pt x="29" y="359"/>
                </a:cubicBezTo>
                <a:cubicBezTo>
                  <a:pt x="104" y="386"/>
                  <a:pt x="104" y="386"/>
                  <a:pt x="104" y="386"/>
                </a:cubicBezTo>
                <a:cubicBezTo>
                  <a:pt x="101" y="421"/>
                  <a:pt x="102" y="460"/>
                  <a:pt x="109" y="492"/>
                </a:cubicBezTo>
                <a:cubicBezTo>
                  <a:pt x="36" y="528"/>
                  <a:pt x="36" y="528"/>
                  <a:pt x="36" y="528"/>
                </a:cubicBezTo>
                <a:cubicBezTo>
                  <a:pt x="20" y="536"/>
                  <a:pt x="13" y="558"/>
                  <a:pt x="23" y="577"/>
                </a:cubicBezTo>
                <a:cubicBezTo>
                  <a:pt x="50" y="641"/>
                  <a:pt x="50" y="641"/>
                  <a:pt x="50" y="641"/>
                </a:cubicBezTo>
                <a:cubicBezTo>
                  <a:pt x="60" y="660"/>
                  <a:pt x="81" y="667"/>
                  <a:pt x="102" y="659"/>
                </a:cubicBezTo>
                <a:cubicBezTo>
                  <a:pt x="171" y="624"/>
                  <a:pt x="171" y="624"/>
                  <a:pt x="171" y="624"/>
                </a:cubicBezTo>
                <a:cubicBezTo>
                  <a:pt x="192" y="654"/>
                  <a:pt x="219" y="676"/>
                  <a:pt x="248" y="694"/>
                </a:cubicBezTo>
                <a:cubicBezTo>
                  <a:pt x="227" y="771"/>
                  <a:pt x="227" y="771"/>
                  <a:pt x="227" y="771"/>
                </a:cubicBezTo>
                <a:cubicBezTo>
                  <a:pt x="218" y="789"/>
                  <a:pt x="227" y="810"/>
                  <a:pt x="245" y="818"/>
                </a:cubicBezTo>
                <a:cubicBezTo>
                  <a:pt x="315" y="839"/>
                  <a:pt x="315" y="839"/>
                  <a:pt x="315" y="839"/>
                </a:cubicBezTo>
                <a:cubicBezTo>
                  <a:pt x="333" y="849"/>
                  <a:pt x="351" y="836"/>
                  <a:pt x="360" y="818"/>
                </a:cubicBezTo>
                <a:cubicBezTo>
                  <a:pt x="385" y="745"/>
                  <a:pt x="385" y="745"/>
                  <a:pt x="385" y="745"/>
                </a:cubicBezTo>
                <a:cubicBezTo>
                  <a:pt x="419" y="748"/>
                  <a:pt x="458" y="748"/>
                  <a:pt x="494" y="737"/>
                </a:cubicBezTo>
                <a:cubicBezTo>
                  <a:pt x="524" y="810"/>
                  <a:pt x="524" y="810"/>
                  <a:pt x="524" y="810"/>
                </a:cubicBezTo>
                <a:cubicBezTo>
                  <a:pt x="537" y="828"/>
                  <a:pt x="555" y="836"/>
                  <a:pt x="575" y="828"/>
                </a:cubicBezTo>
                <a:cubicBezTo>
                  <a:pt x="641" y="797"/>
                  <a:pt x="641" y="797"/>
                  <a:pt x="641" y="797"/>
                </a:cubicBezTo>
                <a:cubicBezTo>
                  <a:pt x="656" y="786"/>
                  <a:pt x="664" y="768"/>
                  <a:pt x="656" y="748"/>
                </a:cubicBezTo>
                <a:moveTo>
                  <a:pt x="226" y="518"/>
                </a:moveTo>
                <a:cubicBezTo>
                  <a:pt x="174" y="408"/>
                  <a:pt x="219" y="280"/>
                  <a:pt x="330" y="227"/>
                </a:cubicBezTo>
                <a:cubicBezTo>
                  <a:pt x="438" y="171"/>
                  <a:pt x="567" y="220"/>
                  <a:pt x="620" y="331"/>
                </a:cubicBezTo>
                <a:cubicBezTo>
                  <a:pt x="669" y="439"/>
                  <a:pt x="627" y="571"/>
                  <a:pt x="516" y="623"/>
                </a:cubicBezTo>
                <a:cubicBezTo>
                  <a:pt x="409" y="673"/>
                  <a:pt x="279" y="629"/>
                  <a:pt x="226" y="5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latin typeface="CiscoSansJPN" pitchFamily="2" charset="-128"/>
              <a:ea typeface="CiscoSansJPN" pitchFamily="2" charset="-128"/>
              <a:cs typeface="CiscoSansJPN" pitchFamily="2" charset="-128"/>
            </a:endParaRPr>
          </a:p>
        </p:txBody>
      </p:sp>
      <p:sp>
        <p:nvSpPr>
          <p:cNvPr id="96" name="Freeform 121"/>
          <p:cNvSpPr>
            <a:spLocks noEditPoints="1"/>
          </p:cNvSpPr>
          <p:nvPr/>
        </p:nvSpPr>
        <p:spPr bwMode="auto">
          <a:xfrm>
            <a:off x="5333567" y="2545844"/>
            <a:ext cx="201110" cy="192152"/>
          </a:xfrm>
          <a:custGeom>
            <a:avLst/>
            <a:gdLst>
              <a:gd name="T0" fmla="*/ 177 w 301"/>
              <a:gd name="T1" fmla="*/ 202 h 301"/>
              <a:gd name="T2" fmla="*/ 201 w 301"/>
              <a:gd name="T3" fmla="*/ 124 h 301"/>
              <a:gd name="T4" fmla="*/ 123 w 301"/>
              <a:gd name="T5" fmla="*/ 99 h 301"/>
              <a:gd name="T6" fmla="*/ 99 w 301"/>
              <a:gd name="T7" fmla="*/ 177 h 301"/>
              <a:gd name="T8" fmla="*/ 177 w 301"/>
              <a:gd name="T9" fmla="*/ 202 h 301"/>
              <a:gd name="T10" fmla="*/ 301 w 301"/>
              <a:gd name="T11" fmla="*/ 120 h 301"/>
              <a:gd name="T12" fmla="*/ 297 w 301"/>
              <a:gd name="T13" fmla="*/ 194 h 301"/>
              <a:gd name="T14" fmla="*/ 291 w 301"/>
              <a:gd name="T15" fmla="*/ 200 h 301"/>
              <a:gd name="T16" fmla="*/ 237 w 301"/>
              <a:gd name="T17" fmla="*/ 197 h 301"/>
              <a:gd name="T18" fmla="*/ 229 w 301"/>
              <a:gd name="T19" fmla="*/ 208 h 301"/>
              <a:gd name="T20" fmla="*/ 255 w 301"/>
              <a:gd name="T21" fmla="*/ 257 h 301"/>
              <a:gd name="T22" fmla="*/ 252 w 301"/>
              <a:gd name="T23" fmla="*/ 266 h 301"/>
              <a:gd name="T24" fmla="*/ 187 w 301"/>
              <a:gd name="T25" fmla="*/ 300 h 301"/>
              <a:gd name="T26" fmla="*/ 179 w 301"/>
              <a:gd name="T27" fmla="*/ 297 h 301"/>
              <a:gd name="T28" fmla="*/ 153 w 301"/>
              <a:gd name="T29" fmla="*/ 249 h 301"/>
              <a:gd name="T30" fmla="*/ 140 w 301"/>
              <a:gd name="T31" fmla="*/ 249 h 301"/>
              <a:gd name="T32" fmla="*/ 110 w 301"/>
              <a:gd name="T33" fmla="*/ 295 h 301"/>
              <a:gd name="T34" fmla="*/ 101 w 301"/>
              <a:gd name="T35" fmla="*/ 297 h 301"/>
              <a:gd name="T36" fmla="*/ 41 w 301"/>
              <a:gd name="T37" fmla="*/ 257 h 301"/>
              <a:gd name="T38" fmla="*/ 37 w 301"/>
              <a:gd name="T39" fmla="*/ 248 h 301"/>
              <a:gd name="T40" fmla="*/ 67 w 301"/>
              <a:gd name="T41" fmla="*/ 202 h 301"/>
              <a:gd name="T42" fmla="*/ 63 w 301"/>
              <a:gd name="T43" fmla="*/ 197 h 301"/>
              <a:gd name="T44" fmla="*/ 60 w 301"/>
              <a:gd name="T45" fmla="*/ 191 h 301"/>
              <a:gd name="T46" fmla="*/ 6 w 301"/>
              <a:gd name="T47" fmla="*/ 187 h 301"/>
              <a:gd name="T48" fmla="*/ 0 w 301"/>
              <a:gd name="T49" fmla="*/ 181 h 301"/>
              <a:gd name="T50" fmla="*/ 3 w 301"/>
              <a:gd name="T51" fmla="*/ 107 h 301"/>
              <a:gd name="T52" fmla="*/ 10 w 301"/>
              <a:gd name="T53" fmla="*/ 101 h 301"/>
              <a:gd name="T54" fmla="*/ 63 w 301"/>
              <a:gd name="T55" fmla="*/ 104 h 301"/>
              <a:gd name="T56" fmla="*/ 71 w 301"/>
              <a:gd name="T57" fmla="*/ 93 h 301"/>
              <a:gd name="T58" fmla="*/ 45 w 301"/>
              <a:gd name="T59" fmla="*/ 44 h 301"/>
              <a:gd name="T60" fmla="*/ 49 w 301"/>
              <a:gd name="T61" fmla="*/ 36 h 301"/>
              <a:gd name="T62" fmla="*/ 114 w 301"/>
              <a:gd name="T63" fmla="*/ 1 h 301"/>
              <a:gd name="T64" fmla="*/ 123 w 301"/>
              <a:gd name="T65" fmla="*/ 5 h 301"/>
              <a:gd name="T66" fmla="*/ 148 w 301"/>
              <a:gd name="T67" fmla="*/ 52 h 301"/>
              <a:gd name="T68" fmla="*/ 161 w 301"/>
              <a:gd name="T69" fmla="*/ 54 h 301"/>
              <a:gd name="T70" fmla="*/ 190 w 301"/>
              <a:gd name="T71" fmla="*/ 6 h 301"/>
              <a:gd name="T72" fmla="*/ 200 w 301"/>
              <a:gd name="T73" fmla="*/ 5 h 301"/>
              <a:gd name="T74" fmla="*/ 262 w 301"/>
              <a:gd name="T75" fmla="*/ 44 h 301"/>
              <a:gd name="T76" fmla="*/ 263 w 301"/>
              <a:gd name="T77" fmla="*/ 54 h 301"/>
              <a:gd name="T78" fmla="*/ 234 w 301"/>
              <a:gd name="T79" fmla="*/ 99 h 301"/>
              <a:gd name="T80" fmla="*/ 237 w 301"/>
              <a:gd name="T81" fmla="*/ 106 h 301"/>
              <a:gd name="T82" fmla="*/ 240 w 301"/>
              <a:gd name="T83" fmla="*/ 111 h 301"/>
              <a:gd name="T84" fmla="*/ 294 w 301"/>
              <a:gd name="T85" fmla="*/ 114 h 301"/>
              <a:gd name="T86" fmla="*/ 301 w 301"/>
              <a:gd name="T87"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1" h="301">
                <a:moveTo>
                  <a:pt x="177" y="202"/>
                </a:moveTo>
                <a:cubicBezTo>
                  <a:pt x="206" y="187"/>
                  <a:pt x="216" y="153"/>
                  <a:pt x="201" y="124"/>
                </a:cubicBezTo>
                <a:cubicBezTo>
                  <a:pt x="187" y="96"/>
                  <a:pt x="151" y="84"/>
                  <a:pt x="123" y="99"/>
                </a:cubicBezTo>
                <a:cubicBezTo>
                  <a:pt x="96" y="114"/>
                  <a:pt x="84" y="150"/>
                  <a:pt x="99" y="177"/>
                </a:cubicBezTo>
                <a:cubicBezTo>
                  <a:pt x="114" y="207"/>
                  <a:pt x="149" y="217"/>
                  <a:pt x="177" y="202"/>
                </a:cubicBezTo>
                <a:moveTo>
                  <a:pt x="301" y="120"/>
                </a:moveTo>
                <a:cubicBezTo>
                  <a:pt x="297" y="194"/>
                  <a:pt x="297" y="194"/>
                  <a:pt x="297" y="194"/>
                </a:cubicBezTo>
                <a:cubicBezTo>
                  <a:pt x="297" y="197"/>
                  <a:pt x="294" y="200"/>
                  <a:pt x="291" y="200"/>
                </a:cubicBezTo>
                <a:cubicBezTo>
                  <a:pt x="237" y="197"/>
                  <a:pt x="237" y="197"/>
                  <a:pt x="237" y="197"/>
                </a:cubicBezTo>
                <a:cubicBezTo>
                  <a:pt x="234" y="202"/>
                  <a:pt x="232" y="205"/>
                  <a:pt x="229" y="208"/>
                </a:cubicBezTo>
                <a:cubicBezTo>
                  <a:pt x="255" y="257"/>
                  <a:pt x="255" y="257"/>
                  <a:pt x="255" y="257"/>
                </a:cubicBezTo>
                <a:cubicBezTo>
                  <a:pt x="257" y="261"/>
                  <a:pt x="255" y="264"/>
                  <a:pt x="252" y="266"/>
                </a:cubicBezTo>
                <a:cubicBezTo>
                  <a:pt x="187" y="300"/>
                  <a:pt x="187" y="300"/>
                  <a:pt x="187" y="300"/>
                </a:cubicBezTo>
                <a:cubicBezTo>
                  <a:pt x="184" y="301"/>
                  <a:pt x="180" y="300"/>
                  <a:pt x="179" y="297"/>
                </a:cubicBezTo>
                <a:cubicBezTo>
                  <a:pt x="153" y="249"/>
                  <a:pt x="153" y="249"/>
                  <a:pt x="153" y="249"/>
                </a:cubicBezTo>
                <a:cubicBezTo>
                  <a:pt x="140" y="249"/>
                  <a:pt x="140" y="249"/>
                  <a:pt x="140" y="249"/>
                </a:cubicBezTo>
                <a:cubicBezTo>
                  <a:pt x="110" y="295"/>
                  <a:pt x="110" y="295"/>
                  <a:pt x="110" y="295"/>
                </a:cubicBezTo>
                <a:cubicBezTo>
                  <a:pt x="109" y="298"/>
                  <a:pt x="104" y="298"/>
                  <a:pt x="101" y="297"/>
                </a:cubicBezTo>
                <a:cubicBezTo>
                  <a:pt x="41" y="257"/>
                  <a:pt x="41" y="257"/>
                  <a:pt x="41" y="257"/>
                </a:cubicBezTo>
                <a:cubicBezTo>
                  <a:pt x="37" y="256"/>
                  <a:pt x="36" y="251"/>
                  <a:pt x="37" y="248"/>
                </a:cubicBezTo>
                <a:cubicBezTo>
                  <a:pt x="67" y="202"/>
                  <a:pt x="67" y="202"/>
                  <a:pt x="67" y="202"/>
                </a:cubicBezTo>
                <a:cubicBezTo>
                  <a:pt x="65" y="200"/>
                  <a:pt x="65" y="199"/>
                  <a:pt x="63" y="197"/>
                </a:cubicBezTo>
                <a:cubicBezTo>
                  <a:pt x="62" y="194"/>
                  <a:pt x="62" y="192"/>
                  <a:pt x="60" y="191"/>
                </a:cubicBezTo>
                <a:cubicBezTo>
                  <a:pt x="6" y="187"/>
                  <a:pt x="6" y="187"/>
                  <a:pt x="6" y="187"/>
                </a:cubicBezTo>
                <a:cubicBezTo>
                  <a:pt x="3" y="187"/>
                  <a:pt x="0" y="184"/>
                  <a:pt x="0" y="181"/>
                </a:cubicBezTo>
                <a:cubicBezTo>
                  <a:pt x="3" y="107"/>
                  <a:pt x="3" y="107"/>
                  <a:pt x="3" y="107"/>
                </a:cubicBezTo>
                <a:cubicBezTo>
                  <a:pt x="3" y="104"/>
                  <a:pt x="6" y="101"/>
                  <a:pt x="10" y="101"/>
                </a:cubicBezTo>
                <a:cubicBezTo>
                  <a:pt x="63" y="104"/>
                  <a:pt x="63" y="104"/>
                  <a:pt x="63" y="104"/>
                </a:cubicBezTo>
                <a:cubicBezTo>
                  <a:pt x="67" y="99"/>
                  <a:pt x="68" y="96"/>
                  <a:pt x="71" y="93"/>
                </a:cubicBezTo>
                <a:cubicBezTo>
                  <a:pt x="45" y="44"/>
                  <a:pt x="45" y="44"/>
                  <a:pt x="45" y="44"/>
                </a:cubicBezTo>
                <a:cubicBezTo>
                  <a:pt x="44" y="40"/>
                  <a:pt x="45" y="37"/>
                  <a:pt x="49" y="36"/>
                </a:cubicBezTo>
                <a:cubicBezTo>
                  <a:pt x="114" y="1"/>
                  <a:pt x="114" y="1"/>
                  <a:pt x="114" y="1"/>
                </a:cubicBezTo>
                <a:cubicBezTo>
                  <a:pt x="117" y="0"/>
                  <a:pt x="120" y="1"/>
                  <a:pt x="123" y="5"/>
                </a:cubicBezTo>
                <a:cubicBezTo>
                  <a:pt x="148" y="52"/>
                  <a:pt x="148" y="52"/>
                  <a:pt x="148" y="52"/>
                </a:cubicBezTo>
                <a:cubicBezTo>
                  <a:pt x="153" y="52"/>
                  <a:pt x="156" y="52"/>
                  <a:pt x="161" y="54"/>
                </a:cubicBezTo>
                <a:cubicBezTo>
                  <a:pt x="190" y="6"/>
                  <a:pt x="190" y="6"/>
                  <a:pt x="190" y="6"/>
                </a:cubicBezTo>
                <a:cubicBezTo>
                  <a:pt x="192" y="5"/>
                  <a:pt x="197" y="3"/>
                  <a:pt x="200" y="5"/>
                </a:cubicBezTo>
                <a:cubicBezTo>
                  <a:pt x="262" y="44"/>
                  <a:pt x="262" y="44"/>
                  <a:pt x="262" y="44"/>
                </a:cubicBezTo>
                <a:cubicBezTo>
                  <a:pt x="263" y="45"/>
                  <a:pt x="265" y="50"/>
                  <a:pt x="263" y="54"/>
                </a:cubicBezTo>
                <a:cubicBezTo>
                  <a:pt x="234" y="99"/>
                  <a:pt x="234" y="99"/>
                  <a:pt x="234" y="99"/>
                </a:cubicBezTo>
                <a:cubicBezTo>
                  <a:pt x="236" y="101"/>
                  <a:pt x="236" y="102"/>
                  <a:pt x="237" y="106"/>
                </a:cubicBezTo>
                <a:cubicBezTo>
                  <a:pt x="239" y="107"/>
                  <a:pt x="239" y="109"/>
                  <a:pt x="240" y="111"/>
                </a:cubicBezTo>
                <a:cubicBezTo>
                  <a:pt x="294" y="114"/>
                  <a:pt x="294" y="114"/>
                  <a:pt x="294" y="114"/>
                </a:cubicBezTo>
                <a:cubicBezTo>
                  <a:pt x="297" y="114"/>
                  <a:pt x="301" y="117"/>
                  <a:pt x="301" y="1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latin typeface="CiscoSansJPN" pitchFamily="2" charset="-128"/>
              <a:ea typeface="CiscoSansJPN" pitchFamily="2" charset="-128"/>
              <a:cs typeface="CiscoSansJPN" pitchFamily="2" charset="-128"/>
            </a:endParaRPr>
          </a:p>
        </p:txBody>
      </p:sp>
      <p:sp>
        <p:nvSpPr>
          <p:cNvPr id="97" name="Freeform 122"/>
          <p:cNvSpPr>
            <a:spLocks noEditPoints="1"/>
          </p:cNvSpPr>
          <p:nvPr/>
        </p:nvSpPr>
        <p:spPr bwMode="auto">
          <a:xfrm>
            <a:off x="4783359" y="2784944"/>
            <a:ext cx="243802" cy="226593"/>
          </a:xfrm>
          <a:custGeom>
            <a:avLst/>
            <a:gdLst>
              <a:gd name="T0" fmla="*/ 192 w 337"/>
              <a:gd name="T1" fmla="*/ 228 h 338"/>
              <a:gd name="T2" fmla="*/ 228 w 337"/>
              <a:gd name="T3" fmla="*/ 146 h 338"/>
              <a:gd name="T4" fmla="*/ 146 w 337"/>
              <a:gd name="T5" fmla="*/ 109 h 338"/>
              <a:gd name="T6" fmla="*/ 110 w 337"/>
              <a:gd name="T7" fmla="*/ 191 h 338"/>
              <a:gd name="T8" fmla="*/ 192 w 337"/>
              <a:gd name="T9" fmla="*/ 228 h 338"/>
              <a:gd name="T10" fmla="*/ 337 w 337"/>
              <a:gd name="T11" fmla="*/ 153 h 338"/>
              <a:gd name="T12" fmla="*/ 325 w 337"/>
              <a:gd name="T13" fmla="*/ 232 h 338"/>
              <a:gd name="T14" fmla="*/ 317 w 337"/>
              <a:gd name="T15" fmla="*/ 238 h 338"/>
              <a:gd name="T16" fmla="*/ 258 w 337"/>
              <a:gd name="T17" fmla="*/ 230 h 338"/>
              <a:gd name="T18" fmla="*/ 248 w 337"/>
              <a:gd name="T19" fmla="*/ 242 h 338"/>
              <a:gd name="T20" fmla="*/ 269 w 337"/>
              <a:gd name="T21" fmla="*/ 297 h 338"/>
              <a:gd name="T22" fmla="*/ 265 w 337"/>
              <a:gd name="T23" fmla="*/ 307 h 338"/>
              <a:gd name="T24" fmla="*/ 191 w 337"/>
              <a:gd name="T25" fmla="*/ 336 h 338"/>
              <a:gd name="T26" fmla="*/ 181 w 337"/>
              <a:gd name="T27" fmla="*/ 331 h 338"/>
              <a:gd name="T28" fmla="*/ 160 w 337"/>
              <a:gd name="T29" fmla="*/ 276 h 338"/>
              <a:gd name="T30" fmla="*/ 145 w 337"/>
              <a:gd name="T31" fmla="*/ 274 h 338"/>
              <a:gd name="T32" fmla="*/ 108 w 337"/>
              <a:gd name="T33" fmla="*/ 321 h 338"/>
              <a:gd name="T34" fmla="*/ 98 w 337"/>
              <a:gd name="T35" fmla="*/ 322 h 338"/>
              <a:gd name="T36" fmla="*/ 35 w 337"/>
              <a:gd name="T37" fmla="*/ 271 h 338"/>
              <a:gd name="T38" fmla="*/ 33 w 337"/>
              <a:gd name="T39" fmla="*/ 261 h 338"/>
              <a:gd name="T40" fmla="*/ 71 w 337"/>
              <a:gd name="T41" fmla="*/ 214 h 338"/>
              <a:gd name="T42" fmla="*/ 69 w 337"/>
              <a:gd name="T43" fmla="*/ 207 h 338"/>
              <a:gd name="T44" fmla="*/ 67 w 337"/>
              <a:gd name="T45" fmla="*/ 201 h 338"/>
              <a:gd name="T46" fmla="*/ 7 w 337"/>
              <a:gd name="T47" fmla="*/ 191 h 338"/>
              <a:gd name="T48" fmla="*/ 1 w 337"/>
              <a:gd name="T49" fmla="*/ 183 h 338"/>
              <a:gd name="T50" fmla="*/ 13 w 337"/>
              <a:gd name="T51" fmla="*/ 104 h 338"/>
              <a:gd name="T52" fmla="*/ 21 w 337"/>
              <a:gd name="T53" fmla="*/ 97 h 338"/>
              <a:gd name="T54" fmla="*/ 81 w 337"/>
              <a:gd name="T55" fmla="*/ 107 h 338"/>
              <a:gd name="T56" fmla="*/ 90 w 337"/>
              <a:gd name="T57" fmla="*/ 95 h 338"/>
              <a:gd name="T58" fmla="*/ 69 w 337"/>
              <a:gd name="T59" fmla="*/ 39 h 338"/>
              <a:gd name="T60" fmla="*/ 72 w 337"/>
              <a:gd name="T61" fmla="*/ 29 h 338"/>
              <a:gd name="T62" fmla="*/ 147 w 337"/>
              <a:gd name="T63" fmla="*/ 1 h 338"/>
              <a:gd name="T64" fmla="*/ 157 w 337"/>
              <a:gd name="T65" fmla="*/ 5 h 338"/>
              <a:gd name="T66" fmla="*/ 178 w 337"/>
              <a:gd name="T67" fmla="*/ 61 h 338"/>
              <a:gd name="T68" fmla="*/ 193 w 337"/>
              <a:gd name="T69" fmla="*/ 63 h 338"/>
              <a:gd name="T70" fmla="*/ 231 w 337"/>
              <a:gd name="T71" fmla="*/ 17 h 338"/>
              <a:gd name="T72" fmla="*/ 240 w 337"/>
              <a:gd name="T73" fmla="*/ 15 h 338"/>
              <a:gd name="T74" fmla="*/ 303 w 337"/>
              <a:gd name="T75" fmla="*/ 65 h 338"/>
              <a:gd name="T76" fmla="*/ 305 w 337"/>
              <a:gd name="T77" fmla="*/ 76 h 338"/>
              <a:gd name="T78" fmla="*/ 267 w 337"/>
              <a:gd name="T79" fmla="*/ 123 h 338"/>
              <a:gd name="T80" fmla="*/ 269 w 337"/>
              <a:gd name="T81" fmla="*/ 129 h 338"/>
              <a:gd name="T82" fmla="*/ 271 w 337"/>
              <a:gd name="T83" fmla="*/ 137 h 338"/>
              <a:gd name="T84" fmla="*/ 330 w 337"/>
              <a:gd name="T85" fmla="*/ 145 h 338"/>
              <a:gd name="T86" fmla="*/ 337 w 337"/>
              <a:gd name="T87"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7" h="338">
                <a:moveTo>
                  <a:pt x="192" y="228"/>
                </a:moveTo>
                <a:cubicBezTo>
                  <a:pt x="225" y="215"/>
                  <a:pt x="240" y="178"/>
                  <a:pt x="228" y="146"/>
                </a:cubicBezTo>
                <a:cubicBezTo>
                  <a:pt x="216" y="112"/>
                  <a:pt x="179" y="95"/>
                  <a:pt x="146" y="109"/>
                </a:cubicBezTo>
                <a:cubicBezTo>
                  <a:pt x="113" y="122"/>
                  <a:pt x="97" y="158"/>
                  <a:pt x="110" y="191"/>
                </a:cubicBezTo>
                <a:cubicBezTo>
                  <a:pt x="123" y="225"/>
                  <a:pt x="160" y="240"/>
                  <a:pt x="192" y="228"/>
                </a:cubicBezTo>
                <a:moveTo>
                  <a:pt x="337" y="153"/>
                </a:moveTo>
                <a:cubicBezTo>
                  <a:pt x="325" y="232"/>
                  <a:pt x="325" y="232"/>
                  <a:pt x="325" y="232"/>
                </a:cubicBezTo>
                <a:cubicBezTo>
                  <a:pt x="325" y="237"/>
                  <a:pt x="320" y="239"/>
                  <a:pt x="317" y="238"/>
                </a:cubicBezTo>
                <a:cubicBezTo>
                  <a:pt x="258" y="230"/>
                  <a:pt x="258" y="230"/>
                  <a:pt x="258" y="230"/>
                </a:cubicBezTo>
                <a:cubicBezTo>
                  <a:pt x="255" y="234"/>
                  <a:pt x="251" y="237"/>
                  <a:pt x="248" y="242"/>
                </a:cubicBezTo>
                <a:cubicBezTo>
                  <a:pt x="269" y="297"/>
                  <a:pt x="269" y="297"/>
                  <a:pt x="269" y="297"/>
                </a:cubicBezTo>
                <a:cubicBezTo>
                  <a:pt x="272" y="301"/>
                  <a:pt x="270" y="305"/>
                  <a:pt x="265" y="307"/>
                </a:cubicBezTo>
                <a:cubicBezTo>
                  <a:pt x="191" y="336"/>
                  <a:pt x="191" y="336"/>
                  <a:pt x="191" y="336"/>
                </a:cubicBezTo>
                <a:cubicBezTo>
                  <a:pt x="187" y="338"/>
                  <a:pt x="182" y="335"/>
                  <a:pt x="181" y="331"/>
                </a:cubicBezTo>
                <a:cubicBezTo>
                  <a:pt x="160" y="276"/>
                  <a:pt x="160" y="276"/>
                  <a:pt x="160" y="276"/>
                </a:cubicBezTo>
                <a:cubicBezTo>
                  <a:pt x="155" y="276"/>
                  <a:pt x="150" y="274"/>
                  <a:pt x="145" y="274"/>
                </a:cubicBezTo>
                <a:cubicBezTo>
                  <a:pt x="108" y="321"/>
                  <a:pt x="108" y="321"/>
                  <a:pt x="108" y="321"/>
                </a:cubicBezTo>
                <a:cubicBezTo>
                  <a:pt x="105" y="323"/>
                  <a:pt x="100" y="325"/>
                  <a:pt x="98" y="322"/>
                </a:cubicBezTo>
                <a:cubicBezTo>
                  <a:pt x="35" y="271"/>
                  <a:pt x="35" y="271"/>
                  <a:pt x="35" y="271"/>
                </a:cubicBezTo>
                <a:cubicBezTo>
                  <a:pt x="32" y="268"/>
                  <a:pt x="31" y="264"/>
                  <a:pt x="33" y="261"/>
                </a:cubicBezTo>
                <a:cubicBezTo>
                  <a:pt x="71" y="214"/>
                  <a:pt x="71" y="214"/>
                  <a:pt x="71" y="214"/>
                </a:cubicBezTo>
                <a:cubicBezTo>
                  <a:pt x="69" y="207"/>
                  <a:pt x="69" y="207"/>
                  <a:pt x="69" y="207"/>
                </a:cubicBezTo>
                <a:cubicBezTo>
                  <a:pt x="67" y="201"/>
                  <a:pt x="67" y="201"/>
                  <a:pt x="67" y="201"/>
                </a:cubicBezTo>
                <a:cubicBezTo>
                  <a:pt x="7" y="191"/>
                  <a:pt x="7" y="191"/>
                  <a:pt x="7" y="191"/>
                </a:cubicBezTo>
                <a:cubicBezTo>
                  <a:pt x="4" y="190"/>
                  <a:pt x="0" y="186"/>
                  <a:pt x="1" y="183"/>
                </a:cubicBezTo>
                <a:cubicBezTo>
                  <a:pt x="13" y="104"/>
                  <a:pt x="13" y="104"/>
                  <a:pt x="13" y="104"/>
                </a:cubicBezTo>
                <a:cubicBezTo>
                  <a:pt x="13" y="100"/>
                  <a:pt x="17" y="97"/>
                  <a:pt x="21" y="97"/>
                </a:cubicBezTo>
                <a:cubicBezTo>
                  <a:pt x="81" y="107"/>
                  <a:pt x="81" y="107"/>
                  <a:pt x="81" y="107"/>
                </a:cubicBezTo>
                <a:cubicBezTo>
                  <a:pt x="83" y="103"/>
                  <a:pt x="86" y="98"/>
                  <a:pt x="90" y="95"/>
                </a:cubicBezTo>
                <a:cubicBezTo>
                  <a:pt x="69" y="39"/>
                  <a:pt x="69" y="39"/>
                  <a:pt x="69" y="39"/>
                </a:cubicBezTo>
                <a:cubicBezTo>
                  <a:pt x="66" y="36"/>
                  <a:pt x="68" y="32"/>
                  <a:pt x="72" y="29"/>
                </a:cubicBezTo>
                <a:cubicBezTo>
                  <a:pt x="147" y="1"/>
                  <a:pt x="147" y="1"/>
                  <a:pt x="147" y="1"/>
                </a:cubicBezTo>
                <a:cubicBezTo>
                  <a:pt x="152" y="0"/>
                  <a:pt x="156" y="2"/>
                  <a:pt x="157" y="5"/>
                </a:cubicBezTo>
                <a:cubicBezTo>
                  <a:pt x="178" y="61"/>
                  <a:pt x="178" y="61"/>
                  <a:pt x="178" y="61"/>
                </a:cubicBezTo>
                <a:cubicBezTo>
                  <a:pt x="184" y="61"/>
                  <a:pt x="187" y="62"/>
                  <a:pt x="193" y="63"/>
                </a:cubicBezTo>
                <a:cubicBezTo>
                  <a:pt x="231" y="17"/>
                  <a:pt x="231" y="17"/>
                  <a:pt x="231" y="17"/>
                </a:cubicBezTo>
                <a:cubicBezTo>
                  <a:pt x="233" y="12"/>
                  <a:pt x="238" y="12"/>
                  <a:pt x="240" y="15"/>
                </a:cubicBezTo>
                <a:cubicBezTo>
                  <a:pt x="303" y="65"/>
                  <a:pt x="303" y="65"/>
                  <a:pt x="303" y="65"/>
                </a:cubicBezTo>
                <a:cubicBezTo>
                  <a:pt x="305" y="67"/>
                  <a:pt x="307" y="72"/>
                  <a:pt x="305" y="76"/>
                </a:cubicBezTo>
                <a:cubicBezTo>
                  <a:pt x="267" y="123"/>
                  <a:pt x="267" y="123"/>
                  <a:pt x="267" y="123"/>
                </a:cubicBezTo>
                <a:cubicBezTo>
                  <a:pt x="269" y="129"/>
                  <a:pt x="269" y="129"/>
                  <a:pt x="269" y="129"/>
                </a:cubicBezTo>
                <a:cubicBezTo>
                  <a:pt x="271" y="137"/>
                  <a:pt x="271" y="137"/>
                  <a:pt x="271" y="137"/>
                </a:cubicBezTo>
                <a:cubicBezTo>
                  <a:pt x="330" y="145"/>
                  <a:pt x="330" y="145"/>
                  <a:pt x="330" y="145"/>
                </a:cubicBezTo>
                <a:cubicBezTo>
                  <a:pt x="334" y="145"/>
                  <a:pt x="337" y="149"/>
                  <a:pt x="337" y="1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latin typeface="CiscoSansJPN" pitchFamily="2" charset="-128"/>
              <a:ea typeface="CiscoSansJPN" pitchFamily="2" charset="-128"/>
              <a:cs typeface="CiscoSansJPN" pitchFamily="2" charset="-128"/>
            </a:endParaRPr>
          </a:p>
        </p:txBody>
      </p:sp>
      <p:sp>
        <p:nvSpPr>
          <p:cNvPr id="85" name="TextBox 84"/>
          <p:cNvSpPr txBox="1"/>
          <p:nvPr/>
        </p:nvSpPr>
        <p:spPr>
          <a:xfrm>
            <a:off x="1178424" y="873318"/>
            <a:ext cx="3286780" cy="769441"/>
          </a:xfrm>
          <a:prstGeom prst="rect">
            <a:avLst/>
          </a:prstGeom>
          <a:noFill/>
        </p:spPr>
        <p:txBody>
          <a:bodyPr wrap="square" rtlCol="0">
            <a:spAutoFit/>
          </a:bodyPr>
          <a:lstStyle/>
          <a:p>
            <a:pPr defTabSz="685628"/>
            <a:r>
              <a:rPr lang="en-US" sz="1600" dirty="0">
                <a:solidFill>
                  <a:schemeClr val="bg2"/>
                </a:solidFill>
                <a:latin typeface="CiscoSansJPN" pitchFamily="2" charset="-128"/>
                <a:ea typeface="CiscoSansJPN" pitchFamily="2" charset="-128"/>
                <a:cs typeface="CiscoSansJPN" pitchFamily="2" charset="-128"/>
              </a:rPr>
              <a:t>Exploit Prevention Enhancements (</a:t>
            </a:r>
            <a:r>
              <a:rPr lang="ja-JP" altLang="en-US" sz="1600">
                <a:solidFill>
                  <a:schemeClr val="bg2"/>
                </a:solidFill>
                <a:latin typeface="CiscoSansJPN" pitchFamily="2" charset="-128"/>
                <a:ea typeface="CiscoSansJPN" pitchFamily="2" charset="-128"/>
                <a:cs typeface="CiscoSansJPN" pitchFamily="2" charset="-128"/>
              </a:rPr>
              <a:t>リリース済み</a:t>
            </a:r>
            <a:r>
              <a:rPr lang="en-US" sz="1600" dirty="0">
                <a:solidFill>
                  <a:schemeClr val="bg2"/>
                </a:solidFill>
                <a:latin typeface="CiscoSansJPN" pitchFamily="2" charset="-128"/>
                <a:ea typeface="CiscoSansJPN" pitchFamily="2" charset="-128"/>
                <a:cs typeface="CiscoSansJPN" pitchFamily="2" charset="-128"/>
              </a:rPr>
              <a:t>)</a:t>
            </a:r>
          </a:p>
          <a:p>
            <a:pPr defTabSz="685628"/>
            <a:r>
              <a:rPr lang="en-US" sz="1200" dirty="0">
                <a:solidFill>
                  <a:schemeClr val="bg2"/>
                </a:solidFill>
                <a:latin typeface="CiscoSansJPN" pitchFamily="2" charset="-128"/>
                <a:ea typeface="CiscoSansJPN" pitchFamily="2" charset="-128"/>
                <a:cs typeface="CiscoSansJPN" pitchFamily="2" charset="-128"/>
              </a:rPr>
              <a:t>64-bit</a:t>
            </a:r>
            <a:r>
              <a:rPr lang="ja-JP" altLang="en-US" sz="1200">
                <a:solidFill>
                  <a:schemeClr val="bg2"/>
                </a:solidFill>
                <a:latin typeface="CiscoSansJPN" pitchFamily="2" charset="-128"/>
                <a:ea typeface="CiscoSansJPN" pitchFamily="2" charset="-128"/>
                <a:cs typeface="CiscoSansJPN" pitchFamily="2" charset="-128"/>
              </a:rPr>
              <a:t>プロセスのサポート</a:t>
            </a:r>
            <a:endParaRPr lang="en-US" sz="1200" dirty="0">
              <a:solidFill>
                <a:schemeClr val="bg2"/>
              </a:solidFill>
              <a:latin typeface="CiscoSansJPN" pitchFamily="2" charset="-128"/>
              <a:ea typeface="CiscoSansJPN" pitchFamily="2" charset="-128"/>
              <a:cs typeface="CiscoSansJPN" pitchFamily="2" charset="-128"/>
            </a:endParaRPr>
          </a:p>
        </p:txBody>
      </p:sp>
      <p:sp>
        <p:nvSpPr>
          <p:cNvPr id="86" name="TextBox 85"/>
          <p:cNvSpPr txBox="1"/>
          <p:nvPr/>
        </p:nvSpPr>
        <p:spPr>
          <a:xfrm>
            <a:off x="1241149" y="2144084"/>
            <a:ext cx="3099364" cy="861774"/>
          </a:xfrm>
          <a:prstGeom prst="rect">
            <a:avLst/>
          </a:prstGeom>
          <a:noFill/>
        </p:spPr>
        <p:txBody>
          <a:bodyPr wrap="square" rtlCol="0">
            <a:spAutoFit/>
          </a:bodyPr>
          <a:lstStyle/>
          <a:p>
            <a:pPr defTabSz="685628"/>
            <a:r>
              <a:rPr lang="en-US" sz="1600" dirty="0">
                <a:solidFill>
                  <a:schemeClr val="bg2"/>
                </a:solidFill>
                <a:latin typeface="CiscoSansJPN" pitchFamily="2" charset="-128"/>
                <a:ea typeface="CiscoSansJPN" pitchFamily="2" charset="-128"/>
                <a:cs typeface="CiscoSansJPN" pitchFamily="2" charset="-128"/>
              </a:rPr>
              <a:t>Improved Endpoint Search (2HFY19)</a:t>
            </a:r>
          </a:p>
          <a:p>
            <a:pPr defTabSz="685628"/>
            <a:r>
              <a:rPr lang="ja-JP" altLang="en-US" sz="1200">
                <a:solidFill>
                  <a:schemeClr val="bg2"/>
                </a:solidFill>
                <a:latin typeface="CiscoSansJPN" pitchFamily="2" charset="-128"/>
                <a:ea typeface="CiscoSansJPN" pitchFamily="2" charset="-128"/>
                <a:cs typeface="CiscoSansJPN" pitchFamily="2" charset="-128"/>
              </a:rPr>
              <a:t>サーチ結果の拡張</a:t>
            </a:r>
            <a:r>
              <a:rPr lang="en-US" sz="1200" dirty="0">
                <a:solidFill>
                  <a:schemeClr val="bg2"/>
                </a:solidFill>
                <a:latin typeface="CiscoSansJPN" pitchFamily="2" charset="-128"/>
                <a:ea typeface="CiscoSansJPN" pitchFamily="2" charset="-128"/>
                <a:cs typeface="CiscoSansJPN" pitchFamily="2" charset="-128"/>
              </a:rPr>
              <a:t> </a:t>
            </a:r>
            <a:r>
              <a:rPr lang="en-US" dirty="0">
                <a:solidFill>
                  <a:schemeClr val="bg2"/>
                </a:solidFill>
                <a:latin typeface="CiscoSansJPN" pitchFamily="2" charset="-128"/>
                <a:ea typeface="CiscoSansJPN" pitchFamily="2" charset="-128"/>
                <a:cs typeface="CiscoSansJPN" pitchFamily="2" charset="-128"/>
              </a:rPr>
              <a:t> </a:t>
            </a:r>
            <a:endParaRPr lang="en-US" sz="900" dirty="0">
              <a:solidFill>
                <a:schemeClr val="bg2"/>
              </a:solidFill>
              <a:latin typeface="CiscoSansJPN" pitchFamily="2" charset="-128"/>
              <a:ea typeface="CiscoSansJPN" pitchFamily="2" charset="-128"/>
              <a:cs typeface="CiscoSansJPN" pitchFamily="2" charset="-128"/>
            </a:endParaRPr>
          </a:p>
        </p:txBody>
      </p:sp>
      <p:grpSp>
        <p:nvGrpSpPr>
          <p:cNvPr id="87" name="Group 93"/>
          <p:cNvGrpSpPr/>
          <p:nvPr/>
        </p:nvGrpSpPr>
        <p:grpSpPr>
          <a:xfrm>
            <a:off x="479451" y="2539009"/>
            <a:ext cx="521615" cy="259381"/>
            <a:chOff x="-1316038" y="2065338"/>
            <a:chExt cx="746125" cy="441325"/>
          </a:xfrm>
        </p:grpSpPr>
        <p:sp>
          <p:nvSpPr>
            <p:cNvPr id="88" name="Freeform 12"/>
            <p:cNvSpPr>
              <a:spLocks noEditPoints="1"/>
            </p:cNvSpPr>
            <p:nvPr/>
          </p:nvSpPr>
          <p:spPr bwMode="auto">
            <a:xfrm>
              <a:off x="-1316038" y="2065338"/>
              <a:ext cx="746125" cy="441325"/>
            </a:xfrm>
            <a:custGeom>
              <a:avLst/>
              <a:gdLst/>
              <a:ahLst/>
              <a:cxnLst>
                <a:cxn ang="0">
                  <a:pos x="2155" y="585"/>
                </a:cxn>
                <a:cxn ang="0">
                  <a:pos x="1096" y="0"/>
                </a:cxn>
                <a:cxn ang="0">
                  <a:pos x="36" y="585"/>
                </a:cxn>
                <a:cxn ang="0">
                  <a:pos x="36" y="708"/>
                </a:cxn>
                <a:cxn ang="0">
                  <a:pos x="1096" y="1293"/>
                </a:cxn>
                <a:cxn ang="0">
                  <a:pos x="2155" y="708"/>
                </a:cxn>
                <a:cxn ang="0">
                  <a:pos x="2155" y="585"/>
                </a:cxn>
                <a:cxn ang="0">
                  <a:pos x="1100" y="1117"/>
                </a:cxn>
                <a:cxn ang="0">
                  <a:pos x="631" y="648"/>
                </a:cxn>
                <a:cxn ang="0">
                  <a:pos x="1100" y="179"/>
                </a:cxn>
                <a:cxn ang="0">
                  <a:pos x="1569" y="648"/>
                </a:cxn>
                <a:cxn ang="0">
                  <a:pos x="1100" y="1117"/>
                </a:cxn>
                <a:cxn ang="0">
                  <a:pos x="1100" y="1117"/>
                </a:cxn>
                <a:cxn ang="0">
                  <a:pos x="1100" y="1117"/>
                </a:cxn>
              </a:cxnLst>
              <a:rect l="0" t="0" r="r" b="b"/>
              <a:pathLst>
                <a:path w="2192" h="1293">
                  <a:moveTo>
                    <a:pt x="2155" y="585"/>
                  </a:moveTo>
                  <a:cubicBezTo>
                    <a:pt x="2155" y="585"/>
                    <a:pt x="1567" y="0"/>
                    <a:pt x="1096" y="0"/>
                  </a:cubicBezTo>
                  <a:cubicBezTo>
                    <a:pt x="625" y="0"/>
                    <a:pt x="36" y="585"/>
                    <a:pt x="36" y="585"/>
                  </a:cubicBezTo>
                  <a:cubicBezTo>
                    <a:pt x="0" y="619"/>
                    <a:pt x="0" y="675"/>
                    <a:pt x="36" y="708"/>
                  </a:cubicBezTo>
                  <a:cubicBezTo>
                    <a:pt x="36" y="708"/>
                    <a:pt x="625" y="1293"/>
                    <a:pt x="1096" y="1293"/>
                  </a:cubicBezTo>
                  <a:cubicBezTo>
                    <a:pt x="1567" y="1293"/>
                    <a:pt x="2155" y="708"/>
                    <a:pt x="2155" y="708"/>
                  </a:cubicBezTo>
                  <a:cubicBezTo>
                    <a:pt x="2191" y="674"/>
                    <a:pt x="2192" y="619"/>
                    <a:pt x="2155" y="585"/>
                  </a:cubicBezTo>
                  <a:close/>
                  <a:moveTo>
                    <a:pt x="1100" y="1117"/>
                  </a:moveTo>
                  <a:cubicBezTo>
                    <a:pt x="841" y="1117"/>
                    <a:pt x="631" y="908"/>
                    <a:pt x="631" y="648"/>
                  </a:cubicBezTo>
                  <a:cubicBezTo>
                    <a:pt x="631" y="389"/>
                    <a:pt x="841" y="179"/>
                    <a:pt x="1100" y="179"/>
                  </a:cubicBezTo>
                  <a:cubicBezTo>
                    <a:pt x="1359" y="179"/>
                    <a:pt x="1569" y="389"/>
                    <a:pt x="1569" y="648"/>
                  </a:cubicBezTo>
                  <a:cubicBezTo>
                    <a:pt x="1569" y="907"/>
                    <a:pt x="1359" y="1117"/>
                    <a:pt x="1100" y="1117"/>
                  </a:cubicBezTo>
                  <a:close/>
                  <a:moveTo>
                    <a:pt x="1100" y="1117"/>
                  </a:moveTo>
                  <a:cubicBezTo>
                    <a:pt x="1100" y="1117"/>
                    <a:pt x="1100" y="1117"/>
                    <a:pt x="1100" y="1117"/>
                  </a:cubicBezTo>
                </a:path>
              </a:pathLst>
            </a:custGeom>
            <a:solidFill>
              <a:srgbClr val="FFFFFF"/>
            </a:solidFill>
            <a:ln w="9525">
              <a:noFill/>
              <a:round/>
              <a:headEnd/>
              <a:tailEnd/>
            </a:ln>
          </p:spPr>
          <p:txBody>
            <a:bodyPr vert="horz" wrap="square" lIns="91416" tIns="45708" rIns="91416" bIns="45708" numCol="1" anchor="t" anchorCtr="0" compatLnSpc="1">
              <a:prstTxWarp prst="textNoShape">
                <a:avLst/>
              </a:prstTxWarp>
            </a:bodyPr>
            <a:lstStyle/>
            <a:p>
              <a:pPr defTabSz="685628">
                <a:defRPr/>
              </a:pPr>
              <a:endParaRPr lang="en-US" sz="1350" kern="0" dirty="0">
                <a:solidFill>
                  <a:srgbClr val="676767"/>
                </a:solidFill>
                <a:latin typeface="CiscoSansJPN" pitchFamily="2" charset="-128"/>
                <a:ea typeface="CiscoSansJPN" pitchFamily="2" charset="-128"/>
                <a:cs typeface="CiscoSansJPN" pitchFamily="2" charset="-128"/>
              </a:endParaRPr>
            </a:p>
          </p:txBody>
        </p:sp>
        <p:sp>
          <p:nvSpPr>
            <p:cNvPr id="89" name="Freeform 13"/>
            <p:cNvSpPr>
              <a:spLocks noEditPoints="1"/>
            </p:cNvSpPr>
            <p:nvPr/>
          </p:nvSpPr>
          <p:spPr bwMode="auto">
            <a:xfrm>
              <a:off x="-1044576" y="2182813"/>
              <a:ext cx="203200" cy="204788"/>
            </a:xfrm>
            <a:custGeom>
              <a:avLst/>
              <a:gdLst/>
              <a:ahLst/>
              <a:cxnLst>
                <a:cxn ang="0">
                  <a:pos x="298" y="0"/>
                </a:cxn>
                <a:cxn ang="0">
                  <a:pos x="0" y="299"/>
                </a:cxn>
                <a:cxn ang="0">
                  <a:pos x="298" y="598"/>
                </a:cxn>
                <a:cxn ang="0">
                  <a:pos x="596" y="299"/>
                </a:cxn>
                <a:cxn ang="0">
                  <a:pos x="298" y="0"/>
                </a:cxn>
                <a:cxn ang="0">
                  <a:pos x="410" y="300"/>
                </a:cxn>
                <a:cxn ang="0">
                  <a:pos x="318" y="207"/>
                </a:cxn>
                <a:cxn ang="0">
                  <a:pos x="410" y="114"/>
                </a:cxn>
                <a:cxn ang="0">
                  <a:pos x="503" y="207"/>
                </a:cxn>
                <a:cxn ang="0">
                  <a:pos x="410" y="300"/>
                </a:cxn>
                <a:cxn ang="0">
                  <a:pos x="410" y="300"/>
                </a:cxn>
                <a:cxn ang="0">
                  <a:pos x="410" y="300"/>
                </a:cxn>
              </a:cxnLst>
              <a:rect l="0" t="0" r="r" b="b"/>
              <a:pathLst>
                <a:path w="596" h="598">
                  <a:moveTo>
                    <a:pt x="298" y="0"/>
                  </a:moveTo>
                  <a:cubicBezTo>
                    <a:pt x="133" y="0"/>
                    <a:pt x="0" y="134"/>
                    <a:pt x="0" y="299"/>
                  </a:cubicBezTo>
                  <a:cubicBezTo>
                    <a:pt x="0" y="464"/>
                    <a:pt x="133" y="598"/>
                    <a:pt x="298" y="598"/>
                  </a:cubicBezTo>
                  <a:cubicBezTo>
                    <a:pt x="462" y="598"/>
                    <a:pt x="596" y="464"/>
                    <a:pt x="596" y="299"/>
                  </a:cubicBezTo>
                  <a:cubicBezTo>
                    <a:pt x="596" y="134"/>
                    <a:pt x="462" y="0"/>
                    <a:pt x="298" y="0"/>
                  </a:cubicBezTo>
                  <a:close/>
                  <a:moveTo>
                    <a:pt x="410" y="300"/>
                  </a:moveTo>
                  <a:cubicBezTo>
                    <a:pt x="359" y="300"/>
                    <a:pt x="318" y="258"/>
                    <a:pt x="318" y="207"/>
                  </a:cubicBezTo>
                  <a:cubicBezTo>
                    <a:pt x="318" y="155"/>
                    <a:pt x="359" y="114"/>
                    <a:pt x="410" y="114"/>
                  </a:cubicBezTo>
                  <a:cubicBezTo>
                    <a:pt x="461" y="114"/>
                    <a:pt x="503" y="155"/>
                    <a:pt x="503" y="207"/>
                  </a:cubicBezTo>
                  <a:cubicBezTo>
                    <a:pt x="503" y="258"/>
                    <a:pt x="462" y="300"/>
                    <a:pt x="410" y="300"/>
                  </a:cubicBezTo>
                  <a:close/>
                  <a:moveTo>
                    <a:pt x="410" y="300"/>
                  </a:moveTo>
                  <a:cubicBezTo>
                    <a:pt x="410" y="300"/>
                    <a:pt x="410" y="300"/>
                    <a:pt x="410" y="300"/>
                  </a:cubicBezTo>
                </a:path>
              </a:pathLst>
            </a:custGeom>
            <a:solidFill>
              <a:srgbClr val="FFFFFF"/>
            </a:solidFill>
            <a:ln w="9525">
              <a:noFill/>
              <a:round/>
              <a:headEnd/>
              <a:tailEnd/>
            </a:ln>
          </p:spPr>
          <p:txBody>
            <a:bodyPr vert="horz" wrap="square" lIns="91416" tIns="45708" rIns="91416" bIns="45708" numCol="1" anchor="t" anchorCtr="0" compatLnSpc="1">
              <a:prstTxWarp prst="textNoShape">
                <a:avLst/>
              </a:prstTxWarp>
            </a:bodyPr>
            <a:lstStyle/>
            <a:p>
              <a:pPr defTabSz="685628">
                <a:defRPr/>
              </a:pPr>
              <a:endParaRPr lang="en-US" sz="1350" kern="0" dirty="0">
                <a:solidFill>
                  <a:srgbClr val="676767"/>
                </a:solidFill>
                <a:latin typeface="CiscoSansJPN" pitchFamily="2" charset="-128"/>
                <a:ea typeface="CiscoSansJPN" pitchFamily="2" charset="-128"/>
                <a:cs typeface="CiscoSansJPN" pitchFamily="2" charset="-128"/>
              </a:endParaRPr>
            </a:p>
          </p:txBody>
        </p:sp>
      </p:grpSp>
      <p:sp>
        <p:nvSpPr>
          <p:cNvPr id="227" name="Freeform 246"/>
          <p:cNvSpPr>
            <a:spLocks noEditPoints="1"/>
          </p:cNvSpPr>
          <p:nvPr/>
        </p:nvSpPr>
        <p:spPr bwMode="auto">
          <a:xfrm>
            <a:off x="4950783" y="3796969"/>
            <a:ext cx="395485" cy="340790"/>
          </a:xfrm>
          <a:custGeom>
            <a:avLst/>
            <a:gdLst>
              <a:gd name="T0" fmla="*/ 947 w 1585"/>
              <a:gd name="T1" fmla="*/ 428 h 1236"/>
              <a:gd name="T2" fmla="*/ 482 w 1585"/>
              <a:gd name="T3" fmla="*/ 1085 h 1236"/>
              <a:gd name="T4" fmla="*/ 432 w 1585"/>
              <a:gd name="T5" fmla="*/ 1116 h 1236"/>
              <a:gd name="T6" fmla="*/ 92 w 1585"/>
              <a:gd name="T7" fmla="*/ 1118 h 1236"/>
              <a:gd name="T8" fmla="*/ 45 w 1585"/>
              <a:gd name="T9" fmla="*/ 1099 h 1236"/>
              <a:gd name="T10" fmla="*/ 12 w 1585"/>
              <a:gd name="T11" fmla="*/ 1058 h 1236"/>
              <a:gd name="T12" fmla="*/ 0 w 1585"/>
              <a:gd name="T13" fmla="*/ 1004 h 1236"/>
              <a:gd name="T14" fmla="*/ 8 w 1585"/>
              <a:gd name="T15" fmla="*/ 959 h 1236"/>
              <a:gd name="T16" fmla="*/ 38 w 1585"/>
              <a:gd name="T17" fmla="*/ 914 h 1236"/>
              <a:gd name="T18" fmla="*/ 82 w 1585"/>
              <a:gd name="T19" fmla="*/ 890 h 1236"/>
              <a:gd name="T20" fmla="*/ 225 w 1585"/>
              <a:gd name="T21" fmla="*/ 894 h 1236"/>
              <a:gd name="T22" fmla="*/ 357 w 1585"/>
              <a:gd name="T23" fmla="*/ 890 h 1236"/>
              <a:gd name="T24" fmla="*/ 424 w 1585"/>
              <a:gd name="T25" fmla="*/ 808 h 1236"/>
              <a:gd name="T26" fmla="*/ 881 w 1585"/>
              <a:gd name="T27" fmla="*/ 159 h 1236"/>
              <a:gd name="T28" fmla="*/ 927 w 1585"/>
              <a:gd name="T29" fmla="*/ 123 h 1236"/>
              <a:gd name="T30" fmla="*/ 1217 w 1585"/>
              <a:gd name="T31" fmla="*/ 117 h 1236"/>
              <a:gd name="T32" fmla="*/ 1231 w 1585"/>
              <a:gd name="T33" fmla="*/ 7 h 1236"/>
              <a:gd name="T34" fmla="*/ 1252 w 1585"/>
              <a:gd name="T35" fmla="*/ 2 h 1236"/>
              <a:gd name="T36" fmla="*/ 1427 w 1585"/>
              <a:gd name="T37" fmla="*/ 103 h 1236"/>
              <a:gd name="T38" fmla="*/ 1572 w 1585"/>
              <a:gd name="T39" fmla="*/ 213 h 1236"/>
              <a:gd name="T40" fmla="*/ 1585 w 1585"/>
              <a:gd name="T41" fmla="*/ 234 h 1236"/>
              <a:gd name="T42" fmla="*/ 1570 w 1585"/>
              <a:gd name="T43" fmla="*/ 260 h 1236"/>
              <a:gd name="T44" fmla="*/ 1400 w 1585"/>
              <a:gd name="T45" fmla="*/ 384 h 1236"/>
              <a:gd name="T46" fmla="*/ 1252 w 1585"/>
              <a:gd name="T47" fmla="*/ 465 h 1236"/>
              <a:gd name="T48" fmla="*/ 1232 w 1585"/>
              <a:gd name="T49" fmla="*/ 463 h 1236"/>
              <a:gd name="T50" fmla="*/ 1221 w 1585"/>
              <a:gd name="T51" fmla="*/ 431 h 1236"/>
              <a:gd name="T52" fmla="*/ 1150 w 1585"/>
              <a:gd name="T53" fmla="*/ 344 h 1236"/>
              <a:gd name="T54" fmla="*/ 1013 w 1585"/>
              <a:gd name="T55" fmla="*/ 345 h 1236"/>
              <a:gd name="T56" fmla="*/ 168 w 1585"/>
              <a:gd name="T57" fmla="*/ 346 h 1236"/>
              <a:gd name="T58" fmla="*/ 347 w 1585"/>
              <a:gd name="T59" fmla="*/ 345 h 1236"/>
              <a:gd name="T60" fmla="*/ 419 w 1585"/>
              <a:gd name="T61" fmla="*/ 423 h 1236"/>
              <a:gd name="T62" fmla="*/ 489 w 1585"/>
              <a:gd name="T63" fmla="*/ 159 h 1236"/>
              <a:gd name="T64" fmla="*/ 454 w 1585"/>
              <a:gd name="T65" fmla="*/ 128 h 1236"/>
              <a:gd name="T66" fmla="*/ 103 w 1585"/>
              <a:gd name="T67" fmla="*/ 117 h 1236"/>
              <a:gd name="T68" fmla="*/ 63 w 1585"/>
              <a:gd name="T69" fmla="*/ 125 h 1236"/>
              <a:gd name="T70" fmla="*/ 24 w 1585"/>
              <a:gd name="T71" fmla="*/ 158 h 1236"/>
              <a:gd name="T72" fmla="*/ 2 w 1585"/>
              <a:gd name="T73" fmla="*/ 209 h 1236"/>
              <a:gd name="T74" fmla="*/ 2 w 1585"/>
              <a:gd name="T75" fmla="*/ 255 h 1236"/>
              <a:gd name="T76" fmla="*/ 24 w 1585"/>
              <a:gd name="T77" fmla="*/ 306 h 1236"/>
              <a:gd name="T78" fmla="*/ 63 w 1585"/>
              <a:gd name="T79" fmla="*/ 339 h 1236"/>
              <a:gd name="T80" fmla="*/ 103 w 1585"/>
              <a:gd name="T81" fmla="*/ 347 h 1236"/>
              <a:gd name="T82" fmla="*/ 1577 w 1585"/>
              <a:gd name="T83" fmla="*/ 1022 h 1236"/>
              <a:gd name="T84" fmla="*/ 1501 w 1585"/>
              <a:gd name="T85" fmla="*/ 1085 h 1236"/>
              <a:gd name="T86" fmla="*/ 1283 w 1585"/>
              <a:gd name="T87" fmla="*/ 1222 h 1236"/>
              <a:gd name="T88" fmla="*/ 1234 w 1585"/>
              <a:gd name="T89" fmla="*/ 1235 h 1236"/>
              <a:gd name="T90" fmla="*/ 1225 w 1585"/>
              <a:gd name="T91" fmla="*/ 1221 h 1236"/>
              <a:gd name="T92" fmla="*/ 1215 w 1585"/>
              <a:gd name="T93" fmla="*/ 1118 h 1236"/>
              <a:gd name="T94" fmla="*/ 927 w 1585"/>
              <a:gd name="T95" fmla="*/ 1112 h 1236"/>
              <a:gd name="T96" fmla="*/ 881 w 1585"/>
              <a:gd name="T97" fmla="*/ 1076 h 1236"/>
              <a:gd name="T98" fmla="*/ 904 w 1585"/>
              <a:gd name="T99" fmla="*/ 744 h 1236"/>
              <a:gd name="T100" fmla="*/ 1006 w 1585"/>
              <a:gd name="T101" fmla="*/ 886 h 1236"/>
              <a:gd name="T102" fmla="*/ 1044 w 1585"/>
              <a:gd name="T103" fmla="*/ 892 h 1236"/>
              <a:gd name="T104" fmla="*/ 1217 w 1585"/>
              <a:gd name="T105" fmla="*/ 889 h 1236"/>
              <a:gd name="T106" fmla="*/ 1231 w 1585"/>
              <a:gd name="T107" fmla="*/ 777 h 1236"/>
              <a:gd name="T108" fmla="*/ 1252 w 1585"/>
              <a:gd name="T109" fmla="*/ 772 h 1236"/>
              <a:gd name="T110" fmla="*/ 1427 w 1585"/>
              <a:gd name="T111" fmla="*/ 873 h 1236"/>
              <a:gd name="T112" fmla="*/ 1572 w 1585"/>
              <a:gd name="T113" fmla="*/ 983 h 1236"/>
              <a:gd name="T114" fmla="*/ 1585 w 1585"/>
              <a:gd name="T115" fmla="*/ 1004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5" h="1236">
                <a:moveTo>
                  <a:pt x="1010" y="346"/>
                </a:moveTo>
                <a:lnTo>
                  <a:pt x="1010" y="346"/>
                </a:lnTo>
                <a:lnTo>
                  <a:pt x="1003" y="354"/>
                </a:lnTo>
                <a:lnTo>
                  <a:pt x="990" y="371"/>
                </a:lnTo>
                <a:lnTo>
                  <a:pt x="947" y="428"/>
                </a:lnTo>
                <a:lnTo>
                  <a:pt x="816" y="612"/>
                </a:lnTo>
                <a:lnTo>
                  <a:pt x="651" y="844"/>
                </a:lnTo>
                <a:lnTo>
                  <a:pt x="489" y="1076"/>
                </a:lnTo>
                <a:lnTo>
                  <a:pt x="489" y="1076"/>
                </a:lnTo>
                <a:lnTo>
                  <a:pt x="482" y="1085"/>
                </a:lnTo>
                <a:lnTo>
                  <a:pt x="473" y="1095"/>
                </a:lnTo>
                <a:lnTo>
                  <a:pt x="463" y="1102"/>
                </a:lnTo>
                <a:lnTo>
                  <a:pt x="454" y="1108"/>
                </a:lnTo>
                <a:lnTo>
                  <a:pt x="443" y="1112"/>
                </a:lnTo>
                <a:lnTo>
                  <a:pt x="432" y="1116"/>
                </a:lnTo>
                <a:lnTo>
                  <a:pt x="421" y="1118"/>
                </a:lnTo>
                <a:lnTo>
                  <a:pt x="409" y="1118"/>
                </a:lnTo>
                <a:lnTo>
                  <a:pt x="103" y="1118"/>
                </a:lnTo>
                <a:lnTo>
                  <a:pt x="103" y="1118"/>
                </a:lnTo>
                <a:lnTo>
                  <a:pt x="92" y="1118"/>
                </a:lnTo>
                <a:lnTo>
                  <a:pt x="82" y="1116"/>
                </a:lnTo>
                <a:lnTo>
                  <a:pt x="72" y="1114"/>
                </a:lnTo>
                <a:lnTo>
                  <a:pt x="63" y="1110"/>
                </a:lnTo>
                <a:lnTo>
                  <a:pt x="53" y="1105"/>
                </a:lnTo>
                <a:lnTo>
                  <a:pt x="45" y="1099"/>
                </a:lnTo>
                <a:lnTo>
                  <a:pt x="38" y="1092"/>
                </a:lnTo>
                <a:lnTo>
                  <a:pt x="30" y="1085"/>
                </a:lnTo>
                <a:lnTo>
                  <a:pt x="24" y="1077"/>
                </a:lnTo>
                <a:lnTo>
                  <a:pt x="18" y="1068"/>
                </a:lnTo>
                <a:lnTo>
                  <a:pt x="12" y="1058"/>
                </a:lnTo>
                <a:lnTo>
                  <a:pt x="8" y="1049"/>
                </a:lnTo>
                <a:lnTo>
                  <a:pt x="5" y="1038"/>
                </a:lnTo>
                <a:lnTo>
                  <a:pt x="2" y="1026"/>
                </a:lnTo>
                <a:lnTo>
                  <a:pt x="0" y="1016"/>
                </a:lnTo>
                <a:lnTo>
                  <a:pt x="0" y="1004"/>
                </a:lnTo>
                <a:lnTo>
                  <a:pt x="0" y="1004"/>
                </a:lnTo>
                <a:lnTo>
                  <a:pt x="0" y="992"/>
                </a:lnTo>
                <a:lnTo>
                  <a:pt x="2" y="980"/>
                </a:lnTo>
                <a:lnTo>
                  <a:pt x="5" y="970"/>
                </a:lnTo>
                <a:lnTo>
                  <a:pt x="8" y="959"/>
                </a:lnTo>
                <a:lnTo>
                  <a:pt x="12" y="948"/>
                </a:lnTo>
                <a:lnTo>
                  <a:pt x="18" y="939"/>
                </a:lnTo>
                <a:lnTo>
                  <a:pt x="24" y="929"/>
                </a:lnTo>
                <a:lnTo>
                  <a:pt x="30" y="921"/>
                </a:lnTo>
                <a:lnTo>
                  <a:pt x="38" y="914"/>
                </a:lnTo>
                <a:lnTo>
                  <a:pt x="45" y="907"/>
                </a:lnTo>
                <a:lnTo>
                  <a:pt x="53" y="902"/>
                </a:lnTo>
                <a:lnTo>
                  <a:pt x="63" y="896"/>
                </a:lnTo>
                <a:lnTo>
                  <a:pt x="72" y="893"/>
                </a:lnTo>
                <a:lnTo>
                  <a:pt x="82" y="890"/>
                </a:lnTo>
                <a:lnTo>
                  <a:pt x="92" y="888"/>
                </a:lnTo>
                <a:lnTo>
                  <a:pt x="103" y="888"/>
                </a:lnTo>
                <a:lnTo>
                  <a:pt x="103" y="888"/>
                </a:lnTo>
                <a:lnTo>
                  <a:pt x="167" y="892"/>
                </a:lnTo>
                <a:lnTo>
                  <a:pt x="225" y="894"/>
                </a:lnTo>
                <a:lnTo>
                  <a:pt x="286" y="894"/>
                </a:lnTo>
                <a:lnTo>
                  <a:pt x="286" y="894"/>
                </a:lnTo>
                <a:lnTo>
                  <a:pt x="324" y="894"/>
                </a:lnTo>
                <a:lnTo>
                  <a:pt x="346" y="892"/>
                </a:lnTo>
                <a:lnTo>
                  <a:pt x="357" y="890"/>
                </a:lnTo>
                <a:lnTo>
                  <a:pt x="360" y="889"/>
                </a:lnTo>
                <a:lnTo>
                  <a:pt x="360" y="889"/>
                </a:lnTo>
                <a:lnTo>
                  <a:pt x="367" y="881"/>
                </a:lnTo>
                <a:lnTo>
                  <a:pt x="382" y="864"/>
                </a:lnTo>
                <a:lnTo>
                  <a:pt x="424" y="808"/>
                </a:lnTo>
                <a:lnTo>
                  <a:pt x="483" y="725"/>
                </a:lnTo>
                <a:lnTo>
                  <a:pt x="556" y="624"/>
                </a:lnTo>
                <a:lnTo>
                  <a:pt x="721" y="391"/>
                </a:lnTo>
                <a:lnTo>
                  <a:pt x="881" y="159"/>
                </a:lnTo>
                <a:lnTo>
                  <a:pt x="881" y="159"/>
                </a:lnTo>
                <a:lnTo>
                  <a:pt x="889" y="150"/>
                </a:lnTo>
                <a:lnTo>
                  <a:pt x="898" y="141"/>
                </a:lnTo>
                <a:lnTo>
                  <a:pt x="907" y="133"/>
                </a:lnTo>
                <a:lnTo>
                  <a:pt x="917" y="128"/>
                </a:lnTo>
                <a:lnTo>
                  <a:pt x="927" y="123"/>
                </a:lnTo>
                <a:lnTo>
                  <a:pt x="938" y="119"/>
                </a:lnTo>
                <a:lnTo>
                  <a:pt x="950" y="117"/>
                </a:lnTo>
                <a:lnTo>
                  <a:pt x="962" y="117"/>
                </a:lnTo>
                <a:lnTo>
                  <a:pt x="1217" y="117"/>
                </a:lnTo>
                <a:lnTo>
                  <a:pt x="1217" y="117"/>
                </a:lnTo>
                <a:lnTo>
                  <a:pt x="1219" y="74"/>
                </a:lnTo>
                <a:lnTo>
                  <a:pt x="1223" y="39"/>
                </a:lnTo>
                <a:lnTo>
                  <a:pt x="1225" y="26"/>
                </a:lnTo>
                <a:lnTo>
                  <a:pt x="1227" y="15"/>
                </a:lnTo>
                <a:lnTo>
                  <a:pt x="1231" y="7"/>
                </a:lnTo>
                <a:lnTo>
                  <a:pt x="1233" y="4"/>
                </a:lnTo>
                <a:lnTo>
                  <a:pt x="1243" y="0"/>
                </a:lnTo>
                <a:lnTo>
                  <a:pt x="1243" y="0"/>
                </a:lnTo>
                <a:lnTo>
                  <a:pt x="1246" y="1"/>
                </a:lnTo>
                <a:lnTo>
                  <a:pt x="1252" y="2"/>
                </a:lnTo>
                <a:lnTo>
                  <a:pt x="1267" y="9"/>
                </a:lnTo>
                <a:lnTo>
                  <a:pt x="1288" y="19"/>
                </a:lnTo>
                <a:lnTo>
                  <a:pt x="1311" y="32"/>
                </a:lnTo>
                <a:lnTo>
                  <a:pt x="1367" y="64"/>
                </a:lnTo>
                <a:lnTo>
                  <a:pt x="1427" y="103"/>
                </a:lnTo>
                <a:lnTo>
                  <a:pt x="1486" y="143"/>
                </a:lnTo>
                <a:lnTo>
                  <a:pt x="1513" y="162"/>
                </a:lnTo>
                <a:lnTo>
                  <a:pt x="1537" y="181"/>
                </a:lnTo>
                <a:lnTo>
                  <a:pt x="1557" y="197"/>
                </a:lnTo>
                <a:lnTo>
                  <a:pt x="1572" y="213"/>
                </a:lnTo>
                <a:lnTo>
                  <a:pt x="1578" y="218"/>
                </a:lnTo>
                <a:lnTo>
                  <a:pt x="1582" y="224"/>
                </a:lnTo>
                <a:lnTo>
                  <a:pt x="1585" y="229"/>
                </a:lnTo>
                <a:lnTo>
                  <a:pt x="1585" y="234"/>
                </a:lnTo>
                <a:lnTo>
                  <a:pt x="1585" y="234"/>
                </a:lnTo>
                <a:lnTo>
                  <a:pt x="1585" y="239"/>
                </a:lnTo>
                <a:lnTo>
                  <a:pt x="1582" y="244"/>
                </a:lnTo>
                <a:lnTo>
                  <a:pt x="1577" y="252"/>
                </a:lnTo>
                <a:lnTo>
                  <a:pt x="1570" y="260"/>
                </a:lnTo>
                <a:lnTo>
                  <a:pt x="1570" y="260"/>
                </a:lnTo>
                <a:lnTo>
                  <a:pt x="1558" y="272"/>
                </a:lnTo>
                <a:lnTo>
                  <a:pt x="1541" y="285"/>
                </a:lnTo>
                <a:lnTo>
                  <a:pt x="1501" y="315"/>
                </a:lnTo>
                <a:lnTo>
                  <a:pt x="1453" y="350"/>
                </a:lnTo>
                <a:lnTo>
                  <a:pt x="1400" y="384"/>
                </a:lnTo>
                <a:lnTo>
                  <a:pt x="1349" y="416"/>
                </a:lnTo>
                <a:lnTo>
                  <a:pt x="1303" y="442"/>
                </a:lnTo>
                <a:lnTo>
                  <a:pt x="1283" y="452"/>
                </a:lnTo>
                <a:lnTo>
                  <a:pt x="1266" y="461"/>
                </a:lnTo>
                <a:lnTo>
                  <a:pt x="1252" y="465"/>
                </a:lnTo>
                <a:lnTo>
                  <a:pt x="1243" y="466"/>
                </a:lnTo>
                <a:lnTo>
                  <a:pt x="1243" y="466"/>
                </a:lnTo>
                <a:lnTo>
                  <a:pt x="1234" y="465"/>
                </a:lnTo>
                <a:lnTo>
                  <a:pt x="1234" y="465"/>
                </a:lnTo>
                <a:lnTo>
                  <a:pt x="1232" y="463"/>
                </a:lnTo>
                <a:lnTo>
                  <a:pt x="1230" y="461"/>
                </a:lnTo>
                <a:lnTo>
                  <a:pt x="1227" y="457"/>
                </a:lnTo>
                <a:lnTo>
                  <a:pt x="1225" y="451"/>
                </a:lnTo>
                <a:lnTo>
                  <a:pt x="1223" y="442"/>
                </a:lnTo>
                <a:lnTo>
                  <a:pt x="1221" y="431"/>
                </a:lnTo>
                <a:lnTo>
                  <a:pt x="1218" y="396"/>
                </a:lnTo>
                <a:lnTo>
                  <a:pt x="1218" y="396"/>
                </a:lnTo>
                <a:lnTo>
                  <a:pt x="1215" y="346"/>
                </a:lnTo>
                <a:lnTo>
                  <a:pt x="1215" y="346"/>
                </a:lnTo>
                <a:lnTo>
                  <a:pt x="1150" y="344"/>
                </a:lnTo>
                <a:lnTo>
                  <a:pt x="1080" y="342"/>
                </a:lnTo>
                <a:lnTo>
                  <a:pt x="1080" y="342"/>
                </a:lnTo>
                <a:lnTo>
                  <a:pt x="1044" y="342"/>
                </a:lnTo>
                <a:lnTo>
                  <a:pt x="1024" y="344"/>
                </a:lnTo>
                <a:lnTo>
                  <a:pt x="1013" y="345"/>
                </a:lnTo>
                <a:lnTo>
                  <a:pt x="1010" y="346"/>
                </a:lnTo>
                <a:lnTo>
                  <a:pt x="1010" y="346"/>
                </a:lnTo>
                <a:close/>
                <a:moveTo>
                  <a:pt x="103" y="347"/>
                </a:moveTo>
                <a:lnTo>
                  <a:pt x="103" y="347"/>
                </a:lnTo>
                <a:lnTo>
                  <a:pt x="168" y="346"/>
                </a:lnTo>
                <a:lnTo>
                  <a:pt x="228" y="345"/>
                </a:lnTo>
                <a:lnTo>
                  <a:pt x="289" y="344"/>
                </a:lnTo>
                <a:lnTo>
                  <a:pt x="289" y="344"/>
                </a:lnTo>
                <a:lnTo>
                  <a:pt x="326" y="345"/>
                </a:lnTo>
                <a:lnTo>
                  <a:pt x="347" y="345"/>
                </a:lnTo>
                <a:lnTo>
                  <a:pt x="362" y="346"/>
                </a:lnTo>
                <a:lnTo>
                  <a:pt x="362" y="346"/>
                </a:lnTo>
                <a:lnTo>
                  <a:pt x="369" y="354"/>
                </a:lnTo>
                <a:lnTo>
                  <a:pt x="382" y="371"/>
                </a:lnTo>
                <a:lnTo>
                  <a:pt x="419" y="423"/>
                </a:lnTo>
                <a:lnTo>
                  <a:pt x="468" y="492"/>
                </a:lnTo>
                <a:lnTo>
                  <a:pt x="517" y="568"/>
                </a:lnTo>
                <a:lnTo>
                  <a:pt x="527" y="581"/>
                </a:lnTo>
                <a:lnTo>
                  <a:pt x="659" y="396"/>
                </a:lnTo>
                <a:lnTo>
                  <a:pt x="489" y="159"/>
                </a:lnTo>
                <a:lnTo>
                  <a:pt x="489" y="159"/>
                </a:lnTo>
                <a:lnTo>
                  <a:pt x="482" y="150"/>
                </a:lnTo>
                <a:lnTo>
                  <a:pt x="473" y="141"/>
                </a:lnTo>
                <a:lnTo>
                  <a:pt x="463" y="133"/>
                </a:lnTo>
                <a:lnTo>
                  <a:pt x="454" y="128"/>
                </a:lnTo>
                <a:lnTo>
                  <a:pt x="443" y="123"/>
                </a:lnTo>
                <a:lnTo>
                  <a:pt x="432" y="119"/>
                </a:lnTo>
                <a:lnTo>
                  <a:pt x="421" y="117"/>
                </a:lnTo>
                <a:lnTo>
                  <a:pt x="410" y="117"/>
                </a:lnTo>
                <a:lnTo>
                  <a:pt x="103" y="117"/>
                </a:lnTo>
                <a:lnTo>
                  <a:pt x="103" y="117"/>
                </a:lnTo>
                <a:lnTo>
                  <a:pt x="92" y="117"/>
                </a:lnTo>
                <a:lnTo>
                  <a:pt x="82" y="119"/>
                </a:lnTo>
                <a:lnTo>
                  <a:pt x="72" y="122"/>
                </a:lnTo>
                <a:lnTo>
                  <a:pt x="63" y="125"/>
                </a:lnTo>
                <a:lnTo>
                  <a:pt x="53" y="130"/>
                </a:lnTo>
                <a:lnTo>
                  <a:pt x="45" y="136"/>
                </a:lnTo>
                <a:lnTo>
                  <a:pt x="38" y="143"/>
                </a:lnTo>
                <a:lnTo>
                  <a:pt x="30" y="150"/>
                </a:lnTo>
                <a:lnTo>
                  <a:pt x="24" y="158"/>
                </a:lnTo>
                <a:lnTo>
                  <a:pt x="18" y="168"/>
                </a:lnTo>
                <a:lnTo>
                  <a:pt x="12" y="177"/>
                </a:lnTo>
                <a:lnTo>
                  <a:pt x="8" y="187"/>
                </a:lnTo>
                <a:lnTo>
                  <a:pt x="5" y="197"/>
                </a:lnTo>
                <a:lnTo>
                  <a:pt x="2" y="209"/>
                </a:lnTo>
                <a:lnTo>
                  <a:pt x="0" y="220"/>
                </a:lnTo>
                <a:lnTo>
                  <a:pt x="0" y="231"/>
                </a:lnTo>
                <a:lnTo>
                  <a:pt x="0" y="231"/>
                </a:lnTo>
                <a:lnTo>
                  <a:pt x="0" y="243"/>
                </a:lnTo>
                <a:lnTo>
                  <a:pt x="2" y="255"/>
                </a:lnTo>
                <a:lnTo>
                  <a:pt x="5" y="267"/>
                </a:lnTo>
                <a:lnTo>
                  <a:pt x="8" y="278"/>
                </a:lnTo>
                <a:lnTo>
                  <a:pt x="12" y="287"/>
                </a:lnTo>
                <a:lnTo>
                  <a:pt x="18" y="296"/>
                </a:lnTo>
                <a:lnTo>
                  <a:pt x="24" y="306"/>
                </a:lnTo>
                <a:lnTo>
                  <a:pt x="30" y="314"/>
                </a:lnTo>
                <a:lnTo>
                  <a:pt x="38" y="321"/>
                </a:lnTo>
                <a:lnTo>
                  <a:pt x="45" y="328"/>
                </a:lnTo>
                <a:lnTo>
                  <a:pt x="54" y="334"/>
                </a:lnTo>
                <a:lnTo>
                  <a:pt x="63" y="339"/>
                </a:lnTo>
                <a:lnTo>
                  <a:pt x="72" y="342"/>
                </a:lnTo>
                <a:lnTo>
                  <a:pt x="83" y="345"/>
                </a:lnTo>
                <a:lnTo>
                  <a:pt x="92" y="347"/>
                </a:lnTo>
                <a:lnTo>
                  <a:pt x="103" y="347"/>
                </a:lnTo>
                <a:lnTo>
                  <a:pt x="103" y="347"/>
                </a:lnTo>
                <a:close/>
                <a:moveTo>
                  <a:pt x="1585" y="1004"/>
                </a:moveTo>
                <a:lnTo>
                  <a:pt x="1585" y="1004"/>
                </a:lnTo>
                <a:lnTo>
                  <a:pt x="1585" y="1009"/>
                </a:lnTo>
                <a:lnTo>
                  <a:pt x="1582" y="1016"/>
                </a:lnTo>
                <a:lnTo>
                  <a:pt x="1577" y="1022"/>
                </a:lnTo>
                <a:lnTo>
                  <a:pt x="1570" y="1030"/>
                </a:lnTo>
                <a:lnTo>
                  <a:pt x="1570" y="1030"/>
                </a:lnTo>
                <a:lnTo>
                  <a:pt x="1558" y="1042"/>
                </a:lnTo>
                <a:lnTo>
                  <a:pt x="1541" y="1055"/>
                </a:lnTo>
                <a:lnTo>
                  <a:pt x="1501" y="1085"/>
                </a:lnTo>
                <a:lnTo>
                  <a:pt x="1452" y="1120"/>
                </a:lnTo>
                <a:lnTo>
                  <a:pt x="1400" y="1155"/>
                </a:lnTo>
                <a:lnTo>
                  <a:pt x="1349" y="1186"/>
                </a:lnTo>
                <a:lnTo>
                  <a:pt x="1303" y="1213"/>
                </a:lnTo>
                <a:lnTo>
                  <a:pt x="1283" y="1222"/>
                </a:lnTo>
                <a:lnTo>
                  <a:pt x="1265" y="1231"/>
                </a:lnTo>
                <a:lnTo>
                  <a:pt x="1252" y="1235"/>
                </a:lnTo>
                <a:lnTo>
                  <a:pt x="1243" y="1236"/>
                </a:lnTo>
                <a:lnTo>
                  <a:pt x="1243" y="1236"/>
                </a:lnTo>
                <a:lnTo>
                  <a:pt x="1234" y="1235"/>
                </a:lnTo>
                <a:lnTo>
                  <a:pt x="1234" y="1235"/>
                </a:lnTo>
                <a:lnTo>
                  <a:pt x="1232" y="1234"/>
                </a:lnTo>
                <a:lnTo>
                  <a:pt x="1230" y="1231"/>
                </a:lnTo>
                <a:lnTo>
                  <a:pt x="1227" y="1227"/>
                </a:lnTo>
                <a:lnTo>
                  <a:pt x="1225" y="1221"/>
                </a:lnTo>
                <a:lnTo>
                  <a:pt x="1223" y="1213"/>
                </a:lnTo>
                <a:lnTo>
                  <a:pt x="1221" y="1201"/>
                </a:lnTo>
                <a:lnTo>
                  <a:pt x="1218" y="1166"/>
                </a:lnTo>
                <a:lnTo>
                  <a:pt x="1218" y="1166"/>
                </a:lnTo>
                <a:lnTo>
                  <a:pt x="1215" y="1118"/>
                </a:lnTo>
                <a:lnTo>
                  <a:pt x="962" y="1118"/>
                </a:lnTo>
                <a:lnTo>
                  <a:pt x="962" y="1118"/>
                </a:lnTo>
                <a:lnTo>
                  <a:pt x="950" y="1118"/>
                </a:lnTo>
                <a:lnTo>
                  <a:pt x="938" y="1116"/>
                </a:lnTo>
                <a:lnTo>
                  <a:pt x="927" y="1112"/>
                </a:lnTo>
                <a:lnTo>
                  <a:pt x="917" y="1108"/>
                </a:lnTo>
                <a:lnTo>
                  <a:pt x="907" y="1102"/>
                </a:lnTo>
                <a:lnTo>
                  <a:pt x="898" y="1095"/>
                </a:lnTo>
                <a:lnTo>
                  <a:pt x="889" y="1085"/>
                </a:lnTo>
                <a:lnTo>
                  <a:pt x="881" y="1076"/>
                </a:lnTo>
                <a:lnTo>
                  <a:pt x="712" y="840"/>
                </a:lnTo>
                <a:lnTo>
                  <a:pt x="845" y="654"/>
                </a:lnTo>
                <a:lnTo>
                  <a:pt x="853" y="667"/>
                </a:lnTo>
                <a:lnTo>
                  <a:pt x="853" y="667"/>
                </a:lnTo>
                <a:lnTo>
                  <a:pt x="904" y="744"/>
                </a:lnTo>
                <a:lnTo>
                  <a:pt x="951" y="814"/>
                </a:lnTo>
                <a:lnTo>
                  <a:pt x="971" y="842"/>
                </a:lnTo>
                <a:lnTo>
                  <a:pt x="989" y="866"/>
                </a:lnTo>
                <a:lnTo>
                  <a:pt x="1002" y="881"/>
                </a:lnTo>
                <a:lnTo>
                  <a:pt x="1006" y="886"/>
                </a:lnTo>
                <a:lnTo>
                  <a:pt x="1010" y="889"/>
                </a:lnTo>
                <a:lnTo>
                  <a:pt x="1010" y="889"/>
                </a:lnTo>
                <a:lnTo>
                  <a:pt x="1012" y="889"/>
                </a:lnTo>
                <a:lnTo>
                  <a:pt x="1023" y="890"/>
                </a:lnTo>
                <a:lnTo>
                  <a:pt x="1044" y="892"/>
                </a:lnTo>
                <a:lnTo>
                  <a:pt x="1078" y="893"/>
                </a:lnTo>
                <a:lnTo>
                  <a:pt x="1078" y="893"/>
                </a:lnTo>
                <a:lnTo>
                  <a:pt x="1152" y="892"/>
                </a:lnTo>
                <a:lnTo>
                  <a:pt x="1217" y="889"/>
                </a:lnTo>
                <a:lnTo>
                  <a:pt x="1217" y="889"/>
                </a:lnTo>
                <a:lnTo>
                  <a:pt x="1219" y="846"/>
                </a:lnTo>
                <a:lnTo>
                  <a:pt x="1223" y="810"/>
                </a:lnTo>
                <a:lnTo>
                  <a:pt x="1225" y="797"/>
                </a:lnTo>
                <a:lnTo>
                  <a:pt x="1227" y="785"/>
                </a:lnTo>
                <a:lnTo>
                  <a:pt x="1231" y="777"/>
                </a:lnTo>
                <a:lnTo>
                  <a:pt x="1233" y="774"/>
                </a:lnTo>
                <a:lnTo>
                  <a:pt x="1243" y="771"/>
                </a:lnTo>
                <a:lnTo>
                  <a:pt x="1243" y="771"/>
                </a:lnTo>
                <a:lnTo>
                  <a:pt x="1246" y="771"/>
                </a:lnTo>
                <a:lnTo>
                  <a:pt x="1252" y="772"/>
                </a:lnTo>
                <a:lnTo>
                  <a:pt x="1267" y="779"/>
                </a:lnTo>
                <a:lnTo>
                  <a:pt x="1288" y="789"/>
                </a:lnTo>
                <a:lnTo>
                  <a:pt x="1311" y="802"/>
                </a:lnTo>
                <a:lnTo>
                  <a:pt x="1367" y="834"/>
                </a:lnTo>
                <a:lnTo>
                  <a:pt x="1427" y="873"/>
                </a:lnTo>
                <a:lnTo>
                  <a:pt x="1486" y="913"/>
                </a:lnTo>
                <a:lnTo>
                  <a:pt x="1513" y="932"/>
                </a:lnTo>
                <a:lnTo>
                  <a:pt x="1537" y="951"/>
                </a:lnTo>
                <a:lnTo>
                  <a:pt x="1557" y="967"/>
                </a:lnTo>
                <a:lnTo>
                  <a:pt x="1572" y="983"/>
                </a:lnTo>
                <a:lnTo>
                  <a:pt x="1578" y="988"/>
                </a:lnTo>
                <a:lnTo>
                  <a:pt x="1582" y="994"/>
                </a:lnTo>
                <a:lnTo>
                  <a:pt x="1585" y="999"/>
                </a:lnTo>
                <a:lnTo>
                  <a:pt x="1585" y="1004"/>
                </a:lnTo>
                <a:lnTo>
                  <a:pt x="1585" y="1004"/>
                </a:lnTo>
                <a:close/>
              </a:path>
            </a:pathLst>
          </a:custGeom>
          <a:solidFill>
            <a:srgbClr val="FFFFFF"/>
          </a:solidFill>
          <a:ln>
            <a:noFill/>
          </a:ln>
        </p:spPr>
        <p:txBody>
          <a:bodyPr vert="horz" wrap="square" lIns="51395" tIns="25697" rIns="51395" bIns="25697" numCol="1" anchor="t" anchorCtr="0" compatLnSpc="1">
            <a:prstTxWarp prst="textNoShape">
              <a:avLst/>
            </a:prstTxWarp>
          </a:bodyPr>
          <a:lstStyle/>
          <a:p>
            <a:pPr defTabSz="385718">
              <a:defRPr/>
            </a:pPr>
            <a:endParaRPr lang="en-US" sz="825" kern="0" dirty="0">
              <a:solidFill>
                <a:srgbClr val="FFFFFF"/>
              </a:solidFill>
              <a:latin typeface="CiscoSansJPN" pitchFamily="2" charset="-128"/>
              <a:ea typeface="CiscoSansJPN" pitchFamily="2" charset="-128"/>
              <a:cs typeface="CiscoSansJPN" pitchFamily="2" charset="-128"/>
            </a:endParaRPr>
          </a:p>
        </p:txBody>
      </p:sp>
    </p:spTree>
    <p:extLst>
      <p:ext uri="{BB962C8B-B14F-4D97-AF65-F5344CB8AC3E}">
        <p14:creationId xmlns:p14="http://schemas.microsoft.com/office/powerpoint/2010/main" val="1818753483"/>
      </p:ext>
    </p:extLst>
  </p:cSld>
  <p:clrMapOvr>
    <a:masterClrMapping/>
  </p:clrMapOvr>
  <p:transition spd="med">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83215" y="-536799"/>
            <a:ext cx="3820348" cy="2265389"/>
          </a:xfrm>
        </p:spPr>
        <p:txBody>
          <a:bodyPr/>
          <a:lstStyle/>
          <a:p>
            <a:pPr algn="ctr"/>
            <a:r>
              <a:rPr lang="en-US" dirty="0">
                <a:latin typeface="CiscoSansJPN" pitchFamily="2" charset="-128"/>
                <a:ea typeface="CiscoSansJPN" pitchFamily="2" charset="-128"/>
                <a:cs typeface="CiscoSansJPN" pitchFamily="2" charset="-128"/>
              </a:rPr>
              <a:t>Endpoint</a:t>
            </a:r>
            <a:br>
              <a:rPr lang="en-US" dirty="0">
                <a:latin typeface="CiscoSansJPN" pitchFamily="2" charset="-128"/>
                <a:ea typeface="CiscoSansJPN" pitchFamily="2" charset="-128"/>
                <a:cs typeface="CiscoSansJPN" pitchFamily="2" charset="-128"/>
              </a:rPr>
            </a:br>
            <a:r>
              <a:rPr lang="en-US" dirty="0">
                <a:latin typeface="CiscoSansJPN" pitchFamily="2" charset="-128"/>
                <a:ea typeface="CiscoSansJPN" pitchFamily="2" charset="-128"/>
                <a:cs typeface="CiscoSansJPN" pitchFamily="2" charset="-128"/>
              </a:rPr>
              <a:t>Isolation</a:t>
            </a:r>
          </a:p>
        </p:txBody>
      </p:sp>
      <p:sp>
        <p:nvSpPr>
          <p:cNvPr id="3" name="Text Placeholder 2"/>
          <p:cNvSpPr>
            <a:spLocks noGrp="1"/>
          </p:cNvSpPr>
          <p:nvPr>
            <p:ph type="body" sz="quarter" idx="11"/>
          </p:nvPr>
        </p:nvSpPr>
        <p:spPr>
          <a:xfrm>
            <a:off x="4883215" y="1292148"/>
            <a:ext cx="3865880" cy="2607204"/>
          </a:xfrm>
        </p:spPr>
        <p:txBody>
          <a:bodyPr anchor="t"/>
          <a:lstStyle/>
          <a:p>
            <a:r>
              <a:rPr lang="ja-JP" altLang="en-US" sz="1400" b="1">
                <a:latin typeface="CiscoSansJPN" pitchFamily="2" charset="-128"/>
                <a:ea typeface="CiscoSansJPN" pitchFamily="2" charset="-128"/>
                <a:cs typeface="CiscoSansJPN" pitchFamily="2" charset="-128"/>
              </a:rPr>
              <a:t>例</a:t>
            </a:r>
            <a:r>
              <a:rPr lang="en-US" sz="1400" b="1" dirty="0">
                <a:latin typeface="CiscoSansJPN" pitchFamily="2" charset="-128"/>
                <a:ea typeface="CiscoSansJPN" pitchFamily="2" charset="-128"/>
                <a:cs typeface="CiscoSansJPN" pitchFamily="2" charset="-128"/>
              </a:rPr>
              <a:t>: ISE</a:t>
            </a:r>
            <a:r>
              <a:rPr lang="ja-JP" altLang="en-US" sz="1400" b="1">
                <a:latin typeface="CiscoSansJPN" pitchFamily="2" charset="-128"/>
                <a:ea typeface="CiscoSansJPN" pitchFamily="2" charset="-128"/>
                <a:cs typeface="CiscoSansJPN" pitchFamily="2" charset="-128"/>
              </a:rPr>
              <a:t>無しで隔離</a:t>
            </a:r>
            <a:endParaRPr lang="en-US" sz="1400" b="1" dirty="0">
              <a:latin typeface="CiscoSansJPN" pitchFamily="2" charset="-128"/>
              <a:ea typeface="CiscoSansJPN" pitchFamily="2" charset="-128"/>
              <a:cs typeface="CiscoSansJPN" pitchFamily="2" charset="-128"/>
            </a:endParaRPr>
          </a:p>
          <a:p>
            <a:pPr marL="285750" indent="-285750">
              <a:buFontTx/>
              <a:buChar char="-"/>
            </a:pPr>
            <a:r>
              <a:rPr lang="ja-JP" altLang="en-US" sz="1400">
                <a:latin typeface="CiscoSansJPN" pitchFamily="2" charset="-128"/>
                <a:ea typeface="CiscoSansJPN" pitchFamily="2" charset="-128"/>
                <a:cs typeface="CiscoSansJPN" pitchFamily="2" charset="-128"/>
              </a:rPr>
              <a:t>マニュアル、ルールベースに基づいた隔離</a:t>
            </a:r>
            <a:endParaRPr lang="en-US" sz="1400" dirty="0">
              <a:latin typeface="CiscoSansJPN" pitchFamily="2" charset="-128"/>
              <a:ea typeface="CiscoSansJPN" pitchFamily="2" charset="-128"/>
              <a:cs typeface="CiscoSansJPN" pitchFamily="2" charset="-128"/>
            </a:endParaRPr>
          </a:p>
          <a:p>
            <a:pPr marL="285750" indent="-285750">
              <a:buFontTx/>
              <a:buChar char="-"/>
            </a:pPr>
            <a:r>
              <a:rPr lang="ja-JP" altLang="en-US" sz="1400">
                <a:latin typeface="CiscoSansJPN" pitchFamily="2" charset="-128"/>
                <a:ea typeface="CiscoSansJPN" pitchFamily="2" charset="-128"/>
                <a:cs typeface="CiscoSansJPN" pitchFamily="2" charset="-128"/>
              </a:rPr>
              <a:t>既存の</a:t>
            </a:r>
            <a:r>
              <a:rPr lang="en-US" altLang="ja-JP" sz="1400" dirty="0">
                <a:latin typeface="CiscoSansJPN" pitchFamily="2" charset="-128"/>
                <a:ea typeface="CiscoSansJPN" pitchFamily="2" charset="-128"/>
                <a:cs typeface="CiscoSansJPN" pitchFamily="2" charset="-128"/>
              </a:rPr>
              <a:t>DFC</a:t>
            </a:r>
            <a:r>
              <a:rPr lang="ja-JP" altLang="en-US" sz="1400">
                <a:latin typeface="CiscoSansJPN" pitchFamily="2" charset="-128"/>
                <a:ea typeface="CiscoSansJPN" pitchFamily="2" charset="-128"/>
                <a:cs typeface="CiscoSansJPN" pitchFamily="2" charset="-128"/>
              </a:rPr>
              <a:t>の機能を拡張</a:t>
            </a:r>
            <a:endParaRPr lang="en-US" sz="1400" dirty="0">
              <a:latin typeface="CiscoSansJPN" pitchFamily="2" charset="-128"/>
              <a:ea typeface="CiscoSansJPN" pitchFamily="2" charset="-128"/>
              <a:cs typeface="CiscoSansJPN" pitchFamily="2" charset="-128"/>
            </a:endParaRPr>
          </a:p>
          <a:p>
            <a:r>
              <a:rPr lang="ja-JP" altLang="en-US" sz="1400" b="1">
                <a:latin typeface="CiscoSansJPN" pitchFamily="2" charset="-128"/>
                <a:ea typeface="CiscoSansJPN" pitchFamily="2" charset="-128"/>
                <a:cs typeface="CiscoSansJPN" pitchFamily="2" charset="-128"/>
              </a:rPr>
              <a:t>続けて、、、</a:t>
            </a:r>
            <a:endParaRPr lang="en-US" sz="1400" b="1" dirty="0">
              <a:latin typeface="CiscoSansJPN" pitchFamily="2" charset="-128"/>
              <a:ea typeface="CiscoSansJPN" pitchFamily="2" charset="-128"/>
              <a:cs typeface="CiscoSansJPN" pitchFamily="2" charset="-128"/>
            </a:endParaRPr>
          </a:p>
          <a:p>
            <a:pPr marL="285750" indent="-285750">
              <a:buFontTx/>
              <a:buChar char="-"/>
            </a:pPr>
            <a:r>
              <a:rPr lang="ja-JP" altLang="en-US" sz="1400">
                <a:latin typeface="CiscoSansJPN" pitchFamily="2" charset="-128"/>
                <a:ea typeface="CiscoSansJPN" pitchFamily="2" charset="-128"/>
                <a:cs typeface="CiscoSansJPN" pitchFamily="2" charset="-128"/>
              </a:rPr>
              <a:t>ホストスキャンの実施</a:t>
            </a:r>
            <a:endParaRPr lang="en-US" sz="1400" dirty="0">
              <a:latin typeface="CiscoSansJPN" pitchFamily="2" charset="-128"/>
              <a:ea typeface="CiscoSansJPN" pitchFamily="2" charset="-128"/>
              <a:cs typeface="CiscoSansJPN" pitchFamily="2" charset="-128"/>
            </a:endParaRPr>
          </a:p>
          <a:p>
            <a:pPr marL="285750" indent="-285750">
              <a:buFontTx/>
              <a:buChar char="-"/>
            </a:pPr>
            <a:r>
              <a:rPr lang="en-US" sz="1400" dirty="0">
                <a:latin typeface="CiscoSansJPN" pitchFamily="2" charset="-128"/>
                <a:ea typeface="CiscoSansJPN" pitchFamily="2" charset="-128"/>
                <a:cs typeface="CiscoSansJPN" pitchFamily="2" charset="-128"/>
              </a:rPr>
              <a:t>Triage</a:t>
            </a:r>
            <a:r>
              <a:rPr lang="ja-JP" altLang="en-US" sz="1400">
                <a:latin typeface="CiscoSansJPN" pitchFamily="2" charset="-128"/>
                <a:ea typeface="CiscoSansJPN" pitchFamily="2" charset="-128"/>
                <a:cs typeface="CiscoSansJPN" pitchFamily="2" charset="-128"/>
              </a:rPr>
              <a:t>グループへの自動移行</a:t>
            </a:r>
            <a:endParaRPr lang="en-US" sz="1400" dirty="0">
              <a:latin typeface="CiscoSansJPN" pitchFamily="2" charset="-128"/>
              <a:ea typeface="CiscoSansJPN" pitchFamily="2" charset="-128"/>
              <a:cs typeface="CiscoSansJPN" pitchFamily="2" charset="-128"/>
            </a:endParaRPr>
          </a:p>
          <a:p>
            <a:endParaRPr lang="en-US" sz="1400" dirty="0">
              <a:latin typeface="CiscoSansJPN" pitchFamily="2" charset="-128"/>
              <a:ea typeface="CiscoSansJPN" pitchFamily="2" charset="-128"/>
              <a:cs typeface="CiscoSansJPN" pitchFamily="2" charset="-128"/>
            </a:endParaRPr>
          </a:p>
        </p:txBody>
      </p:sp>
      <p:sp>
        <p:nvSpPr>
          <p:cNvPr id="5" name="Text Placeholder 2"/>
          <p:cNvSpPr txBox="1">
            <a:spLocks/>
          </p:cNvSpPr>
          <p:nvPr/>
        </p:nvSpPr>
        <p:spPr>
          <a:xfrm>
            <a:off x="762586" y="1058232"/>
            <a:ext cx="3865880" cy="3797585"/>
          </a:xfrm>
          <a:prstGeom prst="rect">
            <a:avLst/>
          </a:prstGeom>
        </p:spPr>
        <p:txBody>
          <a:bodyPr lIns="91420" tIns="45710" rIns="91420" bIns="45710" anchor="ctr" anchorCtr="0">
            <a:noAutofit/>
          </a:bodyPr>
          <a:lstStyle>
            <a:lvl1pPr marL="0" indent="0" algn="l" defTabSz="684213" rtl="0" eaLnBrk="1" fontAlgn="base" hangingPunct="1">
              <a:lnSpc>
                <a:spcPct val="95000"/>
              </a:lnSpc>
              <a:spcBef>
                <a:spcPts val="1075"/>
              </a:spcBef>
              <a:spcAft>
                <a:spcPct val="0"/>
              </a:spcAft>
              <a:buClr>
                <a:schemeClr val="tx2"/>
              </a:buClr>
              <a:buSzPct val="90000"/>
              <a:buFontTx/>
              <a:buNone/>
              <a:defRPr lang="en-US" sz="1600" kern="1200" baseline="0">
                <a:solidFill>
                  <a:schemeClr val="tx1"/>
                </a:solidFill>
                <a:latin typeface="Arial" panose="020B0604020202020204" pitchFamily="34" charset="0"/>
                <a:ea typeface="ＭＳ Ｐゴシック" charset="0"/>
                <a:cs typeface="Arial" panose="020B0604020202020204" pitchFamily="34" charset="0"/>
              </a:defRPr>
            </a:lvl1pPr>
            <a:lvl2pPr marL="358775" indent="-215900" algn="l" defTabSz="684213" rtl="0" eaLnBrk="1" fontAlgn="base" hangingPunct="1">
              <a:lnSpc>
                <a:spcPct val="95000"/>
              </a:lnSpc>
              <a:spcBef>
                <a:spcPts val="600"/>
              </a:spcBef>
              <a:spcAft>
                <a:spcPct val="0"/>
              </a:spcAft>
              <a:buClr>
                <a:schemeClr val="tx2"/>
              </a:buClr>
              <a:buFont typeface="Arial" charset="0"/>
              <a:buChar char="•"/>
              <a:defRPr lang="en-US" sz="1500" kern="1200">
                <a:solidFill>
                  <a:schemeClr val="tx1"/>
                </a:solidFill>
                <a:latin typeface="+mn-lt"/>
                <a:ea typeface="ＭＳ Ｐゴシック" charset="0"/>
                <a:cs typeface="CiscoSans"/>
              </a:defRPr>
            </a:lvl2pPr>
            <a:lvl3pPr marL="431800" indent="-169863" algn="l" defTabSz="684213" rtl="0" eaLnBrk="1" fontAlgn="base" hangingPunct="1">
              <a:lnSpc>
                <a:spcPct val="95000"/>
              </a:lnSpc>
              <a:spcBef>
                <a:spcPts val="625"/>
              </a:spcBef>
              <a:spcAft>
                <a:spcPct val="0"/>
              </a:spcAft>
              <a:buFont typeface="Arial" charset="0"/>
              <a:buChar char="•"/>
              <a:defRPr lang="en-US" sz="1500" kern="1200">
                <a:solidFill>
                  <a:schemeClr val="tx1"/>
                </a:solidFill>
                <a:latin typeface="+mn-lt"/>
                <a:ea typeface="ＭＳ Ｐゴシック" charset="0"/>
                <a:cs typeface="CiscoSans"/>
              </a:defRPr>
            </a:lvl3pPr>
            <a:lvl4pPr marL="503238" indent="-169863" algn="l" defTabSz="684213" rtl="0" eaLnBrk="1" fontAlgn="base" hangingPunct="1">
              <a:lnSpc>
                <a:spcPct val="95000"/>
              </a:lnSpc>
              <a:spcBef>
                <a:spcPts val="625"/>
              </a:spcBef>
              <a:spcAft>
                <a:spcPct val="0"/>
              </a:spcAft>
              <a:buFont typeface="Arial" charset="0"/>
              <a:buChar char="•"/>
              <a:defRPr lang="en-US" sz="1500" kern="1200">
                <a:solidFill>
                  <a:schemeClr val="tx1"/>
                </a:solidFill>
                <a:latin typeface="+mn-lt"/>
                <a:ea typeface="ＭＳ Ｐゴシック" charset="0"/>
                <a:cs typeface="CiscoSans"/>
              </a:defRPr>
            </a:lvl4pPr>
            <a:lvl5pPr marL="574675" indent="-169863" algn="l" defTabSz="684213" rtl="0" eaLnBrk="1" fontAlgn="base" hangingPunct="1">
              <a:lnSpc>
                <a:spcPct val="95000"/>
              </a:lnSpc>
              <a:spcBef>
                <a:spcPts val="625"/>
              </a:spcBef>
              <a:spcAft>
                <a:spcPct val="0"/>
              </a:spcAft>
              <a:buFont typeface="Arial" charset="0"/>
              <a:buChar char="•"/>
              <a:defRPr lang="en-US" sz="1500" kern="1200">
                <a:solidFill>
                  <a:schemeClr val="tx1"/>
                </a:solidFill>
                <a:latin typeface="+mn-lt"/>
                <a:ea typeface="ＭＳ Ｐゴシック" charset="0"/>
                <a:cs typeface="CiscoSans"/>
              </a:defRPr>
            </a:lvl5pPr>
            <a:lvl6pPr marL="863856" indent="-171445" algn="l" defTabSz="685777" rtl="0" eaLnBrk="1" latinLnBrk="0" hangingPunct="1">
              <a:spcBef>
                <a:spcPts val="600"/>
              </a:spcBef>
              <a:buFont typeface="Arial" pitchFamily="34" charset="0"/>
              <a:buChar char="•"/>
              <a:defRPr sz="900" kern="1200" baseline="0">
                <a:solidFill>
                  <a:schemeClr val="tx1"/>
                </a:solidFill>
                <a:latin typeface="+mn-lt"/>
                <a:ea typeface="+mn-ea"/>
                <a:cs typeface="+mn-cs"/>
              </a:defRPr>
            </a:lvl6pPr>
            <a:lvl7pPr marL="935844" indent="-171422" algn="l" defTabSz="685777" rtl="0" eaLnBrk="1" latinLnBrk="0" hangingPunct="1">
              <a:spcBef>
                <a:spcPts val="600"/>
              </a:spcBef>
              <a:buFont typeface="Arial" pitchFamily="34" charset="0"/>
              <a:buChar char="•"/>
              <a:defRPr sz="800" kern="1200" baseline="0">
                <a:solidFill>
                  <a:schemeClr val="tx1"/>
                </a:solidFill>
                <a:latin typeface="+mn-lt"/>
                <a:ea typeface="+mn-ea"/>
                <a:cs typeface="+mn-cs"/>
              </a:defRPr>
            </a:lvl7pPr>
            <a:lvl8pPr marL="2400220" indent="0" algn="l" defTabSz="685777" rtl="0" eaLnBrk="1" latinLnBrk="0" hangingPunct="1">
              <a:spcBef>
                <a:spcPct val="20000"/>
              </a:spcBef>
              <a:buFont typeface="Arial" pitchFamily="34" charset="0"/>
              <a:buNone/>
              <a:defRPr sz="1500" kern="1200">
                <a:solidFill>
                  <a:schemeClr val="tx1"/>
                </a:solidFill>
                <a:latin typeface="+mn-lt"/>
                <a:ea typeface="+mn-ea"/>
                <a:cs typeface="+mn-cs"/>
              </a:defRPr>
            </a:lvl8pPr>
            <a:lvl9pPr marL="2914553" indent="-171445" algn="l" defTabSz="68577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ja-JP" altLang="en-US" sz="1400" b="1">
                <a:latin typeface="CiscoSansJPN" pitchFamily="2" charset="-128"/>
                <a:ea typeface="CiscoSansJPN" pitchFamily="2" charset="-128"/>
                <a:cs typeface="CiscoSansJPN" pitchFamily="2" charset="-128"/>
              </a:rPr>
              <a:t>ユースケース</a:t>
            </a:r>
            <a:r>
              <a:rPr lang="en-US" sz="1400" b="1" dirty="0">
                <a:latin typeface="CiscoSansJPN" pitchFamily="2" charset="-128"/>
                <a:ea typeface="CiscoSansJPN" pitchFamily="2" charset="-128"/>
                <a:cs typeface="CiscoSansJPN" pitchFamily="2" charset="-128"/>
              </a:rPr>
              <a:t>: CTR、TG</a:t>
            </a:r>
            <a:r>
              <a:rPr lang="ja-JP" altLang="en-US" sz="1400" b="1">
                <a:latin typeface="CiscoSansJPN" pitchFamily="2" charset="-128"/>
                <a:ea typeface="CiscoSansJPN" pitchFamily="2" charset="-128"/>
                <a:cs typeface="CiscoSansJPN" pitchFamily="2" charset="-128"/>
              </a:rPr>
              <a:t>そして</a:t>
            </a:r>
            <a:r>
              <a:rPr lang="en-US" altLang="ja-JP" sz="1400" b="1" dirty="0">
                <a:latin typeface="CiscoSansJPN" pitchFamily="2" charset="-128"/>
                <a:ea typeface="CiscoSansJPN" pitchFamily="2" charset="-128"/>
                <a:cs typeface="CiscoSansJPN" pitchFamily="2" charset="-128"/>
              </a:rPr>
              <a:t>AMP</a:t>
            </a:r>
            <a:r>
              <a:rPr lang="ja-JP" altLang="en-US" sz="1400" b="1">
                <a:latin typeface="CiscoSansJPN" pitchFamily="2" charset="-128"/>
                <a:ea typeface="CiscoSansJPN" pitchFamily="2" charset="-128"/>
                <a:cs typeface="CiscoSansJPN" pitchFamily="2" charset="-128"/>
              </a:rPr>
              <a:t>によって脅威ハンティングを行う</a:t>
            </a:r>
            <a:endParaRPr lang="en-US" sz="1400" b="1" dirty="0">
              <a:latin typeface="CiscoSansJPN" pitchFamily="2" charset="-128"/>
              <a:ea typeface="CiscoSansJPN" pitchFamily="2" charset="-128"/>
              <a:cs typeface="CiscoSansJPN" pitchFamily="2" charset="-128"/>
            </a:endParaRPr>
          </a:p>
          <a:p>
            <a:r>
              <a:rPr lang="ja-JP" altLang="en-US" sz="1400">
                <a:latin typeface="CiscoSansJPN" pitchFamily="2" charset="-128"/>
                <a:ea typeface="CiscoSansJPN" pitchFamily="2" charset="-128"/>
                <a:cs typeface="CiscoSansJPN" pitchFamily="2" charset="-128"/>
              </a:rPr>
              <a:t>オンデマンドでエンドポイントの情報を洗い出す</a:t>
            </a:r>
            <a:endParaRPr lang="en-US" sz="1400" dirty="0">
              <a:latin typeface="CiscoSansJPN" pitchFamily="2" charset="-128"/>
              <a:ea typeface="CiscoSansJPN" pitchFamily="2" charset="-128"/>
              <a:cs typeface="CiscoSansJPN" pitchFamily="2" charset="-128"/>
            </a:endParaRPr>
          </a:p>
          <a:p>
            <a:pPr marL="285750" indent="-285750">
              <a:buFontTx/>
              <a:buChar char="-"/>
            </a:pPr>
            <a:r>
              <a:rPr lang="ja-JP" altLang="en-US" sz="1400">
                <a:latin typeface="CiscoSansJPN" pitchFamily="2" charset="-128"/>
                <a:ea typeface="CiscoSansJPN" pitchFamily="2" charset="-128"/>
                <a:cs typeface="CiscoSansJPN" pitchFamily="2" charset="-128"/>
              </a:rPr>
              <a:t>例：ネットワークポートに紐付いた新しいプロセスリスト</a:t>
            </a:r>
            <a:endParaRPr lang="en-US" sz="1400" dirty="0">
              <a:latin typeface="CiscoSansJPN" pitchFamily="2" charset="-128"/>
              <a:ea typeface="CiscoSansJPN" pitchFamily="2" charset="-128"/>
              <a:cs typeface="CiscoSansJPN" pitchFamily="2" charset="-128"/>
            </a:endParaRPr>
          </a:p>
          <a:p>
            <a:pPr marL="285750" indent="-285750">
              <a:buFontTx/>
              <a:buChar char="-"/>
            </a:pPr>
            <a:r>
              <a:rPr lang="ja-JP" altLang="en-US" sz="1400">
                <a:latin typeface="CiscoSansJPN" pitchFamily="2" charset="-128"/>
                <a:ea typeface="CiscoSansJPN" pitchFamily="2" charset="-128"/>
                <a:cs typeface="CiscoSansJPN" pitchFamily="2" charset="-128"/>
              </a:rPr>
              <a:t>例：削除された</a:t>
            </a:r>
            <a:r>
              <a:rPr lang="en-US" altLang="ja-JP" sz="1400" dirty="0">
                <a:latin typeface="CiscoSansJPN" pitchFamily="2" charset="-128"/>
                <a:ea typeface="CiscoSansJPN" pitchFamily="2" charset="-128"/>
                <a:cs typeface="CiscoSansJPN" pitchFamily="2" charset="-128"/>
              </a:rPr>
              <a:t>PE</a:t>
            </a:r>
            <a:r>
              <a:rPr lang="ja-JP" altLang="en-US" sz="1400">
                <a:latin typeface="CiscoSansJPN" pitchFamily="2" charset="-128"/>
                <a:ea typeface="CiscoSansJPN" pitchFamily="2" charset="-128"/>
                <a:cs typeface="CiscoSansJPN" pitchFamily="2" charset="-128"/>
              </a:rPr>
              <a:t>ファイル一覧</a:t>
            </a:r>
            <a:endParaRPr lang="en-US" sz="1400" dirty="0">
              <a:latin typeface="CiscoSansJPN" pitchFamily="2" charset="-128"/>
              <a:ea typeface="CiscoSansJPN" pitchFamily="2" charset="-128"/>
              <a:cs typeface="CiscoSansJPN" pitchFamily="2" charset="-128"/>
            </a:endParaRPr>
          </a:p>
          <a:p>
            <a:r>
              <a:rPr lang="ja-JP" altLang="en-US" sz="1400">
                <a:latin typeface="CiscoSansJPN" pitchFamily="2" charset="-128"/>
                <a:ea typeface="CiscoSansJPN" pitchFamily="2" charset="-128"/>
                <a:cs typeface="CiscoSansJPN" pitchFamily="2" charset="-128"/>
              </a:rPr>
              <a:t>脅威ハンティングを超えて</a:t>
            </a:r>
            <a:r>
              <a:rPr lang="en-US" sz="1400" dirty="0">
                <a:latin typeface="CiscoSansJPN" pitchFamily="2" charset="-128"/>
                <a:ea typeface="CiscoSansJPN" pitchFamily="2" charset="-128"/>
                <a:cs typeface="CiscoSansJPN" pitchFamily="2" charset="-128"/>
              </a:rPr>
              <a:t>:</a:t>
            </a:r>
          </a:p>
          <a:p>
            <a:pPr marL="285750" indent="-285750">
              <a:buFontTx/>
              <a:buChar char="-"/>
            </a:pPr>
            <a:r>
              <a:rPr lang="ja-JP" altLang="en-US" sz="1400">
                <a:latin typeface="CiscoSansJPN" pitchFamily="2" charset="-128"/>
                <a:ea typeface="CiscoSansJPN" pitchFamily="2" charset="-128"/>
                <a:cs typeface="CiscoSansJPN" pitchFamily="2" charset="-128"/>
              </a:rPr>
              <a:t>エンドポイントの設定とコンテキストの融合</a:t>
            </a:r>
            <a:endParaRPr lang="en-US" sz="1400" dirty="0">
              <a:latin typeface="CiscoSansJPN" pitchFamily="2" charset="-128"/>
              <a:ea typeface="CiscoSansJPN" pitchFamily="2" charset="-128"/>
              <a:cs typeface="CiscoSansJPN" pitchFamily="2" charset="-128"/>
            </a:endParaRPr>
          </a:p>
          <a:p>
            <a:pPr marL="285750" indent="-285750">
              <a:buFontTx/>
              <a:buChar char="-"/>
            </a:pPr>
            <a:r>
              <a:rPr lang="ja-JP" altLang="en-US" sz="1400">
                <a:latin typeface="CiscoSansJPN" pitchFamily="2" charset="-128"/>
                <a:ea typeface="CiscoSansJPN" pitchFamily="2" charset="-128"/>
                <a:cs typeface="CiscoSansJPN" pitchFamily="2" charset="-128"/>
              </a:rPr>
              <a:t>エンドポイントシステムの監視</a:t>
            </a:r>
            <a:endParaRPr lang="en-US" sz="1400" dirty="0">
              <a:latin typeface="CiscoSansJPN" pitchFamily="2" charset="-128"/>
              <a:ea typeface="CiscoSansJPN" pitchFamily="2" charset="-128"/>
              <a:cs typeface="CiscoSansJPN" pitchFamily="2" charset="-128"/>
            </a:endParaRPr>
          </a:p>
          <a:p>
            <a:r>
              <a:rPr lang="ja-JP" altLang="en-US" sz="1400">
                <a:latin typeface="CiscoSansJPN" pitchFamily="2" charset="-128"/>
                <a:ea typeface="CiscoSansJPN" pitchFamily="2" charset="-128"/>
                <a:cs typeface="CiscoSansJPN" pitchFamily="2" charset="-128"/>
              </a:rPr>
              <a:t>エンドポイントのポスチャーデータをクラウドで確認</a:t>
            </a:r>
            <a:endParaRPr lang="en-US" sz="1400" dirty="0">
              <a:latin typeface="CiscoSansJPN" pitchFamily="2" charset="-128"/>
              <a:ea typeface="CiscoSansJPN" pitchFamily="2" charset="-128"/>
              <a:cs typeface="CiscoSansJPN" pitchFamily="2" charset="-128"/>
            </a:endParaRPr>
          </a:p>
        </p:txBody>
      </p:sp>
      <p:sp>
        <p:nvSpPr>
          <p:cNvPr id="6" name="Title 1"/>
          <p:cNvSpPr txBox="1">
            <a:spLocks/>
          </p:cNvSpPr>
          <p:nvPr/>
        </p:nvSpPr>
        <p:spPr bwMode="auto">
          <a:xfrm>
            <a:off x="507836" y="-547073"/>
            <a:ext cx="3865880" cy="2265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61715" tIns="34288" rIns="61715" bIns="34288" numCol="1" rtlCol="0" anchor="ctr" anchorCtr="0" compatLnSpc="1">
            <a:prstTxWarp prst="textNoShape">
              <a:avLst/>
            </a:prstTxWarp>
            <a:noAutofit/>
          </a:bodyPr>
          <a:lstStyle>
            <a:lvl1pPr marL="0" indent="0" algn="l" defTabSz="685748" rtl="0" eaLnBrk="1" fontAlgn="base" latinLnBrk="0" hangingPunct="1">
              <a:lnSpc>
                <a:spcPct val="80000"/>
              </a:lnSpc>
              <a:spcBef>
                <a:spcPct val="0"/>
              </a:spcBef>
              <a:spcAft>
                <a:spcPct val="0"/>
              </a:spcAft>
              <a:buClr>
                <a:schemeClr val="tx1"/>
              </a:buClr>
              <a:buFont typeface="Ciscolight" pitchFamily="2" charset="0"/>
              <a:buNone/>
              <a:defRPr lang="en-US" sz="3200" b="0" i="0" u="none" kern="1200" spc="0" baseline="0" dirty="0">
                <a:solidFill>
                  <a:schemeClr val="bg1"/>
                </a:solidFill>
                <a:latin typeface="Arial" panose="020B0604020202020204" pitchFamily="34" charset="0"/>
                <a:ea typeface="+mj-ea"/>
                <a:cs typeface="Arial" panose="020B0604020202020204" pitchFamily="34"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dirty="0">
                <a:latin typeface="CiscoSansJPN" pitchFamily="2" charset="-128"/>
                <a:ea typeface="CiscoSansJPN" pitchFamily="2" charset="-128"/>
                <a:cs typeface="CiscoSansJPN" pitchFamily="2" charset="-128"/>
              </a:rPr>
              <a:t>Improved </a:t>
            </a:r>
          </a:p>
          <a:p>
            <a:pPr algn="ctr"/>
            <a:r>
              <a:rPr lang="en-US" dirty="0">
                <a:latin typeface="CiscoSansJPN" pitchFamily="2" charset="-128"/>
                <a:ea typeface="CiscoSansJPN" pitchFamily="2" charset="-128"/>
                <a:cs typeface="CiscoSansJPN" pitchFamily="2" charset="-128"/>
              </a:rPr>
              <a:t>Endpoint Search</a:t>
            </a:r>
          </a:p>
        </p:txBody>
      </p:sp>
    </p:spTree>
    <p:extLst>
      <p:ext uri="{BB962C8B-B14F-4D97-AF65-F5344CB8AC3E}">
        <p14:creationId xmlns:p14="http://schemas.microsoft.com/office/powerpoint/2010/main" val="1160377880"/>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pPr algn="ctr"/>
            <a:r>
              <a:rPr lang="en-US" dirty="0"/>
              <a:t>AMP for Endpoints</a:t>
            </a:r>
            <a:r>
              <a:rPr lang="ja-JP" altLang="en-US"/>
              <a:t>の販売数</a:t>
            </a:r>
            <a:endParaRPr lang="en-US" dirty="0"/>
          </a:p>
        </p:txBody>
      </p:sp>
      <p:pic>
        <p:nvPicPr>
          <p:cNvPr id="1026" name="Picture 2" descr="D# 2753 - Big Hole Crack - Presentation Clipart"/>
          <p:cNvPicPr>
            <a:picLocks noChangeAspect="1" noChangeArrowheads="1"/>
          </p:cNvPicPr>
          <p:nvPr/>
        </p:nvPicPr>
        <p:blipFill rotWithShape="1">
          <a:blip r:embed="rId3">
            <a:extLst>
              <a:ext uri="{28A0092B-C50C-407E-A947-70E740481C1C}">
                <a14:useLocalDpi xmlns:a14="http://schemas.microsoft.com/office/drawing/2010/main" val="0"/>
              </a:ext>
            </a:extLst>
          </a:blip>
          <a:srcRect l="5269" t="31312" r="6065" b="32215"/>
          <a:stretch/>
        </p:blipFill>
        <p:spPr bwMode="auto">
          <a:xfrm>
            <a:off x="3228054" y="2644878"/>
            <a:ext cx="2533650" cy="1042219"/>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3278990" y="1927574"/>
            <a:ext cx="2704009" cy="1323439"/>
          </a:xfrm>
          <a:prstGeom prst="rect">
            <a:avLst/>
          </a:prstGeom>
          <a:noFill/>
        </p:spPr>
        <p:txBody>
          <a:bodyPr wrap="none" lIns="91440" tIns="45720" rIns="91440" bIns="45720">
            <a:spAutoFit/>
          </a:bodyPr>
          <a:lstStyle/>
          <a:p>
            <a:pPr algn="ctr"/>
            <a:r>
              <a:rPr lang="en-US" sz="8000" b="0" cap="none" spc="0" dirty="0">
                <a:ln w="0"/>
                <a:gradFill>
                  <a:gsLst>
                    <a:gs pos="21000">
                      <a:srgbClr val="53575C"/>
                    </a:gs>
                    <a:gs pos="88000">
                      <a:srgbClr val="C5C7CA"/>
                    </a:gs>
                  </a:gsLst>
                  <a:lin ang="5400000"/>
                </a:gradFill>
                <a:effectLst/>
              </a:rPr>
              <a:t>~11M</a:t>
            </a:r>
          </a:p>
        </p:txBody>
      </p:sp>
      <p:grpSp>
        <p:nvGrpSpPr>
          <p:cNvPr id="19" name="Group 18"/>
          <p:cNvGrpSpPr/>
          <p:nvPr/>
        </p:nvGrpSpPr>
        <p:grpSpPr>
          <a:xfrm>
            <a:off x="3769219" y="3436582"/>
            <a:ext cx="1723549" cy="1209368"/>
            <a:chOff x="1440510" y="2183213"/>
            <a:chExt cx="1723549" cy="1209368"/>
          </a:xfrm>
        </p:grpSpPr>
        <p:sp>
          <p:nvSpPr>
            <p:cNvPr id="12" name="Rectangle 11"/>
            <p:cNvSpPr/>
            <p:nvPr/>
          </p:nvSpPr>
          <p:spPr>
            <a:xfrm>
              <a:off x="1440510" y="2183213"/>
              <a:ext cx="1723549" cy="923330"/>
            </a:xfrm>
            <a:prstGeom prst="rect">
              <a:avLst/>
            </a:prstGeom>
            <a:noFill/>
          </p:spPr>
          <p:txBody>
            <a:bodyPr wrap="none" lIns="91440" tIns="45720" rIns="91440" bIns="45720">
              <a:spAutoFit/>
            </a:bodyPr>
            <a:lstStyle/>
            <a:p>
              <a:pPr algn="ctr"/>
              <a:r>
                <a:rPr lang="en-US" sz="5400" dirty="0">
                  <a:ln w="0"/>
                  <a:gradFill>
                    <a:gsLst>
                      <a:gs pos="21000">
                        <a:srgbClr val="53575C"/>
                      </a:gs>
                      <a:gs pos="88000">
                        <a:srgbClr val="C5C7CA"/>
                      </a:gs>
                    </a:gsLst>
                    <a:lin ang="5400000"/>
                  </a:gradFill>
                </a:rPr>
                <a:t>9.4</a:t>
              </a:r>
              <a:r>
                <a:rPr lang="en-US" sz="5400" b="0" cap="none" spc="0" dirty="0">
                  <a:ln w="0"/>
                  <a:gradFill>
                    <a:gsLst>
                      <a:gs pos="21000">
                        <a:srgbClr val="53575C"/>
                      </a:gs>
                      <a:gs pos="88000">
                        <a:srgbClr val="C5C7CA"/>
                      </a:gs>
                    </a:gsLst>
                    <a:lin ang="5400000"/>
                  </a:gradFill>
                  <a:effectLst/>
                </a:rPr>
                <a:t>M</a:t>
              </a:r>
            </a:p>
          </p:txBody>
        </p:sp>
        <p:sp>
          <p:nvSpPr>
            <p:cNvPr id="16" name="TextBox 15"/>
            <p:cNvSpPr txBox="1"/>
            <p:nvPr/>
          </p:nvSpPr>
          <p:spPr>
            <a:xfrm>
              <a:off x="1590391" y="3023249"/>
              <a:ext cx="1433406" cy="369332"/>
            </a:xfrm>
            <a:prstGeom prst="rect">
              <a:avLst/>
            </a:prstGeom>
            <a:noFill/>
          </p:spPr>
          <p:txBody>
            <a:bodyPr wrap="none" rtlCol="0">
              <a:spAutoFit/>
            </a:bodyPr>
            <a:lstStyle/>
            <a:p>
              <a:r>
                <a:rPr lang="ja-JP" altLang="en-US">
                  <a:latin typeface="+mn-lt"/>
                </a:rPr>
                <a:t>前回の</a:t>
              </a:r>
              <a:r>
                <a:rPr lang="en-US" altLang="ja-JP" dirty="0">
                  <a:latin typeface="+mn-lt"/>
                </a:rPr>
                <a:t>SEVT</a:t>
              </a:r>
              <a:endParaRPr lang="en-US" dirty="0">
                <a:latin typeface="+mn-lt"/>
              </a:endParaRPr>
            </a:p>
          </p:txBody>
        </p:sp>
      </p:grpSp>
      <p:grpSp>
        <p:nvGrpSpPr>
          <p:cNvPr id="22" name="Group 21"/>
          <p:cNvGrpSpPr/>
          <p:nvPr/>
        </p:nvGrpSpPr>
        <p:grpSpPr>
          <a:xfrm>
            <a:off x="1603464" y="915359"/>
            <a:ext cx="2587568" cy="1196881"/>
            <a:chOff x="2004298" y="906147"/>
            <a:chExt cx="2587568" cy="1196881"/>
          </a:xfrm>
        </p:grpSpPr>
        <p:sp>
          <p:nvSpPr>
            <p:cNvPr id="14" name="Rectangle 13"/>
            <p:cNvSpPr/>
            <p:nvPr/>
          </p:nvSpPr>
          <p:spPr>
            <a:xfrm>
              <a:off x="2402144" y="906147"/>
              <a:ext cx="1550425" cy="923330"/>
            </a:xfrm>
            <a:prstGeom prst="rect">
              <a:avLst/>
            </a:prstGeom>
            <a:noFill/>
          </p:spPr>
          <p:txBody>
            <a:bodyPr wrap="none" lIns="91440" tIns="45720" rIns="91440" bIns="45720">
              <a:spAutoFit/>
            </a:bodyPr>
            <a:lstStyle/>
            <a:p>
              <a:pPr algn="ctr"/>
              <a:r>
                <a:rPr lang="en-US" sz="5400" dirty="0">
                  <a:ln w="0"/>
                  <a:gradFill>
                    <a:gsLst>
                      <a:gs pos="21000">
                        <a:srgbClr val="53575C"/>
                      </a:gs>
                      <a:gs pos="88000">
                        <a:srgbClr val="C5C7CA"/>
                      </a:gs>
                    </a:gsLst>
                    <a:lin ang="5400000"/>
                  </a:gradFill>
                </a:rPr>
                <a:t>~2</a:t>
              </a:r>
              <a:r>
                <a:rPr lang="en-US" sz="5400" b="0" cap="none" spc="0" dirty="0">
                  <a:ln w="0"/>
                  <a:gradFill>
                    <a:gsLst>
                      <a:gs pos="21000">
                        <a:srgbClr val="53575C"/>
                      </a:gs>
                      <a:gs pos="88000">
                        <a:srgbClr val="C5C7CA"/>
                      </a:gs>
                    </a:gsLst>
                    <a:lin ang="5400000"/>
                  </a:gradFill>
                  <a:effectLst/>
                </a:rPr>
                <a:t>M</a:t>
              </a:r>
            </a:p>
          </p:txBody>
        </p:sp>
        <p:sp>
          <p:nvSpPr>
            <p:cNvPr id="20" name="TextBox 19"/>
            <p:cNvSpPr txBox="1"/>
            <p:nvPr/>
          </p:nvSpPr>
          <p:spPr>
            <a:xfrm>
              <a:off x="2004298" y="1733696"/>
              <a:ext cx="2587568" cy="369332"/>
            </a:xfrm>
            <a:prstGeom prst="rect">
              <a:avLst/>
            </a:prstGeom>
            <a:noFill/>
          </p:spPr>
          <p:txBody>
            <a:bodyPr wrap="none" rtlCol="0">
              <a:spAutoFit/>
            </a:bodyPr>
            <a:lstStyle/>
            <a:p>
              <a:r>
                <a:rPr lang="ja-JP" altLang="en-US">
                  <a:latin typeface="+mn-lt"/>
                </a:rPr>
                <a:t>前回の</a:t>
              </a:r>
              <a:r>
                <a:rPr lang="en-US" altLang="ja-JP" dirty="0">
                  <a:latin typeface="+mn-lt"/>
                </a:rPr>
                <a:t>SEVT</a:t>
              </a:r>
              <a:r>
                <a:rPr lang="ja-JP" altLang="en-US">
                  <a:latin typeface="+mn-lt"/>
                </a:rPr>
                <a:t>以降の増加</a:t>
              </a:r>
              <a:endParaRPr lang="en-US" dirty="0">
                <a:latin typeface="+mn-lt"/>
              </a:endParaRPr>
            </a:p>
          </p:txBody>
        </p:sp>
      </p:grpSp>
      <p:grpSp>
        <p:nvGrpSpPr>
          <p:cNvPr id="23" name="Group 22"/>
          <p:cNvGrpSpPr/>
          <p:nvPr/>
        </p:nvGrpSpPr>
        <p:grpSpPr>
          <a:xfrm>
            <a:off x="4722026" y="915359"/>
            <a:ext cx="1550425" cy="1166988"/>
            <a:chOff x="4722026" y="915359"/>
            <a:chExt cx="1550425" cy="1166988"/>
          </a:xfrm>
        </p:grpSpPr>
        <p:sp>
          <p:nvSpPr>
            <p:cNvPr id="13" name="Rectangle 12"/>
            <p:cNvSpPr/>
            <p:nvPr/>
          </p:nvSpPr>
          <p:spPr>
            <a:xfrm>
              <a:off x="4722026" y="915359"/>
              <a:ext cx="1550425" cy="923330"/>
            </a:xfrm>
            <a:prstGeom prst="rect">
              <a:avLst/>
            </a:prstGeom>
            <a:noFill/>
          </p:spPr>
          <p:txBody>
            <a:bodyPr wrap="none" lIns="91440" tIns="45720" rIns="91440" bIns="45720">
              <a:spAutoFit/>
            </a:bodyPr>
            <a:lstStyle/>
            <a:p>
              <a:pPr algn="ctr"/>
              <a:r>
                <a:rPr lang="en-US" sz="5400" dirty="0">
                  <a:ln w="0"/>
                  <a:gradFill>
                    <a:gsLst>
                      <a:gs pos="21000">
                        <a:srgbClr val="53575C"/>
                      </a:gs>
                      <a:gs pos="88000">
                        <a:srgbClr val="C5C7CA"/>
                      </a:gs>
                    </a:gsLst>
                    <a:lin ang="5400000"/>
                  </a:gradFill>
                </a:rPr>
                <a:t>4</a:t>
              </a:r>
              <a:r>
                <a:rPr lang="en-US" sz="5400" b="0" cap="none" spc="0" dirty="0">
                  <a:ln w="0"/>
                  <a:gradFill>
                    <a:gsLst>
                      <a:gs pos="21000">
                        <a:srgbClr val="53575C"/>
                      </a:gs>
                      <a:gs pos="88000">
                        <a:srgbClr val="C5C7CA"/>
                      </a:gs>
                    </a:gsLst>
                    <a:lin ang="5400000"/>
                  </a:gradFill>
                  <a:effectLst/>
                </a:rPr>
                <a:t>M+</a:t>
              </a:r>
            </a:p>
          </p:txBody>
        </p:sp>
        <p:sp>
          <p:nvSpPr>
            <p:cNvPr id="21" name="TextBox 20"/>
            <p:cNvSpPr txBox="1"/>
            <p:nvPr/>
          </p:nvSpPr>
          <p:spPr>
            <a:xfrm>
              <a:off x="4821616" y="1713015"/>
              <a:ext cx="1329210" cy="369332"/>
            </a:xfrm>
            <a:prstGeom prst="rect">
              <a:avLst/>
            </a:prstGeom>
            <a:noFill/>
          </p:spPr>
          <p:txBody>
            <a:bodyPr wrap="none" rtlCol="0">
              <a:spAutoFit/>
            </a:bodyPr>
            <a:lstStyle/>
            <a:p>
              <a:r>
                <a:rPr lang="ja-JP" altLang="en-US">
                  <a:latin typeface="+mn-lt"/>
                </a:rPr>
                <a:t>年間の伸び</a:t>
              </a:r>
              <a:endParaRPr lang="en-US" dirty="0">
                <a:latin typeface="+mn-lt"/>
              </a:endParaRPr>
            </a:p>
          </p:txBody>
        </p:sp>
      </p:grpSp>
    </p:spTree>
    <p:extLst>
      <p:ext uri="{BB962C8B-B14F-4D97-AF65-F5344CB8AC3E}">
        <p14:creationId xmlns:p14="http://schemas.microsoft.com/office/powerpoint/2010/main" val="11426391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wipe(down)">
                                      <p:cBhvr>
                                        <p:cTn id="7" dur="580">
                                          <p:stCondLst>
                                            <p:cond delay="0"/>
                                          </p:stCondLst>
                                        </p:cTn>
                                        <p:tgtEl>
                                          <p:spTgt spid="9"/>
                                        </p:tgtEl>
                                      </p:cBhvr>
                                    </p:animEffect>
                                    <p:anim calcmode="lin" valueType="num">
                                      <p:cBhvr>
                                        <p:cTn id="8" dur="1822" tmFilter="0,0; 0.14,0.36; 0.43,0.73; 0.71,0.91; 1.0,1.0">
                                          <p:stCondLst>
                                            <p:cond delay="0"/>
                                          </p:stCondLst>
                                        </p:cTn>
                                        <p:tgtEl>
                                          <p:spTgt spid="9"/>
                                        </p:tgtEl>
                                        <p:attrNameLst>
                                          <p:attrName>ppt_x</p:attrName>
                                        </p:attrNameLst>
                                      </p:cBhvr>
                                      <p:tavLst>
                                        <p:tav tm="0">
                                          <p:val>
                                            <p:strVal val="#ppt_x-0.25"/>
                                          </p:val>
                                        </p:tav>
                                        <p:tav tm="100000">
                                          <p:val>
                                            <p:strVal val="#ppt_x"/>
                                          </p:val>
                                        </p:tav>
                                      </p:tavLst>
                                    </p:anim>
                                    <p:anim calcmode="lin" valueType="num">
                                      <p:cBhvr>
                                        <p:cTn id="9" dur="664" tmFilter="0.0,0.0; 0.25,0.07; 0.50,0.2; 0.75,0.467; 1.0,1.0">
                                          <p:stCondLst>
                                            <p:cond delay="0"/>
                                          </p:stCondLst>
                                        </p:cTn>
                                        <p:tgtEl>
                                          <p:spTgt spid="9"/>
                                        </p:tgtEl>
                                        <p:attrNameLst>
                                          <p:attrName>ppt_y</p:attrName>
                                        </p:attrNameLst>
                                      </p:cBhvr>
                                      <p:tavLst>
                                        <p:tav tm="0" fmla="#ppt_y-sin(pi*$)/3">
                                          <p:val>
                                            <p:fltVal val="0.5"/>
                                          </p:val>
                                        </p:tav>
                                        <p:tav tm="100000">
                                          <p:val>
                                            <p:fltVal val="1"/>
                                          </p:val>
                                        </p:tav>
                                      </p:tavLst>
                                    </p:anim>
                                    <p:anim calcmode="lin" valueType="num">
                                      <p:cBhvr>
                                        <p:cTn id="10" dur="664" tmFilter="0, 0; 0.125,0.2665; 0.25,0.4; 0.375,0.465; 0.5,0.5;  0.625,0.535; 0.75,0.6; 0.875,0.7335; 1,1">
                                          <p:stCondLst>
                                            <p:cond delay="664"/>
                                          </p:stCondLst>
                                        </p:cTn>
                                        <p:tgtEl>
                                          <p:spTgt spid="9"/>
                                        </p:tgtEl>
                                        <p:attrNameLst>
                                          <p:attrName>ppt_y</p:attrName>
                                        </p:attrNameLst>
                                      </p:cBhvr>
                                      <p:tavLst>
                                        <p:tav tm="0" fmla="#ppt_y-sin(pi*$)/9">
                                          <p:val>
                                            <p:fltVal val="0"/>
                                          </p:val>
                                        </p:tav>
                                        <p:tav tm="100000">
                                          <p:val>
                                            <p:fltVal val="1"/>
                                          </p:val>
                                        </p:tav>
                                      </p:tavLst>
                                    </p:anim>
                                    <p:anim calcmode="lin" valueType="num">
                                      <p:cBhvr>
                                        <p:cTn id="11" dur="332" tmFilter="0, 0; 0.125,0.2665; 0.25,0.4; 0.375,0.465; 0.5,0.5;  0.625,0.535; 0.75,0.6; 0.875,0.7335; 1,1">
                                          <p:stCondLst>
                                            <p:cond delay="1324"/>
                                          </p:stCondLst>
                                        </p:cTn>
                                        <p:tgtEl>
                                          <p:spTgt spid="9"/>
                                        </p:tgtEl>
                                        <p:attrNameLst>
                                          <p:attrName>ppt_y</p:attrName>
                                        </p:attrNameLst>
                                      </p:cBhvr>
                                      <p:tavLst>
                                        <p:tav tm="0" fmla="#ppt_y-sin(pi*$)/27">
                                          <p:val>
                                            <p:fltVal val="0"/>
                                          </p:val>
                                        </p:tav>
                                        <p:tav tm="100000">
                                          <p:val>
                                            <p:fltVal val="1"/>
                                          </p:val>
                                        </p:tav>
                                      </p:tavLst>
                                    </p:anim>
                                    <p:anim calcmode="lin" valueType="num">
                                      <p:cBhvr>
                                        <p:cTn id="12" dur="164" tmFilter="0, 0; 0.125,0.2665; 0.25,0.4; 0.375,0.465; 0.5,0.5;  0.625,0.535; 0.75,0.6; 0.875,0.7335; 1,1">
                                          <p:stCondLst>
                                            <p:cond delay="1656"/>
                                          </p:stCondLst>
                                        </p:cTn>
                                        <p:tgtEl>
                                          <p:spTgt spid="9"/>
                                        </p:tgtEl>
                                        <p:attrNameLst>
                                          <p:attrName>ppt_y</p:attrName>
                                        </p:attrNameLst>
                                      </p:cBhvr>
                                      <p:tavLst>
                                        <p:tav tm="0" fmla="#ppt_y-sin(pi*$)/81">
                                          <p:val>
                                            <p:fltVal val="0"/>
                                          </p:val>
                                        </p:tav>
                                        <p:tav tm="100000">
                                          <p:val>
                                            <p:fltVal val="1"/>
                                          </p:val>
                                        </p:tav>
                                      </p:tavLst>
                                    </p:anim>
                                    <p:animScale>
                                      <p:cBhvr>
                                        <p:cTn id="13" dur="26">
                                          <p:stCondLst>
                                            <p:cond delay="650"/>
                                          </p:stCondLst>
                                        </p:cTn>
                                        <p:tgtEl>
                                          <p:spTgt spid="9"/>
                                        </p:tgtEl>
                                      </p:cBhvr>
                                      <p:to x="100000" y="60000"/>
                                    </p:animScale>
                                    <p:animScale>
                                      <p:cBhvr>
                                        <p:cTn id="14" dur="166" decel="50000">
                                          <p:stCondLst>
                                            <p:cond delay="676"/>
                                          </p:stCondLst>
                                        </p:cTn>
                                        <p:tgtEl>
                                          <p:spTgt spid="9"/>
                                        </p:tgtEl>
                                      </p:cBhvr>
                                      <p:to x="100000" y="100000"/>
                                    </p:animScale>
                                    <p:animScale>
                                      <p:cBhvr>
                                        <p:cTn id="15" dur="26">
                                          <p:stCondLst>
                                            <p:cond delay="1312"/>
                                          </p:stCondLst>
                                        </p:cTn>
                                        <p:tgtEl>
                                          <p:spTgt spid="9"/>
                                        </p:tgtEl>
                                      </p:cBhvr>
                                      <p:to x="100000" y="80000"/>
                                    </p:animScale>
                                    <p:animScale>
                                      <p:cBhvr>
                                        <p:cTn id="16" dur="166" decel="50000">
                                          <p:stCondLst>
                                            <p:cond delay="1338"/>
                                          </p:stCondLst>
                                        </p:cTn>
                                        <p:tgtEl>
                                          <p:spTgt spid="9"/>
                                        </p:tgtEl>
                                      </p:cBhvr>
                                      <p:to x="100000" y="100000"/>
                                    </p:animScale>
                                    <p:animScale>
                                      <p:cBhvr>
                                        <p:cTn id="17" dur="26">
                                          <p:stCondLst>
                                            <p:cond delay="1642"/>
                                          </p:stCondLst>
                                        </p:cTn>
                                        <p:tgtEl>
                                          <p:spTgt spid="9"/>
                                        </p:tgtEl>
                                      </p:cBhvr>
                                      <p:to x="100000" y="90000"/>
                                    </p:animScale>
                                    <p:animScale>
                                      <p:cBhvr>
                                        <p:cTn id="18" dur="166" decel="50000">
                                          <p:stCondLst>
                                            <p:cond delay="1668"/>
                                          </p:stCondLst>
                                        </p:cTn>
                                        <p:tgtEl>
                                          <p:spTgt spid="9"/>
                                        </p:tgtEl>
                                      </p:cBhvr>
                                      <p:to x="100000" y="100000"/>
                                    </p:animScale>
                                    <p:animScale>
                                      <p:cBhvr>
                                        <p:cTn id="19" dur="26">
                                          <p:stCondLst>
                                            <p:cond delay="1808"/>
                                          </p:stCondLst>
                                        </p:cTn>
                                        <p:tgtEl>
                                          <p:spTgt spid="9"/>
                                        </p:tgtEl>
                                      </p:cBhvr>
                                      <p:to x="100000" y="95000"/>
                                    </p:animScale>
                                    <p:animScale>
                                      <p:cBhvr>
                                        <p:cTn id="20" dur="166" decel="50000">
                                          <p:stCondLst>
                                            <p:cond delay="1834"/>
                                          </p:stCondLst>
                                        </p:cTn>
                                        <p:tgtEl>
                                          <p:spTgt spid="9"/>
                                        </p:tgtEl>
                                      </p:cBhvr>
                                      <p:to x="100000" y="100000"/>
                                    </p:animScale>
                                  </p:childTnLst>
                                </p:cTn>
                              </p:par>
                              <p:par>
                                <p:cTn id="21" presetID="1" presetClass="entr" presetSubtype="0" fill="hold" nodeType="withEffect">
                                  <p:stCondLst>
                                    <p:cond delay="700"/>
                                  </p:stCondLst>
                                  <p:childTnLst>
                                    <p:set>
                                      <p:cBhvr>
                                        <p:cTn id="22" dur="1" fill="hold">
                                          <p:stCondLst>
                                            <p:cond delay="0"/>
                                          </p:stCondLst>
                                        </p:cTn>
                                        <p:tgtEl>
                                          <p:spTgt spid="10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55"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 calcmode="lin" valueType="num">
                                      <p:cBhvr>
                                        <p:cTn id="27" dur="1000" fill="hold"/>
                                        <p:tgtEl>
                                          <p:spTgt spid="19"/>
                                        </p:tgtEl>
                                        <p:attrNameLst>
                                          <p:attrName>ppt_w</p:attrName>
                                        </p:attrNameLst>
                                      </p:cBhvr>
                                      <p:tavLst>
                                        <p:tav tm="0">
                                          <p:val>
                                            <p:strVal val="#ppt_w*0.70"/>
                                          </p:val>
                                        </p:tav>
                                        <p:tav tm="100000">
                                          <p:val>
                                            <p:strVal val="#ppt_w"/>
                                          </p:val>
                                        </p:tav>
                                      </p:tavLst>
                                    </p:anim>
                                    <p:anim calcmode="lin" valueType="num">
                                      <p:cBhvr>
                                        <p:cTn id="28" dur="1000" fill="hold"/>
                                        <p:tgtEl>
                                          <p:spTgt spid="19"/>
                                        </p:tgtEl>
                                        <p:attrNameLst>
                                          <p:attrName>ppt_h</p:attrName>
                                        </p:attrNameLst>
                                      </p:cBhvr>
                                      <p:tavLst>
                                        <p:tav tm="0">
                                          <p:val>
                                            <p:strVal val="#ppt_h"/>
                                          </p:val>
                                        </p:tav>
                                        <p:tav tm="100000">
                                          <p:val>
                                            <p:strVal val="#ppt_h"/>
                                          </p:val>
                                        </p:tav>
                                      </p:tavLst>
                                    </p:anim>
                                    <p:animEffect transition="in" filter="fade">
                                      <p:cBhvr>
                                        <p:cTn id="29" dur="1000"/>
                                        <p:tgtEl>
                                          <p:spTgt spid="19"/>
                                        </p:tgtEl>
                                      </p:cBhvr>
                                    </p:animEffect>
                                  </p:childTnLst>
                                </p:cTn>
                              </p:par>
                            </p:childTnLst>
                          </p:cTn>
                        </p:par>
                      </p:childTnLst>
                    </p:cTn>
                  </p:par>
                  <p:par>
                    <p:cTn id="30" fill="hold">
                      <p:stCondLst>
                        <p:cond delay="indefinite"/>
                      </p:stCondLst>
                      <p:childTnLst>
                        <p:par>
                          <p:cTn id="31" fill="hold">
                            <p:stCondLst>
                              <p:cond delay="0"/>
                            </p:stCondLst>
                            <p:childTnLst>
                              <p:par>
                                <p:cTn id="32" presetID="22" presetClass="entr" presetSubtype="8" fill="hold" nodeType="clickEffect">
                                  <p:stCondLst>
                                    <p:cond delay="0"/>
                                  </p:stCondLst>
                                  <p:childTnLst>
                                    <p:set>
                                      <p:cBhvr>
                                        <p:cTn id="33" dur="1" fill="hold">
                                          <p:stCondLst>
                                            <p:cond delay="0"/>
                                          </p:stCondLst>
                                        </p:cTn>
                                        <p:tgtEl>
                                          <p:spTgt spid="22"/>
                                        </p:tgtEl>
                                        <p:attrNameLst>
                                          <p:attrName>style.visibility</p:attrName>
                                        </p:attrNameLst>
                                      </p:cBhvr>
                                      <p:to>
                                        <p:strVal val="visible"/>
                                      </p:to>
                                    </p:set>
                                    <p:animEffect transition="in" filter="wipe(left)">
                                      <p:cBhvr>
                                        <p:cTn id="34" dur="500"/>
                                        <p:tgtEl>
                                          <p:spTgt spid="22"/>
                                        </p:tgtEl>
                                      </p:cBhvr>
                                    </p:animEffect>
                                  </p:childTnLst>
                                </p:cTn>
                              </p:par>
                              <p:par>
                                <p:cTn id="35" presetID="22" presetClass="entr" presetSubtype="8" fill="hold" nodeType="withEffect">
                                  <p:stCondLst>
                                    <p:cond delay="0"/>
                                  </p:stCondLst>
                                  <p:childTnLst>
                                    <p:set>
                                      <p:cBhvr>
                                        <p:cTn id="36" dur="1" fill="hold">
                                          <p:stCondLst>
                                            <p:cond delay="0"/>
                                          </p:stCondLst>
                                        </p:cTn>
                                        <p:tgtEl>
                                          <p:spTgt spid="23"/>
                                        </p:tgtEl>
                                        <p:attrNameLst>
                                          <p:attrName>style.visibility</p:attrName>
                                        </p:attrNameLst>
                                      </p:cBhvr>
                                      <p:to>
                                        <p:strVal val="visible"/>
                                      </p:to>
                                    </p:set>
                                    <p:animEffect transition="in" filter="wipe(left)">
                                      <p:cBhvr>
                                        <p:cTn id="37"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60279" y="275289"/>
            <a:ext cx="8343314" cy="731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lvl1pPr defTabSz="684213" eaLnBrk="1" hangingPunct="1">
              <a:lnSpc>
                <a:spcPct val="80000"/>
              </a:lnSpc>
              <a:defRPr lang="en-US" sz="2799" b="0" i="0" u="none">
                <a:solidFill>
                  <a:schemeClr val="tx2"/>
                </a:solidFill>
                <a:latin typeface="Arial" panose="020B0604020202020204" pitchFamily="34" charset="0"/>
                <a:ea typeface="Arial" panose="020B0604020202020204" pitchFamily="34" charset="0"/>
                <a:cs typeface="Arial" panose="020B0604020202020204" pitchFamily="34" charset="0"/>
              </a:defRPr>
            </a:lvl1pPr>
            <a:lvl2pPr defTabSz="684213" eaLnBrk="1" hangingPunct="1">
              <a:lnSpc>
                <a:spcPct val="80000"/>
              </a:lnSpc>
              <a:defRPr sz="3200">
                <a:solidFill>
                  <a:srgbClr val="676767"/>
                </a:solidFill>
              </a:defRPr>
            </a:lvl2pPr>
            <a:lvl3pPr defTabSz="684213" eaLnBrk="1" hangingPunct="1">
              <a:lnSpc>
                <a:spcPct val="80000"/>
              </a:lnSpc>
              <a:defRPr sz="3200">
                <a:solidFill>
                  <a:srgbClr val="676767"/>
                </a:solidFill>
              </a:defRPr>
            </a:lvl3pPr>
            <a:lvl4pPr defTabSz="684213" eaLnBrk="1" hangingPunct="1">
              <a:lnSpc>
                <a:spcPct val="80000"/>
              </a:lnSpc>
              <a:defRPr sz="3200">
                <a:solidFill>
                  <a:srgbClr val="676767"/>
                </a:solidFill>
              </a:defRPr>
            </a:lvl4pPr>
            <a:lvl5pPr defTabSz="684213" eaLnBrk="1" hangingPunct="1">
              <a:lnSpc>
                <a:spcPct val="80000"/>
              </a:lnSpc>
              <a:defRPr sz="3200">
                <a:solidFill>
                  <a:srgbClr val="676767"/>
                </a:solidFill>
              </a:defRPr>
            </a:lvl5pPr>
            <a:lvl6pPr marL="457200" defTabSz="684213" fontAlgn="base">
              <a:lnSpc>
                <a:spcPct val="80000"/>
              </a:lnSpc>
              <a:spcBef>
                <a:spcPct val="0"/>
              </a:spcBef>
              <a:spcAft>
                <a:spcPct val="0"/>
              </a:spcAft>
              <a:defRPr sz="3200">
                <a:solidFill>
                  <a:srgbClr val="676767"/>
                </a:solidFill>
              </a:defRPr>
            </a:lvl6pPr>
            <a:lvl7pPr marL="914400" defTabSz="684213" fontAlgn="base">
              <a:lnSpc>
                <a:spcPct val="80000"/>
              </a:lnSpc>
              <a:spcBef>
                <a:spcPct val="0"/>
              </a:spcBef>
              <a:spcAft>
                <a:spcPct val="0"/>
              </a:spcAft>
              <a:defRPr sz="3200">
                <a:solidFill>
                  <a:srgbClr val="676767"/>
                </a:solidFill>
              </a:defRPr>
            </a:lvl7pPr>
            <a:lvl8pPr marL="1371600" defTabSz="684213" fontAlgn="base">
              <a:lnSpc>
                <a:spcPct val="80000"/>
              </a:lnSpc>
              <a:spcBef>
                <a:spcPct val="0"/>
              </a:spcBef>
              <a:spcAft>
                <a:spcPct val="0"/>
              </a:spcAft>
              <a:defRPr sz="3200">
                <a:solidFill>
                  <a:srgbClr val="676767"/>
                </a:solidFill>
              </a:defRPr>
            </a:lvl8pPr>
            <a:lvl9pPr marL="1828800" defTabSz="684213" fontAlgn="base">
              <a:lnSpc>
                <a:spcPct val="80000"/>
              </a:lnSpc>
              <a:spcBef>
                <a:spcPct val="0"/>
              </a:spcBef>
              <a:spcAft>
                <a:spcPct val="0"/>
              </a:spcAft>
              <a:defRPr sz="3200">
                <a:solidFill>
                  <a:srgbClr val="676767"/>
                </a:solidFill>
              </a:defRPr>
            </a:lvl9pPr>
          </a:lstStyle>
          <a:p>
            <a:r>
              <a:rPr lang="en-US" dirty="0">
                <a:latin typeface="CiscoSansJPN" pitchFamily="2" charset="-128"/>
                <a:ea typeface="CiscoSansJPN" pitchFamily="2" charset="-128"/>
                <a:cs typeface="CiscoSansJPN" pitchFamily="2" charset="-128"/>
              </a:rPr>
              <a:t>Cognitive Intelligence: </a:t>
            </a:r>
            <a:r>
              <a:rPr lang="ja-JP" altLang="en-US">
                <a:latin typeface="CiscoSansJPN" pitchFamily="2" charset="-128"/>
                <a:ea typeface="CiscoSansJPN" pitchFamily="2" charset="-128"/>
                <a:cs typeface="CiscoSansJPN" pitchFamily="2" charset="-128"/>
              </a:rPr>
              <a:t>クロスレイヤ解析</a:t>
            </a:r>
            <a:endParaRPr lang="en-US" dirty="0">
              <a:latin typeface="CiscoSansJPN" pitchFamily="2" charset="-128"/>
              <a:ea typeface="CiscoSansJPN" pitchFamily="2" charset="-128"/>
              <a:cs typeface="CiscoSansJPN" pitchFamily="2" charset="-128"/>
            </a:endParaRPr>
          </a:p>
        </p:txBody>
      </p:sp>
      <p:sp>
        <p:nvSpPr>
          <p:cNvPr id="3" name="Title 1"/>
          <p:cNvSpPr txBox="1">
            <a:spLocks/>
          </p:cNvSpPr>
          <p:nvPr/>
        </p:nvSpPr>
        <p:spPr bwMode="auto">
          <a:xfrm>
            <a:off x="360279" y="940166"/>
            <a:ext cx="3588834" cy="315432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lIns="68562" tIns="34281" rIns="68562" bIns="34281" rtlCol="0" anchor="t" anchorCtr="0">
            <a:noAutofit/>
          </a:bodyPr>
          <a:lst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stStyle>
          <a:p>
            <a:pPr>
              <a:lnSpc>
                <a:spcPct val="100000"/>
              </a:lnSpc>
            </a:pPr>
            <a:r>
              <a:rPr lang="en-US" sz="1400" b="1" dirty="0">
                <a:solidFill>
                  <a:srgbClr val="002060"/>
                </a:solidFill>
                <a:latin typeface="CiscoSansJPN" pitchFamily="2" charset="-128"/>
                <a:ea typeface="CiscoSansJPN" pitchFamily="2" charset="-128"/>
                <a:cs typeface="CiscoSansJPN" pitchFamily="2" charset="-128"/>
              </a:rPr>
              <a:t>Use Case: </a:t>
            </a:r>
            <a:r>
              <a:rPr lang="ja-JP" altLang="en-US" sz="1400" b="1">
                <a:solidFill>
                  <a:srgbClr val="002060"/>
                </a:solidFill>
                <a:latin typeface="CiscoSansJPN" pitchFamily="2" charset="-128"/>
                <a:ea typeface="CiscoSansJPN" pitchFamily="2" charset="-128"/>
                <a:cs typeface="CiscoSansJPN" pitchFamily="2" charset="-128"/>
              </a:rPr>
              <a:t>拡張されたインテリジェンスと正確性の向上</a:t>
            </a:r>
            <a:endParaRPr lang="en-US" sz="1400" b="1" dirty="0">
              <a:solidFill>
                <a:srgbClr val="002060"/>
              </a:solidFill>
              <a:latin typeface="CiscoSansJPN" pitchFamily="2" charset="-128"/>
              <a:ea typeface="CiscoSansJPN" pitchFamily="2" charset="-128"/>
              <a:cs typeface="CiscoSansJPN" pitchFamily="2" charset="-128"/>
            </a:endParaRPr>
          </a:p>
          <a:p>
            <a:pPr>
              <a:lnSpc>
                <a:spcPct val="100000"/>
              </a:lnSpc>
            </a:pPr>
            <a:r>
              <a:rPr lang="ja-JP" altLang="en-US" sz="1400">
                <a:solidFill>
                  <a:srgbClr val="002060"/>
                </a:solidFill>
                <a:latin typeface="CiscoSansJPN" pitchFamily="2" charset="-128"/>
                <a:ea typeface="CiscoSansJPN" pitchFamily="2" charset="-128"/>
                <a:cs typeface="CiscoSansJPN" pitchFamily="2" charset="-128"/>
              </a:rPr>
              <a:t>クロスレイヤでの脅威情報の統合</a:t>
            </a:r>
            <a:r>
              <a:rPr lang="en-US" sz="1400" dirty="0">
                <a:solidFill>
                  <a:srgbClr val="002060"/>
                </a:solidFill>
                <a:latin typeface="CiscoSansJPN" pitchFamily="2" charset="-128"/>
                <a:ea typeface="CiscoSansJPN" pitchFamily="2" charset="-128"/>
                <a:cs typeface="CiscoSansJPN" pitchFamily="2" charset="-128"/>
              </a:rPr>
              <a:t>（AMP、 TG、ESA</a:t>
            </a:r>
            <a:r>
              <a:rPr lang="ja-JP" altLang="en-US" sz="1400">
                <a:solidFill>
                  <a:srgbClr val="002060"/>
                </a:solidFill>
                <a:latin typeface="CiscoSansJPN" pitchFamily="2" charset="-128"/>
                <a:ea typeface="CiscoSansJPN" pitchFamily="2" charset="-128"/>
                <a:cs typeface="CiscoSansJPN" pitchFamily="2" charset="-128"/>
              </a:rPr>
              <a:t>等、</a:t>
            </a:r>
            <a:r>
              <a:rPr lang="en-US" sz="1400" dirty="0">
                <a:solidFill>
                  <a:srgbClr val="002060"/>
                </a:solidFill>
                <a:latin typeface="CiscoSansJPN" pitchFamily="2" charset="-128"/>
                <a:ea typeface="CiscoSansJPN" pitchFamily="2" charset="-128"/>
                <a:cs typeface="CiscoSansJPN" pitchFamily="2" charset="-128"/>
              </a:rPr>
              <a:t>Cognitive）：</a:t>
            </a:r>
          </a:p>
          <a:p>
            <a:pPr marL="342781" indent="-342781">
              <a:lnSpc>
                <a:spcPct val="100000"/>
              </a:lnSpc>
              <a:buFont typeface="Wingdings" charset="2"/>
              <a:buChar char="§"/>
            </a:pPr>
            <a:r>
              <a:rPr lang="en-US" sz="1400" dirty="0">
                <a:solidFill>
                  <a:srgbClr val="44546A"/>
                </a:solidFill>
                <a:latin typeface="CiscoSansJPN" pitchFamily="2" charset="-128"/>
                <a:ea typeface="CiscoSansJPN" pitchFamily="2" charset="-128"/>
                <a:cs typeface="CiscoSansJPN" pitchFamily="2" charset="-128"/>
              </a:rPr>
              <a:t>Probabilistic Threat Propagation</a:t>
            </a:r>
          </a:p>
          <a:p>
            <a:pPr marL="799844" lvl="1" indent="-342781">
              <a:buFont typeface="Wingdings" charset="2"/>
              <a:buChar char="§"/>
            </a:pPr>
            <a:r>
              <a:rPr lang="ja-JP" altLang="en-US" sz="1400">
                <a:solidFill>
                  <a:srgbClr val="002060"/>
                </a:solidFill>
                <a:latin typeface="CiscoSansJPN" pitchFamily="2" charset="-128"/>
                <a:ea typeface="CiscoSansJPN" pitchFamily="2" charset="-128"/>
                <a:cs typeface="CiscoSansJPN" pitchFamily="2" charset="-128"/>
              </a:rPr>
              <a:t>マルウェアコードとネットワークコミュニケーション情報の紐付け</a:t>
            </a:r>
            <a:endParaRPr lang="en-US" sz="1400" dirty="0">
              <a:solidFill>
                <a:srgbClr val="002060"/>
              </a:solidFill>
              <a:latin typeface="CiscoSansJPN" pitchFamily="2" charset="-128"/>
              <a:ea typeface="CiscoSansJPN" pitchFamily="2" charset="-128"/>
              <a:cs typeface="CiscoSansJPN" pitchFamily="2" charset="-128"/>
            </a:endParaRPr>
          </a:p>
          <a:p>
            <a:pPr marL="342781" indent="-342781">
              <a:lnSpc>
                <a:spcPct val="100000"/>
              </a:lnSpc>
              <a:buFont typeface="Wingdings" charset="2"/>
              <a:buChar char="§"/>
            </a:pPr>
            <a:r>
              <a:rPr lang="en-US" sz="1400" dirty="0">
                <a:solidFill>
                  <a:srgbClr val="002060"/>
                </a:solidFill>
                <a:latin typeface="CiscoSansJPN" pitchFamily="2" charset="-128"/>
                <a:ea typeface="CiscoSansJPN" pitchFamily="2" charset="-128"/>
                <a:cs typeface="CiscoSansJPN" pitchFamily="2" charset="-128"/>
              </a:rPr>
              <a:t>Command Line Argument Clustering</a:t>
            </a:r>
          </a:p>
          <a:p>
            <a:pPr marL="799844" lvl="1" indent="-342781">
              <a:buFont typeface="Wingdings" charset="2"/>
              <a:buChar char="§"/>
            </a:pPr>
            <a:r>
              <a:rPr lang="ja-JP" altLang="en-US" sz="1400">
                <a:solidFill>
                  <a:srgbClr val="002060"/>
                </a:solidFill>
                <a:latin typeface="CiscoSansJPN" pitchFamily="2" charset="-128"/>
                <a:ea typeface="CiscoSansJPN" pitchFamily="2" charset="-128"/>
                <a:cs typeface="CiscoSansJPN" pitchFamily="2" charset="-128"/>
              </a:rPr>
              <a:t>マルウェアコードと使用されるコマンドラインの紐付け</a:t>
            </a:r>
            <a:endParaRPr lang="en-US" sz="1400" dirty="0">
              <a:solidFill>
                <a:srgbClr val="002060"/>
              </a:solidFill>
              <a:latin typeface="CiscoSansJPN" pitchFamily="2" charset="-128"/>
              <a:ea typeface="CiscoSansJPN" pitchFamily="2" charset="-128"/>
              <a:cs typeface="CiscoSansJPN" pitchFamily="2" charset="-128"/>
            </a:endParaRPr>
          </a:p>
          <a:p>
            <a:pPr marL="342781" indent="-342781">
              <a:lnSpc>
                <a:spcPct val="100000"/>
              </a:lnSpc>
              <a:buFont typeface="Wingdings" charset="2"/>
              <a:buChar char="§"/>
            </a:pPr>
            <a:r>
              <a:rPr lang="en-US" sz="1400" dirty="0">
                <a:solidFill>
                  <a:srgbClr val="002060"/>
                </a:solidFill>
                <a:latin typeface="CiscoSansJPN" pitchFamily="2" charset="-128"/>
                <a:ea typeface="CiscoSansJPN" pitchFamily="2" charset="-128"/>
                <a:cs typeface="CiscoSansJPN" pitchFamily="2" charset="-128"/>
              </a:rPr>
              <a:t>Static File Analysis</a:t>
            </a:r>
          </a:p>
          <a:p>
            <a:pPr marL="799844" lvl="1" indent="-342781">
              <a:buFont typeface="Wingdings" charset="2"/>
              <a:buChar char="§"/>
            </a:pPr>
            <a:r>
              <a:rPr lang="ja-JP" altLang="en-US" sz="1400">
                <a:solidFill>
                  <a:srgbClr val="002060"/>
                </a:solidFill>
                <a:latin typeface="CiscoSansJPN" pitchFamily="2" charset="-128"/>
                <a:ea typeface="CiscoSansJPN" pitchFamily="2" charset="-128"/>
                <a:cs typeface="CiscoSansJPN" pitchFamily="2" charset="-128"/>
              </a:rPr>
              <a:t>マルウェアコードと静的なファイルアトリビュートの紐付け</a:t>
            </a:r>
            <a:endParaRPr lang="en-US" sz="1400" dirty="0">
              <a:solidFill>
                <a:srgbClr val="002060"/>
              </a:solidFill>
              <a:latin typeface="CiscoSansJPN" pitchFamily="2" charset="-128"/>
              <a:ea typeface="CiscoSansJPN" pitchFamily="2" charset="-128"/>
              <a:cs typeface="CiscoSansJPN" pitchFamily="2" charset="-128"/>
            </a:endParaRPr>
          </a:p>
          <a:p>
            <a:pPr marL="799844" lvl="1" indent="-342781">
              <a:buFont typeface="Wingdings" charset="2"/>
              <a:buChar char="§"/>
            </a:pPr>
            <a:endParaRPr lang="en-US" sz="1400" dirty="0">
              <a:solidFill>
                <a:srgbClr val="002060"/>
              </a:solidFill>
              <a:latin typeface="CiscoSansJPN" pitchFamily="2" charset="-128"/>
              <a:ea typeface="CiscoSansJPN" pitchFamily="2" charset="-128"/>
              <a:cs typeface="CiscoSansJPN" pitchFamily="2" charset="-128"/>
            </a:endParaRPr>
          </a:p>
        </p:txBody>
      </p:sp>
      <p:sp>
        <p:nvSpPr>
          <p:cNvPr id="5" name="TextBox 4"/>
          <p:cNvSpPr txBox="1"/>
          <p:nvPr/>
        </p:nvSpPr>
        <p:spPr>
          <a:xfrm>
            <a:off x="4264438" y="1126539"/>
            <a:ext cx="4548571" cy="1131079"/>
          </a:xfrm>
          <a:prstGeom prst="rect">
            <a:avLst/>
          </a:prstGeom>
          <a:noFill/>
        </p:spPr>
        <p:txBody>
          <a:bodyPr wrap="square" rtlCol="0">
            <a:spAutoFit/>
          </a:bodyPr>
          <a:lstStyle/>
          <a:p>
            <a:r>
              <a:rPr lang="en-US" sz="1500" dirty="0">
                <a:latin typeface="CiscoSansJPN" pitchFamily="2" charset="-128"/>
                <a:ea typeface="CiscoSansJPN" pitchFamily="2" charset="-128"/>
                <a:cs typeface="CiscoSansJPN" pitchFamily="2" charset="-128"/>
              </a:rPr>
              <a:t>Featured Blogs:</a:t>
            </a:r>
          </a:p>
          <a:p>
            <a:pPr marL="171450" indent="-171450">
              <a:buFont typeface="Arial" charset="0"/>
              <a:buChar char="•"/>
            </a:pPr>
            <a:r>
              <a:rPr lang="en-US" sz="1050" u="sng" dirty="0">
                <a:latin typeface="CiscoSansJPN" pitchFamily="2" charset="-128"/>
                <a:ea typeface="CiscoSansJPN" pitchFamily="2" charset="-128"/>
                <a:cs typeface="CiscoSansJPN" pitchFamily="2" charset="-128"/>
                <a:hlinkClick r:id="rId3"/>
              </a:rPr>
              <a:t>https://blogs.cisco.com/security/cognitive-intelligence-empowering-security-analysts-defeating-polymorphic-malware</a:t>
            </a:r>
            <a:endParaRPr lang="en-US" sz="1050" dirty="0">
              <a:latin typeface="CiscoSansJPN" pitchFamily="2" charset="-128"/>
              <a:ea typeface="CiscoSansJPN" pitchFamily="2" charset="-128"/>
              <a:cs typeface="CiscoSansJPN" pitchFamily="2" charset="-128"/>
            </a:endParaRPr>
          </a:p>
          <a:p>
            <a:pPr marL="171450" indent="-171450">
              <a:buFont typeface="Arial" charset="0"/>
              <a:buChar char="•"/>
            </a:pPr>
            <a:r>
              <a:rPr lang="en-US" sz="1050" u="sng" dirty="0">
                <a:latin typeface="CiscoSansJPN" pitchFamily="2" charset="-128"/>
                <a:ea typeface="CiscoSansJPN" pitchFamily="2" charset="-128"/>
                <a:cs typeface="CiscoSansJPN" pitchFamily="2" charset="-128"/>
                <a:hlinkClick r:id="rId4"/>
              </a:rPr>
              <a:t>https://blogs.cisco.com/security/defeating-polymorphic-malware-with-cognitive-intelligence-part-2-command-line-argument-clustering</a:t>
            </a:r>
            <a:endParaRPr lang="en-US" sz="1050" dirty="0">
              <a:latin typeface="CiscoSansJPN" pitchFamily="2" charset="-128"/>
              <a:ea typeface="CiscoSansJPN" pitchFamily="2" charset="-128"/>
              <a:cs typeface="CiscoSansJPN" pitchFamily="2" charset="-128"/>
            </a:endParaRPr>
          </a:p>
        </p:txBody>
      </p:sp>
      <p:sp>
        <p:nvSpPr>
          <p:cNvPr id="7" name="Rectangle 6"/>
          <p:cNvSpPr/>
          <p:nvPr/>
        </p:nvSpPr>
        <p:spPr>
          <a:xfrm>
            <a:off x="360279" y="4119093"/>
            <a:ext cx="3070071" cy="553998"/>
          </a:xfrm>
          <a:prstGeom prst="rect">
            <a:avLst/>
          </a:prstGeom>
        </p:spPr>
        <p:txBody>
          <a:bodyPr wrap="none">
            <a:spAutoFit/>
          </a:bodyPr>
          <a:lstStyle/>
          <a:p>
            <a:pPr marL="0" lvl="1"/>
            <a:r>
              <a:rPr lang="ja-JP" altLang="en-US" sz="1500">
                <a:solidFill>
                  <a:srgbClr val="002060"/>
                </a:solidFill>
                <a:latin typeface="CiscoSansJPN" pitchFamily="2" charset="-128"/>
                <a:ea typeface="CiscoSansJPN" pitchFamily="2" charset="-128"/>
                <a:cs typeface="CiscoSansJPN" pitchFamily="2" charset="-128"/>
              </a:rPr>
              <a:t>データセンターマイグレーション</a:t>
            </a:r>
            <a:endParaRPr lang="en-US" altLang="ja-JP" sz="1500" dirty="0">
              <a:solidFill>
                <a:srgbClr val="002060"/>
              </a:solidFill>
              <a:latin typeface="CiscoSansJPN" pitchFamily="2" charset="-128"/>
              <a:ea typeface="CiscoSansJPN" pitchFamily="2" charset="-128"/>
              <a:cs typeface="CiscoSansJPN" pitchFamily="2" charset="-128"/>
            </a:endParaRPr>
          </a:p>
          <a:p>
            <a:pPr marL="0" lvl="1"/>
            <a:r>
              <a:rPr lang="en-US" sz="1500" dirty="0">
                <a:solidFill>
                  <a:srgbClr val="002060"/>
                </a:solidFill>
                <a:latin typeface="CiscoSansJPN" pitchFamily="2" charset="-128"/>
                <a:ea typeface="CiscoSansJPN" pitchFamily="2" charset="-128"/>
                <a:cs typeface="CiscoSansJPN" pitchFamily="2" charset="-128"/>
              </a:rPr>
              <a:t>: </a:t>
            </a:r>
            <a:r>
              <a:rPr lang="ja-JP" altLang="en-US" sz="1500">
                <a:solidFill>
                  <a:srgbClr val="002060"/>
                </a:solidFill>
                <a:latin typeface="CiscoSansJPN" pitchFamily="2" charset="-128"/>
                <a:ea typeface="CiscoSansJPN" pitchFamily="2" charset="-128"/>
                <a:cs typeface="CiscoSansJPN" pitchFamily="2" charset="-128"/>
              </a:rPr>
              <a:t>ロンドンから</a:t>
            </a:r>
            <a:r>
              <a:rPr lang="en-US" altLang="ja-JP" sz="1500" dirty="0">
                <a:solidFill>
                  <a:srgbClr val="002060"/>
                </a:solidFill>
                <a:latin typeface="CiscoSansJPN" pitchFamily="2" charset="-128"/>
                <a:ea typeface="CiscoSansJPN" pitchFamily="2" charset="-128"/>
                <a:cs typeface="CiscoSansJPN" pitchFamily="2" charset="-128"/>
              </a:rPr>
              <a:t>AWS</a:t>
            </a:r>
            <a:r>
              <a:rPr lang="ja-JP" altLang="en-US" sz="1500">
                <a:solidFill>
                  <a:srgbClr val="002060"/>
                </a:solidFill>
                <a:latin typeface="CiscoSansJPN" pitchFamily="2" charset="-128"/>
                <a:ea typeface="CiscoSansJPN" pitchFamily="2" charset="-128"/>
                <a:cs typeface="CiscoSansJPN" pitchFamily="2" charset="-128"/>
              </a:rPr>
              <a:t> </a:t>
            </a:r>
            <a:r>
              <a:rPr lang="en-US" altLang="ja-JP" sz="1500" dirty="0">
                <a:solidFill>
                  <a:srgbClr val="002060"/>
                </a:solidFill>
                <a:latin typeface="CiscoSansJPN" pitchFamily="2" charset="-128"/>
                <a:ea typeface="CiscoSansJPN" pitchFamily="2" charset="-128"/>
                <a:cs typeface="CiscoSansJPN" pitchFamily="2" charset="-128"/>
              </a:rPr>
              <a:t>EU</a:t>
            </a:r>
            <a:r>
              <a:rPr lang="ja-JP" altLang="en-US" sz="1500">
                <a:solidFill>
                  <a:srgbClr val="002060"/>
                </a:solidFill>
                <a:latin typeface="CiscoSansJPN" pitchFamily="2" charset="-128"/>
                <a:ea typeface="CiscoSansJPN" pitchFamily="2" charset="-128"/>
                <a:cs typeface="CiscoSansJPN" pitchFamily="2" charset="-128"/>
              </a:rPr>
              <a:t>へ</a:t>
            </a:r>
            <a:endParaRPr lang="en-US" sz="1500" dirty="0">
              <a:solidFill>
                <a:srgbClr val="002060"/>
              </a:solidFill>
              <a:latin typeface="CiscoSansJPN" pitchFamily="2" charset="-128"/>
              <a:ea typeface="CiscoSansJPN" pitchFamily="2" charset="-128"/>
              <a:cs typeface="CiscoSansJPN" pitchFamily="2" charset="-128"/>
            </a:endParaRPr>
          </a:p>
        </p:txBody>
      </p:sp>
      <p:pic>
        <p:nvPicPr>
          <p:cNvPr id="107" name="Picture 106"/>
          <p:cNvPicPr>
            <a:picLocks noChangeAspect="1"/>
          </p:cNvPicPr>
          <p:nvPr/>
        </p:nvPicPr>
        <p:blipFill rotWithShape="1">
          <a:blip r:embed="rId5">
            <a:extLst>
              <a:ext uri="{28A0092B-C50C-407E-A947-70E740481C1C}">
                <a14:useLocalDpi xmlns:a14="http://schemas.microsoft.com/office/drawing/2010/main" val="0"/>
              </a:ext>
            </a:extLst>
          </a:blip>
          <a:srcRect l="9579" t="17527" r="6632" b="6683"/>
          <a:stretch/>
        </p:blipFill>
        <p:spPr>
          <a:xfrm>
            <a:off x="4004595" y="2257618"/>
            <a:ext cx="5007074" cy="2415473"/>
          </a:xfrm>
          <a:prstGeom prst="rect">
            <a:avLst/>
          </a:prstGeom>
        </p:spPr>
      </p:pic>
      <p:sp>
        <p:nvSpPr>
          <p:cNvPr id="6" name="TextBox 5"/>
          <p:cNvSpPr txBox="1"/>
          <p:nvPr/>
        </p:nvSpPr>
        <p:spPr>
          <a:xfrm>
            <a:off x="5769934" y="3863660"/>
            <a:ext cx="2567973" cy="461665"/>
          </a:xfrm>
          <a:prstGeom prst="rect">
            <a:avLst/>
          </a:prstGeom>
          <a:noFill/>
        </p:spPr>
        <p:txBody>
          <a:bodyPr wrap="square" rtlCol="0">
            <a:spAutoFit/>
          </a:bodyPr>
          <a:lstStyle/>
          <a:p>
            <a:pPr algn="ctr"/>
            <a:r>
              <a:rPr lang="en-US" altLang="ja-JP" sz="1200" dirty="0">
                <a:latin typeface="CiscoSansJPN" pitchFamily="2" charset="-128"/>
                <a:ea typeface="CiscoSansJPN" pitchFamily="2" charset="-128"/>
                <a:cs typeface="CiscoSansJPN" pitchFamily="2" charset="-128"/>
              </a:rPr>
              <a:t>30</a:t>
            </a:r>
            <a:r>
              <a:rPr lang="ja-JP" altLang="en-US" sz="1200">
                <a:latin typeface="CiscoSansJPN" pitchFamily="2" charset="-128"/>
                <a:ea typeface="CiscoSansJPN" pitchFamily="2" charset="-128"/>
                <a:cs typeface="CiscoSansJPN" pitchFamily="2" charset="-128"/>
              </a:rPr>
              <a:t>種類以上のファイル機能による</a:t>
            </a:r>
            <a:endParaRPr lang="en-US" altLang="ja-JP" sz="1200" dirty="0">
              <a:latin typeface="CiscoSansJPN" pitchFamily="2" charset="-128"/>
              <a:ea typeface="CiscoSansJPN" pitchFamily="2" charset="-128"/>
              <a:cs typeface="CiscoSansJPN" pitchFamily="2" charset="-128"/>
            </a:endParaRPr>
          </a:p>
          <a:p>
            <a:pPr algn="ctr"/>
            <a:r>
              <a:rPr lang="ja-JP" altLang="en-US" sz="1200">
                <a:latin typeface="CiscoSansJPN" pitchFamily="2" charset="-128"/>
                <a:ea typeface="CiscoSansJPN" pitchFamily="2" charset="-128"/>
                <a:cs typeface="CiscoSansJPN" pitchFamily="2" charset="-128"/>
              </a:rPr>
              <a:t>静的ファイル解析</a:t>
            </a:r>
            <a:endParaRPr lang="en-US" sz="1200" dirty="0">
              <a:latin typeface="CiscoSansJPN" pitchFamily="2" charset="-128"/>
              <a:ea typeface="CiscoSansJPN" pitchFamily="2" charset="-128"/>
              <a:cs typeface="CiscoSansJPN" pitchFamily="2" charset="-128"/>
            </a:endParaRPr>
          </a:p>
        </p:txBody>
      </p:sp>
    </p:spTree>
    <p:extLst>
      <p:ext uri="{BB962C8B-B14F-4D97-AF65-F5344CB8AC3E}">
        <p14:creationId xmlns:p14="http://schemas.microsoft.com/office/powerpoint/2010/main" val="1344034752"/>
      </p:ext>
    </p:extLst>
  </p:cSld>
  <p:clrMapOvr>
    <a:masterClrMapping/>
  </p:clrMapOvr>
  <p:transition spd="med">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230834" y="213720"/>
            <a:ext cx="8586624" cy="397764"/>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4" tIns="45712" rIns="91424" bIns="45712" numCol="1" anchor="ctr" anchorCtr="0" compatLnSpc="1">
            <a:prstTxWarp prst="textNoShape">
              <a:avLst/>
            </a:prstTxWarp>
          </a:bodyPr>
          <a:lstStyle/>
          <a:p>
            <a:pPr>
              <a:lnSpc>
                <a:spcPct val="80000"/>
              </a:lnSpc>
            </a:pPr>
            <a:r>
              <a:rPr lang="en-US" sz="2799" dirty="0">
                <a:latin typeface="Arial" panose="020B0604020202020204" pitchFamily="34" charset="0"/>
                <a:ea typeface="Arial" panose="020B0604020202020204" pitchFamily="34" charset="0"/>
                <a:cs typeface="Arial" panose="020B0604020202020204" pitchFamily="34" charset="0"/>
              </a:rPr>
              <a:t>AMP Private Cloud</a:t>
            </a:r>
          </a:p>
        </p:txBody>
      </p:sp>
      <p:graphicFrame>
        <p:nvGraphicFramePr>
          <p:cNvPr id="5" name="Table 4"/>
          <p:cNvGraphicFramePr>
            <a:graphicFrameLocks noGrp="1"/>
          </p:cNvGraphicFramePr>
          <p:nvPr>
            <p:extLst>
              <p:ext uri="{D42A27DB-BD31-4B8C-83A1-F6EECF244321}">
                <p14:modId xmlns:p14="http://schemas.microsoft.com/office/powerpoint/2010/main" val="801081928"/>
              </p:ext>
            </p:extLst>
          </p:nvPr>
        </p:nvGraphicFramePr>
        <p:xfrm>
          <a:off x="98322" y="671471"/>
          <a:ext cx="8719137" cy="4303036"/>
        </p:xfrm>
        <a:graphic>
          <a:graphicData uri="http://schemas.openxmlformats.org/drawingml/2006/table">
            <a:tbl>
              <a:tblPr firstRow="1" bandRow="1">
                <a:tableStyleId>{5C22544A-7EE6-4342-B048-85BDC9FD1C3A}</a:tableStyleId>
              </a:tblPr>
              <a:tblGrid>
                <a:gridCol w="1452897">
                  <a:extLst>
                    <a:ext uri="{9D8B030D-6E8A-4147-A177-3AD203B41FA5}">
                      <a16:colId xmlns:a16="http://schemas.microsoft.com/office/drawing/2014/main" val="20000"/>
                    </a:ext>
                  </a:extLst>
                </a:gridCol>
                <a:gridCol w="1816560">
                  <a:extLst>
                    <a:ext uri="{9D8B030D-6E8A-4147-A177-3AD203B41FA5}">
                      <a16:colId xmlns:a16="http://schemas.microsoft.com/office/drawing/2014/main" val="20002"/>
                    </a:ext>
                  </a:extLst>
                </a:gridCol>
                <a:gridCol w="1816560">
                  <a:extLst>
                    <a:ext uri="{9D8B030D-6E8A-4147-A177-3AD203B41FA5}">
                      <a16:colId xmlns:a16="http://schemas.microsoft.com/office/drawing/2014/main" val="20005"/>
                    </a:ext>
                  </a:extLst>
                </a:gridCol>
                <a:gridCol w="1816560">
                  <a:extLst>
                    <a:ext uri="{9D8B030D-6E8A-4147-A177-3AD203B41FA5}">
                      <a16:colId xmlns:a16="http://schemas.microsoft.com/office/drawing/2014/main" val="20003"/>
                    </a:ext>
                  </a:extLst>
                </a:gridCol>
                <a:gridCol w="1816560">
                  <a:extLst>
                    <a:ext uri="{9D8B030D-6E8A-4147-A177-3AD203B41FA5}">
                      <a16:colId xmlns:a16="http://schemas.microsoft.com/office/drawing/2014/main" val="20004"/>
                    </a:ext>
                  </a:extLst>
                </a:gridCol>
              </a:tblGrid>
              <a:tr h="411373">
                <a:tc>
                  <a:txBody>
                    <a:bodyPr/>
                    <a:lstStyle/>
                    <a:p>
                      <a:endParaRPr lang="en-US" sz="1200" dirty="0"/>
                    </a:p>
                  </a:txBody>
                  <a:tcPr marL="68580" marR="68580" marT="34281" marB="34281">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dirty="0">
                          <a:solidFill>
                            <a:schemeClr val="bg1"/>
                          </a:solidFill>
                        </a:rPr>
                        <a:t>CURRENT</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schemeClr>
                    </a:solidFill>
                  </a:tcPr>
                </a:tc>
                <a:tc>
                  <a:txBody>
                    <a:bodyPr/>
                    <a:lstStyle/>
                    <a:p>
                      <a:pPr algn="ctr"/>
                      <a:r>
                        <a:rPr lang="en-US" sz="1200" dirty="0">
                          <a:solidFill>
                            <a:schemeClr val="bg1"/>
                          </a:solidFill>
                        </a:rPr>
                        <a:t>CY18</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US" sz="1200" dirty="0">
                          <a:solidFill>
                            <a:srgbClr val="FF0000"/>
                          </a:solidFill>
                        </a:rPr>
                        <a:t>Early CY19</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tc>
                  <a:txBody>
                    <a:bodyPr/>
                    <a:lstStyle/>
                    <a:p>
                      <a:pPr algn="ctr"/>
                      <a:r>
                        <a:rPr lang="en-US" sz="1200" dirty="0">
                          <a:solidFill>
                            <a:schemeClr val="bg1"/>
                          </a:solidFill>
                        </a:rPr>
                        <a:t>Beyond</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schemeClr>
                    </a:solidFill>
                  </a:tcPr>
                </a:tc>
                <a:extLst>
                  <a:ext uri="{0D108BD9-81ED-4DB2-BD59-A6C34878D82A}">
                    <a16:rowId xmlns:a16="http://schemas.microsoft.com/office/drawing/2014/main" val="10000"/>
                  </a:ext>
                </a:extLst>
              </a:tr>
              <a:tr h="274302">
                <a:tc>
                  <a:txBody>
                    <a:bodyPr/>
                    <a:lstStyle/>
                    <a:p>
                      <a:r>
                        <a:rPr lang="en-US" sz="1400" b="1" i="0" dirty="0">
                          <a:solidFill>
                            <a:schemeClr val="tx1">
                              <a:lumMod val="50000"/>
                            </a:schemeClr>
                          </a:solidFill>
                        </a:rPr>
                        <a:t>Form Factor</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Virtual </a:t>
                      </a:r>
                      <a:r>
                        <a:rPr lang="en-US" sz="900" dirty="0">
                          <a:solidFill>
                            <a:schemeClr val="bg1"/>
                          </a:solidFill>
                          <a:latin typeface="+mn-lt"/>
                          <a:ea typeface="Arial"/>
                          <a:cs typeface="Arial"/>
                        </a:rPr>
                        <a:t>(v2.4)</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900" dirty="0">
                          <a:solidFill>
                            <a:schemeClr val="bg1"/>
                          </a:solidFill>
                          <a:latin typeface="+mn-lt"/>
                          <a:ea typeface="Arial"/>
                          <a:cs typeface="Arial"/>
                        </a:rPr>
                        <a:t>Virtual (v3.0)</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UCS Server </a:t>
                      </a:r>
                      <a:r>
                        <a:rPr lang="en-US" sz="900" dirty="0">
                          <a:solidFill>
                            <a:schemeClr val="bg1"/>
                          </a:solidFill>
                          <a:latin typeface="+mn-lt"/>
                          <a:ea typeface="Arial"/>
                          <a:cs typeface="Arial"/>
                        </a:rPr>
                        <a:t>(v3.0)</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Virtual/UCS Server </a:t>
                      </a:r>
                      <a:r>
                        <a:rPr lang="en-US" sz="900" dirty="0">
                          <a:solidFill>
                            <a:schemeClr val="bg1"/>
                          </a:solidFill>
                          <a:latin typeface="+mn-lt"/>
                          <a:ea typeface="Arial"/>
                          <a:cs typeface="Arial"/>
                        </a:rPr>
                        <a:t>(</a:t>
                      </a:r>
                      <a:r>
                        <a:rPr lang="en-US" sz="900" dirty="0">
                          <a:solidFill>
                            <a:srgbClr val="FF0000"/>
                          </a:solidFill>
                          <a:latin typeface="+mn-lt"/>
                          <a:ea typeface="Arial"/>
                          <a:cs typeface="Arial"/>
                        </a:rPr>
                        <a:t>v3.x</a:t>
                      </a:r>
                      <a:r>
                        <a:rPr lang="en-US" sz="900" dirty="0">
                          <a:solidFill>
                            <a:schemeClr val="bg1"/>
                          </a:solidFill>
                          <a:latin typeface="+mn-lt"/>
                          <a:ea typeface="Arial"/>
                          <a:cs typeface="Arial"/>
                        </a:rPr>
                        <a:t>)</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extLst>
                  <a:ext uri="{0D108BD9-81ED-4DB2-BD59-A6C34878D82A}">
                    <a16:rowId xmlns:a16="http://schemas.microsoft.com/office/drawing/2014/main" val="10001"/>
                  </a:ext>
                </a:extLst>
              </a:tr>
              <a:tr h="251442">
                <a:tc>
                  <a:txBody>
                    <a:bodyPr/>
                    <a:lstStyle/>
                    <a:p>
                      <a:r>
                        <a:rPr lang="en-US" sz="1100" dirty="0">
                          <a:solidFill>
                            <a:schemeClr val="tx1">
                              <a:lumMod val="50000"/>
                            </a:schemeClr>
                          </a:solidFill>
                        </a:rPr>
                        <a:t>Max</a:t>
                      </a:r>
                      <a:r>
                        <a:rPr lang="en-US" sz="1100" baseline="0" dirty="0">
                          <a:solidFill>
                            <a:schemeClr val="tx1">
                              <a:lumMod val="50000"/>
                            </a:schemeClr>
                          </a:solidFill>
                        </a:rPr>
                        <a:t> Connectors</a:t>
                      </a:r>
                      <a:endParaRPr lang="en-US" sz="1100" dirty="0">
                        <a:solidFill>
                          <a:schemeClr val="tx1">
                            <a:lumMod val="50000"/>
                          </a:schemeClr>
                        </a:solidFil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10K</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10K</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b="1" dirty="0">
                          <a:solidFill>
                            <a:schemeClr val="bg1"/>
                          </a:solidFill>
                          <a:latin typeface="+mn-lt"/>
                          <a:ea typeface="Arial"/>
                          <a:cs typeface="Arial"/>
                        </a:rPr>
                        <a:t>100K</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10K/100K</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02"/>
                  </a:ext>
                </a:extLst>
              </a:tr>
              <a:tr h="274302">
                <a:tc>
                  <a:txBody>
                    <a:bodyPr/>
                    <a:lstStyle/>
                    <a:p>
                      <a:r>
                        <a:rPr lang="en-US" sz="1400" b="1" dirty="0">
                          <a:solidFill>
                            <a:schemeClr val="tx1">
                              <a:lumMod val="50000"/>
                            </a:schemeClr>
                          </a:solidFill>
                        </a:rPr>
                        <a:t>Management</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200" dirty="0">
                        <a:solidFill>
                          <a:schemeClr val="bg1"/>
                        </a:solidFil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algn="ctr"/>
                      <a:endParaRPr lang="en-US" sz="1200" dirty="0">
                        <a:solidFill>
                          <a:schemeClr val="bg1"/>
                        </a:solidFil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algn="ctr"/>
                      <a:endParaRPr lang="en-US" sz="1200" dirty="0">
                        <a:solidFill>
                          <a:schemeClr val="bg1"/>
                        </a:solidFil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algn="ctr"/>
                      <a:endParaRPr lang="en-US" sz="1200" dirty="0">
                        <a:solidFill>
                          <a:schemeClr val="bg1"/>
                        </a:solidFil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extLst>
                  <a:ext uri="{0D108BD9-81ED-4DB2-BD59-A6C34878D82A}">
                    <a16:rowId xmlns:a16="http://schemas.microsoft.com/office/drawing/2014/main" val="10003"/>
                  </a:ext>
                </a:extLst>
              </a:tr>
              <a:tr h="348597">
                <a:tc>
                  <a:txBody>
                    <a:bodyPr/>
                    <a:lstStyle/>
                    <a:p>
                      <a:r>
                        <a:rPr lang="en-US" sz="1100" dirty="0">
                          <a:solidFill>
                            <a:schemeClr val="tx1">
                              <a:lumMod val="50000"/>
                            </a:schemeClr>
                          </a:solidFill>
                        </a:rPr>
                        <a:t>RBAC</a:t>
                      </a:r>
                      <a:r>
                        <a:rPr lang="en-US" sz="1100" baseline="0" dirty="0">
                          <a:solidFill>
                            <a:schemeClr val="tx1">
                              <a:lumMod val="50000"/>
                            </a:schemeClr>
                          </a:solidFill>
                        </a:rPr>
                        <a:t> </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04"/>
                  </a:ext>
                </a:extLst>
              </a:tr>
              <a:tr h="251442">
                <a:tc>
                  <a:txBody>
                    <a:bodyPr/>
                    <a:lstStyle/>
                    <a:p>
                      <a:r>
                        <a:rPr lang="en-US" sz="1100" dirty="0">
                          <a:solidFill>
                            <a:schemeClr val="tx1">
                              <a:lumMod val="50000"/>
                            </a:schemeClr>
                          </a:solidFill>
                        </a:rPr>
                        <a:t>API</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05"/>
                  </a:ext>
                </a:extLst>
              </a:tr>
              <a:tr h="251442">
                <a:tc>
                  <a:txBody>
                    <a:bodyPr/>
                    <a:lstStyle/>
                    <a:p>
                      <a:r>
                        <a:rPr lang="en-US" sz="1100" dirty="0">
                          <a:solidFill>
                            <a:schemeClr val="tx1">
                              <a:lumMod val="50000"/>
                            </a:schemeClr>
                          </a:solidFill>
                        </a:rPr>
                        <a:t>High Availability</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06"/>
                  </a:ext>
                </a:extLst>
              </a:tr>
              <a:tr h="251442">
                <a:tc>
                  <a:txBody>
                    <a:bodyPr/>
                    <a:lstStyle/>
                    <a:p>
                      <a:r>
                        <a:rPr lang="en-US" sz="1100" dirty="0">
                          <a:solidFill>
                            <a:schemeClr val="tx1">
                              <a:lumMod val="50000"/>
                            </a:schemeClr>
                          </a:solidFill>
                        </a:rPr>
                        <a:t>Multi-Tenancy</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07"/>
                  </a:ext>
                </a:extLst>
              </a:tr>
              <a:tr h="251442">
                <a:tc>
                  <a:txBody>
                    <a:bodyPr/>
                    <a:lstStyle/>
                    <a:p>
                      <a:r>
                        <a:rPr lang="en-US" sz="1100" dirty="0">
                          <a:solidFill>
                            <a:schemeClr val="tx1">
                              <a:lumMod val="50000"/>
                            </a:schemeClr>
                          </a:solidFill>
                        </a:rPr>
                        <a:t>Tiered-Management</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08"/>
                  </a:ext>
                </a:extLst>
              </a:tr>
              <a:tr h="274302">
                <a:tc>
                  <a:txBody>
                    <a:bodyPr/>
                    <a:lstStyle/>
                    <a:p>
                      <a:r>
                        <a:rPr lang="en-US" sz="1400" b="1" dirty="0">
                          <a:solidFill>
                            <a:schemeClr val="tx1">
                              <a:lumMod val="50000"/>
                            </a:schemeClr>
                          </a:solidFill>
                        </a:rPr>
                        <a:t>Sandboxing</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endParaRPr lang="en-US" sz="1200" dirty="0">
                        <a:solidFill>
                          <a:schemeClr val="bg1"/>
                        </a:solidFil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algn="ctr"/>
                      <a:endParaRPr lang="en-US" sz="1200" dirty="0">
                        <a:solidFill>
                          <a:schemeClr val="bg1"/>
                        </a:solidFil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algn="ctr"/>
                      <a:endParaRPr lang="en-US" sz="1200" dirty="0">
                        <a:solidFill>
                          <a:schemeClr val="bg1"/>
                        </a:solidFil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algn="ctr"/>
                      <a:endParaRPr lang="en-US" sz="1200" dirty="0">
                        <a:solidFill>
                          <a:schemeClr val="bg1"/>
                        </a:solidFil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9050"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extLst>
                  <a:ext uri="{0D108BD9-81ED-4DB2-BD59-A6C34878D82A}">
                    <a16:rowId xmlns:a16="http://schemas.microsoft.com/office/drawing/2014/main" val="10009"/>
                  </a:ext>
                </a:extLst>
              </a:tr>
              <a:tr h="251442">
                <a:tc>
                  <a:txBody>
                    <a:bodyPr/>
                    <a:lstStyle/>
                    <a:p>
                      <a:r>
                        <a:rPr lang="en-US" sz="1100" dirty="0">
                          <a:solidFill>
                            <a:schemeClr val="tx1">
                              <a:lumMod val="50000"/>
                            </a:schemeClr>
                          </a:solidFill>
                        </a:rPr>
                        <a:t>Threat Grid Appliance</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10"/>
                  </a:ext>
                </a:extLst>
              </a:tr>
              <a:tr h="274302">
                <a:tc>
                  <a:txBody>
                    <a:bodyPr/>
                    <a:lstStyle/>
                    <a:p>
                      <a:pPr marL="0" marR="0" indent="0" algn="l" defTabSz="914209" rtl="0" eaLnBrk="1" fontAlgn="auto" latinLnBrk="0" hangingPunct="1">
                        <a:lnSpc>
                          <a:spcPct val="100000"/>
                        </a:lnSpc>
                        <a:spcBef>
                          <a:spcPts val="0"/>
                        </a:spcBef>
                        <a:spcAft>
                          <a:spcPts val="0"/>
                        </a:spcAft>
                        <a:buClrTx/>
                        <a:buSzTx/>
                        <a:buFontTx/>
                        <a:buNone/>
                        <a:tabLst/>
                        <a:defRPr/>
                      </a:pPr>
                      <a:r>
                        <a:rPr lang="en-US" sz="1400" b="1" i="0" dirty="0">
                          <a:solidFill>
                            <a:schemeClr val="tx1">
                              <a:lumMod val="50000"/>
                            </a:schemeClr>
                          </a:solidFill>
                        </a:rPr>
                        <a:t>Connectors</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extLst>
                  <a:ext uri="{0D108BD9-81ED-4DB2-BD59-A6C34878D82A}">
                    <a16:rowId xmlns:a16="http://schemas.microsoft.com/office/drawing/2014/main" val="10011"/>
                  </a:ext>
                </a:extLst>
              </a:tr>
              <a:tr h="251442">
                <a:tc>
                  <a:txBody>
                    <a:bodyPr/>
                    <a:lstStyle/>
                    <a:p>
                      <a:pPr marL="0" marR="0" indent="0" algn="l" defTabSz="914209" rtl="0" eaLnBrk="1" fontAlgn="auto" latinLnBrk="0" hangingPunct="1">
                        <a:lnSpc>
                          <a:spcPct val="100000"/>
                        </a:lnSpc>
                        <a:spcBef>
                          <a:spcPts val="0"/>
                        </a:spcBef>
                        <a:spcAft>
                          <a:spcPts val="0"/>
                        </a:spcAft>
                        <a:buClrTx/>
                        <a:buSzTx/>
                        <a:buFontTx/>
                        <a:buNone/>
                        <a:tabLst/>
                        <a:defRPr/>
                      </a:pPr>
                      <a:r>
                        <a:rPr lang="en-US" sz="1100" b="0" i="0" dirty="0">
                          <a:solidFill>
                            <a:schemeClr val="tx1">
                              <a:lumMod val="50000"/>
                            </a:schemeClr>
                          </a:solidFill>
                        </a:rPr>
                        <a:t>Endpoint</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Win,</a:t>
                      </a:r>
                      <a:r>
                        <a:rPr lang="en-US" sz="1200" baseline="0" dirty="0">
                          <a:solidFill>
                            <a:schemeClr val="bg1"/>
                          </a:solidFill>
                          <a:latin typeface="+mn-lt"/>
                          <a:ea typeface="Arial"/>
                          <a:cs typeface="Arial"/>
                        </a:rPr>
                        <a:t> OS X, Linux</a:t>
                      </a: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Win,</a:t>
                      </a:r>
                      <a:r>
                        <a:rPr lang="en-US" sz="1200" baseline="0" dirty="0">
                          <a:solidFill>
                            <a:schemeClr val="bg1"/>
                          </a:solidFill>
                          <a:latin typeface="+mn-lt"/>
                          <a:ea typeface="Arial"/>
                          <a:cs typeface="Arial"/>
                        </a:rPr>
                        <a:t> OS X, Linux</a:t>
                      </a: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Win,</a:t>
                      </a:r>
                      <a:r>
                        <a:rPr lang="en-US" sz="1200" baseline="0" dirty="0">
                          <a:solidFill>
                            <a:schemeClr val="bg1"/>
                          </a:solidFill>
                          <a:latin typeface="+mn-lt"/>
                          <a:ea typeface="Arial"/>
                          <a:cs typeface="Arial"/>
                        </a:rPr>
                        <a:t> OS X, Linux</a:t>
                      </a: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200" dirty="0">
                          <a:solidFill>
                            <a:schemeClr val="bg1"/>
                          </a:solidFill>
                          <a:latin typeface="+mn-lt"/>
                          <a:ea typeface="Arial"/>
                          <a:cs typeface="Arial"/>
                        </a:rPr>
                        <a:t>Feature</a:t>
                      </a:r>
                      <a:r>
                        <a:rPr lang="en-US" sz="1200" baseline="0" dirty="0">
                          <a:solidFill>
                            <a:schemeClr val="bg1"/>
                          </a:solidFill>
                          <a:latin typeface="+mn-lt"/>
                          <a:ea typeface="Arial"/>
                          <a:cs typeface="Arial"/>
                        </a:rPr>
                        <a:t> &amp; Platforms</a:t>
                      </a: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12"/>
                  </a:ext>
                </a:extLst>
              </a:tr>
              <a:tr h="251442">
                <a:tc>
                  <a:txBody>
                    <a:bodyPr/>
                    <a:lstStyle/>
                    <a:p>
                      <a:pPr marL="0" marR="0" indent="0" algn="l" defTabSz="914209" rtl="0" eaLnBrk="1" fontAlgn="auto" latinLnBrk="0" hangingPunct="1">
                        <a:lnSpc>
                          <a:spcPct val="100000"/>
                        </a:lnSpc>
                        <a:spcBef>
                          <a:spcPts val="0"/>
                        </a:spcBef>
                        <a:spcAft>
                          <a:spcPts val="0"/>
                        </a:spcAft>
                        <a:buClrTx/>
                        <a:buSzTx/>
                        <a:buFontTx/>
                        <a:buNone/>
                        <a:tabLst/>
                        <a:defRPr/>
                      </a:pPr>
                      <a:r>
                        <a:rPr lang="en-US" sz="1100" b="0" i="0" dirty="0">
                          <a:solidFill>
                            <a:schemeClr val="tx1">
                              <a:lumMod val="50000"/>
                            </a:schemeClr>
                          </a:solidFill>
                        </a:rPr>
                        <a:t>Network</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1100" dirty="0">
                          <a:solidFill>
                            <a:schemeClr val="bg1"/>
                          </a:solidFill>
                          <a:latin typeface="+mn-lt"/>
                          <a:ea typeface="Arial"/>
                          <a:cs typeface="Arial"/>
                        </a:rPr>
                        <a:t>FMC 6.1</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13"/>
                  </a:ext>
                </a:extLst>
              </a:tr>
              <a:tr h="251442">
                <a:tc>
                  <a:txBody>
                    <a:bodyPr/>
                    <a:lstStyle/>
                    <a:p>
                      <a:pPr marL="0" marR="0" indent="0" algn="l" defTabSz="914209" rtl="0" eaLnBrk="1" fontAlgn="auto" latinLnBrk="0" hangingPunct="1">
                        <a:lnSpc>
                          <a:spcPct val="100000"/>
                        </a:lnSpc>
                        <a:spcBef>
                          <a:spcPts val="0"/>
                        </a:spcBef>
                        <a:spcAft>
                          <a:spcPts val="0"/>
                        </a:spcAft>
                        <a:buClrTx/>
                        <a:buSzTx/>
                        <a:buFontTx/>
                        <a:buNone/>
                        <a:tabLst/>
                        <a:defRPr/>
                      </a:pPr>
                      <a:r>
                        <a:rPr lang="en-US" sz="1100" b="0" i="0" dirty="0">
                          <a:solidFill>
                            <a:schemeClr val="tx1">
                              <a:lumMod val="50000"/>
                            </a:schemeClr>
                          </a:solidFill>
                        </a:rPr>
                        <a:t>Content</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12700" cmpd="sng">
                      <a:noFill/>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r>
                        <a:rPr lang="en-US" sz="800" dirty="0">
                          <a:solidFill>
                            <a:schemeClr val="bg1"/>
                          </a:solidFill>
                          <a:latin typeface="+mn-lt"/>
                          <a:ea typeface="Arial"/>
                          <a:cs typeface="Arial"/>
                        </a:rPr>
                        <a:t>ESA/WSA 10/11</a:t>
                      </a: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75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dirty="0">
                        <a:solidFill>
                          <a:schemeClr val="bg1"/>
                        </a:solidFill>
                        <a:latin typeface="+mn-lt"/>
                        <a:ea typeface="Arial"/>
                        <a:cs typeface="Arial"/>
                      </a:endParaRPr>
                    </a:p>
                  </a:txBody>
                  <a:tcPr marL="68580" marR="68580" marT="34281" marB="34281" anchor="ctr">
                    <a:lnL w="19050" cap="flat" cmpd="sng" algn="ctr">
                      <a:noFill/>
                      <a:prstDash val="solid"/>
                      <a:round/>
                      <a:headEnd type="none" w="med" len="med"/>
                      <a:tailEnd type="none" w="med" len="med"/>
                    </a:lnL>
                    <a:lnR w="19050" cap="flat" cmpd="sng" algn="ctr">
                      <a:noFill/>
                      <a:prstDash val="solid"/>
                      <a:round/>
                      <a:headEnd type="none" w="med" len="med"/>
                      <a:tailEnd type="none" w="med" len="med"/>
                    </a:lnR>
                    <a:lnT w="9525" cap="flat" cmpd="sng" algn="ctr">
                      <a:no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50000"/>
                        <a:alpha val="50000"/>
                      </a:schemeClr>
                    </a:solidFill>
                  </a:tcPr>
                </a:tc>
                <a:extLst>
                  <a:ext uri="{0D108BD9-81ED-4DB2-BD59-A6C34878D82A}">
                    <a16:rowId xmlns:a16="http://schemas.microsoft.com/office/drawing/2014/main" val="10014"/>
                  </a:ext>
                </a:extLst>
              </a:tr>
            </a:tbl>
          </a:graphicData>
        </a:graphic>
      </p:graphicFrame>
      <p:sp>
        <p:nvSpPr>
          <p:cNvPr id="14" name="Oval 13"/>
          <p:cNvSpPr/>
          <p:nvPr/>
        </p:nvSpPr>
        <p:spPr>
          <a:xfrm>
            <a:off x="7711399" y="1962906"/>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15" name="Oval 14"/>
          <p:cNvSpPr/>
          <p:nvPr/>
        </p:nvSpPr>
        <p:spPr>
          <a:xfrm>
            <a:off x="7711399" y="2295673"/>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16" name="Oval 15"/>
          <p:cNvSpPr/>
          <p:nvPr/>
        </p:nvSpPr>
        <p:spPr>
          <a:xfrm>
            <a:off x="7711399" y="2553709"/>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17" name="Oval 16"/>
          <p:cNvSpPr/>
          <p:nvPr/>
        </p:nvSpPr>
        <p:spPr>
          <a:xfrm>
            <a:off x="7711399" y="2799499"/>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18" name="Oval 17"/>
          <p:cNvSpPr/>
          <p:nvPr/>
        </p:nvSpPr>
        <p:spPr>
          <a:xfrm>
            <a:off x="7712765" y="3647228"/>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4" name="Oval 33"/>
          <p:cNvSpPr/>
          <p:nvPr/>
        </p:nvSpPr>
        <p:spPr>
          <a:xfrm>
            <a:off x="6060869" y="1972737"/>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7" name="Oval 36"/>
          <p:cNvSpPr/>
          <p:nvPr/>
        </p:nvSpPr>
        <p:spPr>
          <a:xfrm>
            <a:off x="6058275" y="3657061"/>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40" name="Oval 39"/>
          <p:cNvSpPr/>
          <p:nvPr/>
        </p:nvSpPr>
        <p:spPr>
          <a:xfrm>
            <a:off x="6050666" y="4486433"/>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46" name="Oval 45"/>
          <p:cNvSpPr/>
          <p:nvPr/>
        </p:nvSpPr>
        <p:spPr>
          <a:xfrm>
            <a:off x="6038667" y="4772627"/>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47" name="Oval 46"/>
          <p:cNvSpPr/>
          <p:nvPr/>
        </p:nvSpPr>
        <p:spPr>
          <a:xfrm>
            <a:off x="7704949" y="4497616"/>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48" name="Oval 47"/>
          <p:cNvSpPr/>
          <p:nvPr/>
        </p:nvSpPr>
        <p:spPr>
          <a:xfrm>
            <a:off x="7711398" y="4756628"/>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26" name="Oval 25"/>
          <p:cNvSpPr/>
          <p:nvPr/>
        </p:nvSpPr>
        <p:spPr>
          <a:xfrm>
            <a:off x="6058275" y="2300105"/>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27" name="Oval 26"/>
          <p:cNvSpPr/>
          <p:nvPr/>
        </p:nvSpPr>
        <p:spPr>
          <a:xfrm>
            <a:off x="7715621" y="3031424"/>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28" name="Oval 27"/>
          <p:cNvSpPr/>
          <p:nvPr/>
        </p:nvSpPr>
        <p:spPr>
          <a:xfrm>
            <a:off x="2315401" y="1985091"/>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29" name="Oval 28"/>
          <p:cNvSpPr/>
          <p:nvPr/>
        </p:nvSpPr>
        <p:spPr>
          <a:xfrm>
            <a:off x="2314231" y="4528820"/>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0" name="Oval 29"/>
          <p:cNvSpPr/>
          <p:nvPr/>
        </p:nvSpPr>
        <p:spPr>
          <a:xfrm>
            <a:off x="2314231" y="4784167"/>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1" name="Oval 30"/>
          <p:cNvSpPr/>
          <p:nvPr/>
        </p:nvSpPr>
        <p:spPr>
          <a:xfrm>
            <a:off x="2314231" y="3668601"/>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3" name="Oval 32"/>
          <p:cNvSpPr/>
          <p:nvPr/>
        </p:nvSpPr>
        <p:spPr>
          <a:xfrm>
            <a:off x="2314232" y="2302131"/>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5" name="Oval 34"/>
          <p:cNvSpPr/>
          <p:nvPr/>
        </p:nvSpPr>
        <p:spPr>
          <a:xfrm>
            <a:off x="4247447" y="1980177"/>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6" name="Oval 35"/>
          <p:cNvSpPr/>
          <p:nvPr/>
        </p:nvSpPr>
        <p:spPr>
          <a:xfrm>
            <a:off x="4246277" y="4523906"/>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38" name="Oval 37"/>
          <p:cNvSpPr/>
          <p:nvPr/>
        </p:nvSpPr>
        <p:spPr>
          <a:xfrm>
            <a:off x="4246277" y="4779253"/>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41" name="Oval 40"/>
          <p:cNvSpPr/>
          <p:nvPr/>
        </p:nvSpPr>
        <p:spPr>
          <a:xfrm>
            <a:off x="4246277" y="3663687"/>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
        <p:nvSpPr>
          <p:cNvPr id="42" name="Oval 41"/>
          <p:cNvSpPr/>
          <p:nvPr/>
        </p:nvSpPr>
        <p:spPr>
          <a:xfrm>
            <a:off x="4246278" y="2297217"/>
            <a:ext cx="173865" cy="17023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0" hangingPunct="0"/>
            <a:endParaRPr lang="en-US" dirty="0">
              <a:solidFill>
                <a:srgbClr val="FFFFFF"/>
              </a:solidFill>
            </a:endParaRPr>
          </a:p>
        </p:txBody>
      </p:sp>
    </p:spTree>
    <p:extLst>
      <p:ext uri="{BB962C8B-B14F-4D97-AF65-F5344CB8AC3E}">
        <p14:creationId xmlns:p14="http://schemas.microsoft.com/office/powerpoint/2010/main" val="582425658"/>
      </p:ext>
    </p:extLst>
  </p:cSld>
  <p:clrMapOvr>
    <a:masterClrMapping/>
  </p:clrMapOvr>
  <p:transition>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5841" y="1120495"/>
            <a:ext cx="3594574" cy="338981"/>
          </a:xfrm>
        </p:spPr>
        <p:txBody>
          <a:bodyPr/>
          <a:lstStyle/>
          <a:p>
            <a:pPr algn="ctr"/>
            <a:r>
              <a:rPr lang="en-US" sz="1400" b="1" dirty="0">
                <a:solidFill>
                  <a:schemeClr val="bg1"/>
                </a:solidFill>
              </a:rPr>
              <a:t>Endpoint Integrations &amp; Partners</a:t>
            </a:r>
          </a:p>
        </p:txBody>
      </p:sp>
      <p:sp>
        <p:nvSpPr>
          <p:cNvPr id="5" name="Title 1"/>
          <p:cNvSpPr txBox="1">
            <a:spLocks/>
          </p:cNvSpPr>
          <p:nvPr/>
        </p:nvSpPr>
        <p:spPr bwMode="auto">
          <a:xfrm>
            <a:off x="265809" y="311936"/>
            <a:ext cx="8659976" cy="7287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defPPr>
              <a:defRPr lang="en-US"/>
            </a:defPPr>
            <a:lvl1pPr defTabSz="684213" eaLnBrk="1" hangingPunct="1">
              <a:lnSpc>
                <a:spcPct val="80000"/>
              </a:lnSpc>
              <a:defRPr sz="2799" b="0" i="0" u="none">
                <a:solidFill>
                  <a:schemeClr val="tx2"/>
                </a:solidFill>
                <a:latin typeface="Arial" panose="020B0604020202020204" pitchFamily="34" charset="0"/>
                <a:ea typeface="Arial" panose="020B0604020202020204" pitchFamily="34" charset="0"/>
                <a:cs typeface="Arial" panose="020B0604020202020204" pitchFamily="34" charset="0"/>
              </a:defRPr>
            </a:lvl1pPr>
            <a:lvl2pPr defTabSz="684213" eaLnBrk="1" hangingPunct="1">
              <a:lnSpc>
                <a:spcPct val="80000"/>
              </a:lnSpc>
              <a:defRPr sz="3200">
                <a:solidFill>
                  <a:srgbClr val="676767"/>
                </a:solidFill>
              </a:defRPr>
            </a:lvl2pPr>
            <a:lvl3pPr defTabSz="684213" eaLnBrk="1" hangingPunct="1">
              <a:lnSpc>
                <a:spcPct val="80000"/>
              </a:lnSpc>
              <a:defRPr sz="3200">
                <a:solidFill>
                  <a:srgbClr val="676767"/>
                </a:solidFill>
              </a:defRPr>
            </a:lvl3pPr>
            <a:lvl4pPr defTabSz="684213" eaLnBrk="1" hangingPunct="1">
              <a:lnSpc>
                <a:spcPct val="80000"/>
              </a:lnSpc>
              <a:defRPr sz="3200">
                <a:solidFill>
                  <a:srgbClr val="676767"/>
                </a:solidFill>
              </a:defRPr>
            </a:lvl4pPr>
            <a:lvl5pPr defTabSz="684213" eaLnBrk="1" hangingPunct="1">
              <a:lnSpc>
                <a:spcPct val="80000"/>
              </a:lnSpc>
              <a:defRPr sz="3200">
                <a:solidFill>
                  <a:srgbClr val="676767"/>
                </a:solidFill>
              </a:defRPr>
            </a:lvl5pPr>
            <a:lvl6pPr marL="457200" defTabSz="684213" fontAlgn="base">
              <a:lnSpc>
                <a:spcPct val="80000"/>
              </a:lnSpc>
              <a:spcBef>
                <a:spcPct val="0"/>
              </a:spcBef>
              <a:spcAft>
                <a:spcPct val="0"/>
              </a:spcAft>
              <a:defRPr sz="3200">
                <a:solidFill>
                  <a:srgbClr val="676767"/>
                </a:solidFill>
              </a:defRPr>
            </a:lvl6pPr>
            <a:lvl7pPr marL="914400" defTabSz="684213" fontAlgn="base">
              <a:lnSpc>
                <a:spcPct val="80000"/>
              </a:lnSpc>
              <a:spcBef>
                <a:spcPct val="0"/>
              </a:spcBef>
              <a:spcAft>
                <a:spcPct val="0"/>
              </a:spcAft>
              <a:defRPr sz="3200">
                <a:solidFill>
                  <a:srgbClr val="676767"/>
                </a:solidFill>
              </a:defRPr>
            </a:lvl7pPr>
            <a:lvl8pPr marL="1371600" defTabSz="684213" fontAlgn="base">
              <a:lnSpc>
                <a:spcPct val="80000"/>
              </a:lnSpc>
              <a:spcBef>
                <a:spcPct val="0"/>
              </a:spcBef>
              <a:spcAft>
                <a:spcPct val="0"/>
              </a:spcAft>
              <a:defRPr sz="3200">
                <a:solidFill>
                  <a:srgbClr val="676767"/>
                </a:solidFill>
              </a:defRPr>
            </a:lvl8pPr>
            <a:lvl9pPr marL="1828800" defTabSz="684213" fontAlgn="base">
              <a:lnSpc>
                <a:spcPct val="80000"/>
              </a:lnSpc>
              <a:spcBef>
                <a:spcPct val="0"/>
              </a:spcBef>
              <a:spcAft>
                <a:spcPct val="0"/>
              </a:spcAft>
              <a:defRPr sz="3200">
                <a:solidFill>
                  <a:srgbClr val="676767"/>
                </a:solidFill>
              </a:defRPr>
            </a:lvl9pPr>
          </a:lstStyle>
          <a:p>
            <a:r>
              <a:rPr lang="en-US" sz="2400" dirty="0"/>
              <a:t>AMP For Endpoints </a:t>
            </a:r>
            <a:r>
              <a:rPr lang="ja-JP" altLang="en-US" sz="2400"/>
              <a:t>サードパティインテグレーション</a:t>
            </a:r>
            <a:endParaRPr lang="en-US" sz="2400" dirty="0"/>
          </a:p>
          <a:p>
            <a:r>
              <a:rPr lang="en-US" sz="1800" dirty="0"/>
              <a:t>Cisco</a:t>
            </a:r>
            <a:r>
              <a:rPr lang="ja-JP" altLang="en-US" sz="1800"/>
              <a:t>セキュリティテクニカルアライアンス</a:t>
            </a:r>
            <a:endParaRPr lang="en-US" dirty="0"/>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52074" y="1120494"/>
            <a:ext cx="581398" cy="306978"/>
          </a:xfrm>
          <a:prstGeom prst="rect">
            <a:avLst/>
          </a:prstGeom>
        </p:spPr>
      </p:pic>
      <p:pic>
        <p:nvPicPr>
          <p:cNvPr id="19" name="Picture 18"/>
          <p:cNvPicPr>
            <a:picLocks noChangeAspect="1"/>
          </p:cNvPicPr>
          <p:nvPr/>
        </p:nvPicPr>
        <p:blipFill>
          <a:blip r:embed="rId4"/>
          <a:stretch>
            <a:fillRect/>
          </a:stretch>
        </p:blipFill>
        <p:spPr>
          <a:xfrm>
            <a:off x="265809" y="1659264"/>
            <a:ext cx="1221284" cy="2527380"/>
          </a:xfrm>
          <a:prstGeom prst="rect">
            <a:avLst/>
          </a:prstGeom>
        </p:spPr>
      </p:pic>
      <p:sp>
        <p:nvSpPr>
          <p:cNvPr id="32" name="AutoShape 4" descr="Image result for empow logo"/>
          <p:cNvSpPr>
            <a:spLocks noChangeAspect="1" noChangeArrowheads="1"/>
          </p:cNvSpPr>
          <p:nvPr/>
        </p:nvSpPr>
        <p:spPr bwMode="auto">
          <a:xfrm>
            <a:off x="155575" y="35648"/>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48" name="Picture 47"/>
          <p:cNvPicPr>
            <a:picLocks noChangeAspect="1"/>
          </p:cNvPicPr>
          <p:nvPr/>
        </p:nvPicPr>
        <p:blipFill>
          <a:blip r:embed="rId5"/>
          <a:stretch>
            <a:fillRect/>
          </a:stretch>
        </p:blipFill>
        <p:spPr>
          <a:xfrm>
            <a:off x="2327446" y="3518045"/>
            <a:ext cx="677580" cy="719929"/>
          </a:xfrm>
          <a:prstGeom prst="rect">
            <a:avLst/>
          </a:prstGeom>
        </p:spPr>
      </p:pic>
      <p:pic>
        <p:nvPicPr>
          <p:cNvPr id="49" name="Picture 4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2066024" y="2523434"/>
            <a:ext cx="1159989" cy="250357"/>
          </a:xfrm>
          <a:prstGeom prst="rect">
            <a:avLst/>
          </a:prstGeom>
        </p:spPr>
      </p:pic>
      <p:pic>
        <p:nvPicPr>
          <p:cNvPr id="50" name="Picture 49"/>
          <p:cNvPicPr>
            <a:picLocks noChangeAspect="1"/>
          </p:cNvPicPr>
          <p:nvPr/>
        </p:nvPicPr>
        <p:blipFill>
          <a:blip r:embed="rId7"/>
          <a:stretch>
            <a:fillRect/>
          </a:stretch>
        </p:blipFill>
        <p:spPr>
          <a:xfrm>
            <a:off x="2117890" y="2001315"/>
            <a:ext cx="1024915" cy="309338"/>
          </a:xfrm>
          <a:prstGeom prst="rect">
            <a:avLst/>
          </a:prstGeom>
        </p:spPr>
      </p:pic>
      <p:pic>
        <p:nvPicPr>
          <p:cNvPr id="51" name="Picture 1" descr="cid:291FEFDB-8485-47BC-B084-36DD0F2B923A"/>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327447" y="2868196"/>
            <a:ext cx="821515" cy="536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3" name="Picture 52" descr="imgres.jpg"/>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2124047" y="1490800"/>
            <a:ext cx="1024915" cy="314844"/>
          </a:xfrm>
          <a:prstGeom prst="rect">
            <a:avLst/>
          </a:prstGeom>
        </p:spPr>
      </p:pic>
      <p:sp>
        <p:nvSpPr>
          <p:cNvPr id="13" name="Title 1"/>
          <p:cNvSpPr txBox="1">
            <a:spLocks/>
          </p:cNvSpPr>
          <p:nvPr/>
        </p:nvSpPr>
        <p:spPr bwMode="auto">
          <a:xfrm>
            <a:off x="4949417" y="1120494"/>
            <a:ext cx="3594574" cy="338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24" tIns="45712" rIns="91424" bIns="45712" numCol="1" anchor="ctr" anchorCtr="0" compatLnSpc="1">
            <a:prstTxWarp prst="textNoShape">
              <a:avLst/>
            </a:prstTxWarp>
          </a:bodyPr>
          <a:lstStyle>
            <a:lvl1pPr algn="l" defTabSz="684213" rtl="0" eaLnBrk="1" fontAlgn="base" hangingPunct="1">
              <a:lnSpc>
                <a:spcPct val="80000"/>
              </a:lnSpc>
              <a:spcBef>
                <a:spcPct val="0"/>
              </a:spcBef>
              <a:spcAft>
                <a:spcPct val="0"/>
              </a:spcAft>
              <a:defRPr lang="en-US" sz="2800" b="0" i="0" u="none" kern="1200">
                <a:solidFill>
                  <a:schemeClr val="tx2"/>
                </a:solidFill>
                <a:latin typeface="+mj-lt"/>
                <a:ea typeface="CiscoSansTT Thin" charset="0"/>
                <a:cs typeface="CiscoSansTT Thin" charset="0"/>
              </a:defRPr>
            </a:lvl1pPr>
            <a:lvl2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2pPr>
            <a:lvl3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3pPr>
            <a:lvl4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4pPr>
            <a:lvl5pPr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5pPr>
            <a:lvl6pPr marL="4572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6pPr>
            <a:lvl7pPr marL="9144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7pPr>
            <a:lvl8pPr marL="13716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8pPr>
            <a:lvl9pPr marL="1828800" algn="l" defTabSz="684213" rtl="0" eaLnBrk="1" fontAlgn="base" hangingPunct="1">
              <a:lnSpc>
                <a:spcPct val="80000"/>
              </a:lnSpc>
              <a:spcBef>
                <a:spcPct val="0"/>
              </a:spcBef>
              <a:spcAft>
                <a:spcPct val="0"/>
              </a:spcAft>
              <a:defRPr sz="3200">
                <a:solidFill>
                  <a:srgbClr val="676767"/>
                </a:solidFill>
                <a:latin typeface="Arial" charset="0"/>
                <a:ea typeface="ＭＳ Ｐゴシック" charset="0"/>
              </a:defRPr>
            </a:lvl9pPr>
          </a:lstStyle>
          <a:p>
            <a:pPr algn="ctr"/>
            <a:r>
              <a:rPr lang="en-US" sz="1400" b="1" dirty="0">
                <a:solidFill>
                  <a:schemeClr val="bg1"/>
                </a:solidFill>
              </a:rPr>
              <a:t>Cisco Security Connector – MDM/EMM</a:t>
            </a:r>
          </a:p>
        </p:txBody>
      </p:sp>
      <p:pic>
        <p:nvPicPr>
          <p:cNvPr id="3" name="Picture 2"/>
          <p:cNvPicPr>
            <a:picLocks noChangeAspect="1"/>
          </p:cNvPicPr>
          <p:nvPr/>
        </p:nvPicPr>
        <p:blipFill>
          <a:blip r:embed="rId10"/>
          <a:stretch>
            <a:fillRect/>
          </a:stretch>
        </p:blipFill>
        <p:spPr>
          <a:xfrm>
            <a:off x="6197019" y="1567488"/>
            <a:ext cx="1321009" cy="407545"/>
          </a:xfrm>
          <a:prstGeom prst="rect">
            <a:avLst/>
          </a:prstGeom>
        </p:spPr>
      </p:pic>
      <p:pic>
        <p:nvPicPr>
          <p:cNvPr id="4" name="Picture 3"/>
          <p:cNvPicPr>
            <a:picLocks noChangeAspect="1"/>
          </p:cNvPicPr>
          <p:nvPr/>
        </p:nvPicPr>
        <p:blipFill>
          <a:blip r:embed="rId11"/>
          <a:stretch>
            <a:fillRect/>
          </a:stretch>
        </p:blipFill>
        <p:spPr>
          <a:xfrm>
            <a:off x="6197018" y="2123219"/>
            <a:ext cx="1321009" cy="425199"/>
          </a:xfrm>
          <a:prstGeom prst="rect">
            <a:avLst/>
          </a:prstGeom>
        </p:spPr>
      </p:pic>
      <p:pic>
        <p:nvPicPr>
          <p:cNvPr id="6" name="Picture 5"/>
          <p:cNvPicPr>
            <a:picLocks noChangeAspect="1"/>
          </p:cNvPicPr>
          <p:nvPr/>
        </p:nvPicPr>
        <p:blipFill>
          <a:blip r:embed="rId12"/>
          <a:stretch>
            <a:fillRect/>
          </a:stretch>
        </p:blipFill>
        <p:spPr>
          <a:xfrm>
            <a:off x="5770077" y="2616681"/>
            <a:ext cx="730363" cy="476323"/>
          </a:xfrm>
          <a:prstGeom prst="rect">
            <a:avLst/>
          </a:prstGeom>
        </p:spPr>
      </p:pic>
      <p:pic>
        <p:nvPicPr>
          <p:cNvPr id="8" name="Picture 7"/>
          <p:cNvPicPr>
            <a:picLocks noChangeAspect="1"/>
          </p:cNvPicPr>
          <p:nvPr/>
        </p:nvPicPr>
        <p:blipFill>
          <a:blip r:embed="rId13"/>
          <a:stretch>
            <a:fillRect/>
          </a:stretch>
        </p:blipFill>
        <p:spPr>
          <a:xfrm>
            <a:off x="6618495" y="2728665"/>
            <a:ext cx="1796245" cy="307050"/>
          </a:xfrm>
          <a:prstGeom prst="rect">
            <a:avLst/>
          </a:prstGeom>
        </p:spPr>
      </p:pic>
      <p:pic>
        <p:nvPicPr>
          <p:cNvPr id="20" name="Picture 10" descr="http://ecrm.logrhythm.com/rs/logrhythm/images/LogRhythm%C2%AELogo_SecurityIntelligence_Color_ForLightBackgrounds_HEX.jp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511585" y="1491747"/>
            <a:ext cx="1326002" cy="335036"/>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15"/>
          <a:stretch>
            <a:fillRect/>
          </a:stretch>
        </p:blipFill>
        <p:spPr>
          <a:xfrm>
            <a:off x="3667663" y="1826536"/>
            <a:ext cx="1098314" cy="593364"/>
          </a:xfrm>
          <a:prstGeom prst="rect">
            <a:avLst/>
          </a:prstGeom>
        </p:spPr>
      </p:pic>
      <p:pic>
        <p:nvPicPr>
          <p:cNvPr id="22" name="Picture 2" descr="Inline imag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756266" y="2570273"/>
            <a:ext cx="914400" cy="158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2"/>
          <p:cNvPicPr>
            <a:picLocks noChangeAspect="1"/>
          </p:cNvPicPr>
          <p:nvPr/>
        </p:nvPicPr>
        <p:blipFill>
          <a:blip r:embed="rId17">
            <a:extLst>
              <a:ext uri="{28A0092B-C50C-407E-A947-70E740481C1C}">
                <a14:useLocalDpi xmlns:a14="http://schemas.microsoft.com/office/drawing/2010/main" val="0"/>
              </a:ext>
            </a:extLst>
          </a:blip>
          <a:stretch>
            <a:fillRect/>
          </a:stretch>
        </p:blipFill>
        <p:spPr>
          <a:xfrm>
            <a:off x="3804945" y="2868196"/>
            <a:ext cx="961033" cy="335039"/>
          </a:xfrm>
          <a:prstGeom prst="rect">
            <a:avLst/>
          </a:prstGeom>
        </p:spPr>
      </p:pic>
      <p:pic>
        <p:nvPicPr>
          <p:cNvPr id="24" name="Picture 23"/>
          <p:cNvPicPr>
            <a:picLocks noChangeAspect="1"/>
          </p:cNvPicPr>
          <p:nvPr/>
        </p:nvPicPr>
        <p:blipFill>
          <a:blip r:embed="rId18">
            <a:extLst>
              <a:ext uri="{28A0092B-C50C-407E-A947-70E740481C1C}">
                <a14:useLocalDpi xmlns:a14="http://schemas.microsoft.com/office/drawing/2010/main" val="0"/>
              </a:ext>
            </a:extLst>
          </a:blip>
          <a:stretch>
            <a:fillRect/>
          </a:stretch>
        </p:blipFill>
        <p:spPr>
          <a:xfrm>
            <a:off x="3595890" y="3324518"/>
            <a:ext cx="1170088" cy="246334"/>
          </a:xfrm>
          <a:prstGeom prst="rect">
            <a:avLst/>
          </a:prstGeom>
        </p:spPr>
      </p:pic>
      <p:pic>
        <p:nvPicPr>
          <p:cNvPr id="9" name="Picture 8"/>
          <p:cNvPicPr>
            <a:picLocks noChangeAspect="1"/>
          </p:cNvPicPr>
          <p:nvPr/>
        </p:nvPicPr>
        <p:blipFill>
          <a:blip r:embed="rId19">
            <a:extLst>
              <a:ext uri="{28A0092B-C50C-407E-A947-70E740481C1C}">
                <a14:useLocalDpi xmlns:a14="http://schemas.microsoft.com/office/drawing/2010/main" val="0"/>
              </a:ext>
            </a:extLst>
          </a:blip>
          <a:stretch>
            <a:fillRect/>
          </a:stretch>
        </p:blipFill>
        <p:spPr>
          <a:xfrm>
            <a:off x="6276336" y="3267591"/>
            <a:ext cx="1603806" cy="163588"/>
          </a:xfrm>
          <a:prstGeom prst="rect">
            <a:avLst/>
          </a:prstGeom>
        </p:spPr>
      </p:pic>
      <p:pic>
        <p:nvPicPr>
          <p:cNvPr id="10" name="Picture 9"/>
          <p:cNvPicPr>
            <a:picLocks noChangeAspect="1"/>
          </p:cNvPicPr>
          <p:nvPr/>
        </p:nvPicPr>
        <p:blipFill>
          <a:blip r:embed="rId20">
            <a:extLst>
              <a:ext uri="{28A0092B-C50C-407E-A947-70E740481C1C}">
                <a14:useLocalDpi xmlns:a14="http://schemas.microsoft.com/office/drawing/2010/main" val="0"/>
              </a:ext>
            </a:extLst>
          </a:blip>
          <a:stretch>
            <a:fillRect/>
          </a:stretch>
        </p:blipFill>
        <p:spPr>
          <a:xfrm>
            <a:off x="6500439" y="3582955"/>
            <a:ext cx="1154129" cy="481682"/>
          </a:xfrm>
          <a:prstGeom prst="rect">
            <a:avLst/>
          </a:prstGeom>
        </p:spPr>
      </p:pic>
      <p:pic>
        <p:nvPicPr>
          <p:cNvPr id="25" name="Picture 24"/>
          <p:cNvPicPr>
            <a:picLocks noChangeAspect="1"/>
          </p:cNvPicPr>
          <p:nvPr/>
        </p:nvPicPr>
        <p:blipFill>
          <a:blip r:embed="rId21"/>
          <a:stretch>
            <a:fillRect/>
          </a:stretch>
        </p:blipFill>
        <p:spPr>
          <a:xfrm>
            <a:off x="3693826" y="3682973"/>
            <a:ext cx="914400" cy="232228"/>
          </a:xfrm>
          <a:prstGeom prst="rect">
            <a:avLst/>
          </a:prstGeom>
        </p:spPr>
      </p:pic>
      <p:sp>
        <p:nvSpPr>
          <p:cNvPr id="7" name="TextBox 6"/>
          <p:cNvSpPr txBox="1"/>
          <p:nvPr/>
        </p:nvSpPr>
        <p:spPr>
          <a:xfrm>
            <a:off x="2597826" y="4389750"/>
            <a:ext cx="4262705" cy="646331"/>
          </a:xfrm>
          <a:prstGeom prst="rect">
            <a:avLst/>
          </a:prstGeom>
          <a:noFill/>
        </p:spPr>
        <p:txBody>
          <a:bodyPr wrap="none" rtlCol="0">
            <a:spAutoFit/>
          </a:bodyPr>
          <a:lstStyle/>
          <a:p>
            <a:r>
              <a:rPr lang="ja-JP" altLang="en-US">
                <a:latin typeface="+mn-lt"/>
              </a:rPr>
              <a:t>詳細はこちら</a:t>
            </a:r>
            <a:r>
              <a:rPr lang="en-US" dirty="0">
                <a:latin typeface="+mn-lt"/>
              </a:rPr>
              <a:t>: </a:t>
            </a:r>
            <a:r>
              <a:rPr lang="en-US" dirty="0">
                <a:latin typeface="+mn-lt"/>
                <a:hlinkClick r:id="rId22"/>
              </a:rPr>
              <a:t>https://cisco.com/go/csta</a:t>
            </a:r>
            <a:endParaRPr lang="en-US" dirty="0">
              <a:latin typeface="+mn-lt"/>
            </a:endParaRPr>
          </a:p>
          <a:p>
            <a:endParaRPr lang="en-US" dirty="0">
              <a:latin typeface="+mn-lt"/>
            </a:endParaRPr>
          </a:p>
        </p:txBody>
      </p:sp>
    </p:spTree>
    <p:extLst>
      <p:ext uri="{BB962C8B-B14F-4D97-AF65-F5344CB8AC3E}">
        <p14:creationId xmlns:p14="http://schemas.microsoft.com/office/powerpoint/2010/main" val="40872890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 name="Rectangle 97"/>
          <p:cNvSpPr/>
          <p:nvPr/>
        </p:nvSpPr>
        <p:spPr>
          <a:xfrm>
            <a:off x="111043" y="784335"/>
            <a:ext cx="4371068" cy="123149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99" name="Rectangle 98"/>
          <p:cNvSpPr/>
          <p:nvPr/>
        </p:nvSpPr>
        <p:spPr>
          <a:xfrm>
            <a:off x="111043" y="2082355"/>
            <a:ext cx="4371067" cy="127041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100" name="Rectangle 99"/>
          <p:cNvSpPr/>
          <p:nvPr/>
        </p:nvSpPr>
        <p:spPr>
          <a:xfrm>
            <a:off x="139619" y="3425845"/>
            <a:ext cx="4325585" cy="1178143"/>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3" name="Title 2"/>
          <p:cNvSpPr>
            <a:spLocks noGrp="1"/>
          </p:cNvSpPr>
          <p:nvPr>
            <p:ph type="title"/>
          </p:nvPr>
        </p:nvSpPr>
        <p:spPr>
          <a:xfrm>
            <a:off x="111043" y="100458"/>
            <a:ext cx="8343315" cy="731647"/>
          </a:xfrm>
        </p:spPr>
        <p:txBody>
          <a:bodyPr vert="horz" wrap="square" lIns="82282" tIns="45712" rIns="82282" bIns="45712" numCol="1" rtlCol="0" anchor="b" anchorCtr="0" compatLnSpc="1">
            <a:prstTxWarp prst="textNoShape">
              <a:avLst/>
            </a:prstTxWarp>
            <a:noAutofit/>
          </a:bodyPr>
          <a:lstStyle/>
          <a:p>
            <a:r>
              <a:rPr lang="en-US" sz="3600" spc="-100" dirty="0"/>
              <a:t>Threat Grid Planned Enhancements </a:t>
            </a:r>
            <a:br>
              <a:rPr lang="en-US" sz="3600" spc="-100" dirty="0"/>
            </a:br>
            <a:r>
              <a:rPr lang="en-US" sz="2400" spc="-100" dirty="0"/>
              <a:t>(rest of CY18)</a:t>
            </a:r>
            <a:endParaRPr lang="en-US" sz="3600" spc="-100" dirty="0"/>
          </a:p>
        </p:txBody>
      </p:sp>
      <p:sp>
        <p:nvSpPr>
          <p:cNvPr id="6" name="Rectangle 5"/>
          <p:cNvSpPr/>
          <p:nvPr/>
        </p:nvSpPr>
        <p:spPr>
          <a:xfrm>
            <a:off x="4596616" y="784335"/>
            <a:ext cx="4371068" cy="123149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69" name="Rectangle 68"/>
          <p:cNvSpPr/>
          <p:nvPr/>
        </p:nvSpPr>
        <p:spPr>
          <a:xfrm>
            <a:off x="4596616" y="2082355"/>
            <a:ext cx="4371067" cy="127041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76" name="Rectangle 75"/>
          <p:cNvSpPr/>
          <p:nvPr/>
        </p:nvSpPr>
        <p:spPr>
          <a:xfrm>
            <a:off x="4625192" y="3425845"/>
            <a:ext cx="4325585" cy="1178143"/>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105" name="TextBox 104"/>
          <p:cNvSpPr txBox="1"/>
          <p:nvPr/>
        </p:nvSpPr>
        <p:spPr>
          <a:xfrm>
            <a:off x="1249395" y="784334"/>
            <a:ext cx="3248054" cy="1431161"/>
          </a:xfrm>
          <a:prstGeom prst="rect">
            <a:avLst/>
          </a:prstGeom>
          <a:noFill/>
        </p:spPr>
        <p:txBody>
          <a:bodyPr wrap="square" rtlCol="0">
            <a:spAutoFit/>
          </a:bodyPr>
          <a:lstStyle/>
          <a:p>
            <a:pPr defTabSz="685628"/>
            <a:r>
              <a:rPr lang="en-US" dirty="0">
                <a:solidFill>
                  <a:schemeClr val="bg2"/>
                </a:solidFill>
                <a:latin typeface="CiscoSans ExtraLight" panose="020B0303020201020303" pitchFamily="34" charset="0"/>
              </a:rPr>
              <a:t>Automated Content/SW Updates (TGA)</a:t>
            </a:r>
            <a:endParaRPr lang="en-US" sz="1200" dirty="0">
              <a:solidFill>
                <a:schemeClr val="bg2"/>
              </a:solidFill>
              <a:latin typeface="CiscoSans ExtraLight" panose="020B0303020201020303" pitchFamily="34" charset="0"/>
            </a:endParaRPr>
          </a:p>
          <a:p>
            <a:pPr defTabSz="685628"/>
            <a:r>
              <a:rPr lang="en-US" sz="1200" dirty="0">
                <a:solidFill>
                  <a:schemeClr val="bg2"/>
                </a:solidFill>
                <a:latin typeface="CiscoSans ExtraLight" panose="020B0303020201020303" pitchFamily="34" charset="0"/>
              </a:rPr>
              <a:t>TGA</a:t>
            </a:r>
            <a:r>
              <a:rPr lang="ja-JP" altLang="en-US" sz="1200">
                <a:solidFill>
                  <a:schemeClr val="bg2"/>
                </a:solidFill>
                <a:latin typeface="CiscoSans ExtraLight" panose="020B0303020201020303" pitchFamily="34" charset="0"/>
              </a:rPr>
              <a:t>のインテリジェンス情報やパッチの自動追加機能</a:t>
            </a:r>
            <a:endParaRPr lang="en-US" dirty="0">
              <a:solidFill>
                <a:schemeClr val="bg2"/>
              </a:solidFill>
              <a:latin typeface="CiscoSans ExtraLight" panose="020B0303020201020303" pitchFamily="34" charset="0"/>
            </a:endParaRPr>
          </a:p>
          <a:p>
            <a:pPr defTabSz="685628"/>
            <a:r>
              <a:rPr lang="en-US" dirty="0">
                <a:solidFill>
                  <a:schemeClr val="bg2"/>
                </a:solidFill>
                <a:latin typeface="CiscoSans ExtraLight" panose="020B0303020201020303" pitchFamily="34" charset="0"/>
              </a:rPr>
              <a:t> </a:t>
            </a:r>
            <a:endParaRPr lang="en-US" sz="900" dirty="0">
              <a:solidFill>
                <a:schemeClr val="bg2"/>
              </a:solidFill>
              <a:latin typeface="CiscoSans ExtraLight" panose="020B0303020201020303" pitchFamily="34" charset="0"/>
            </a:endParaRPr>
          </a:p>
          <a:p>
            <a:pPr defTabSz="685628"/>
            <a:endParaRPr lang="en-US" sz="900" dirty="0">
              <a:solidFill>
                <a:schemeClr val="bg2"/>
              </a:solidFill>
              <a:latin typeface="CiscoSans ExtraLight" panose="020B0303020201020303" pitchFamily="34" charset="0"/>
            </a:endParaRPr>
          </a:p>
        </p:txBody>
      </p:sp>
      <p:sp>
        <p:nvSpPr>
          <p:cNvPr id="219" name="Rectangle 218"/>
          <p:cNvSpPr/>
          <p:nvPr/>
        </p:nvSpPr>
        <p:spPr>
          <a:xfrm rot="5400000">
            <a:off x="345078" y="981372"/>
            <a:ext cx="771479" cy="810462"/>
          </a:xfrm>
          <a:prstGeom prst="rect">
            <a:avLst/>
          </a:prstGeom>
          <a:solidFill>
            <a:srgbClr val="0498D1"/>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sp>
        <p:nvSpPr>
          <p:cNvPr id="220" name="Rectangle 219"/>
          <p:cNvSpPr/>
          <p:nvPr/>
        </p:nvSpPr>
        <p:spPr>
          <a:xfrm rot="5400000">
            <a:off x="346241" y="2264402"/>
            <a:ext cx="769153" cy="810463"/>
          </a:xfrm>
          <a:prstGeom prst="rect">
            <a:avLst/>
          </a:prstGeom>
          <a:solidFill>
            <a:srgbClr val="555558"/>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sp>
        <p:nvSpPr>
          <p:cNvPr id="221" name="Rectangle 220"/>
          <p:cNvSpPr/>
          <p:nvPr/>
        </p:nvSpPr>
        <p:spPr>
          <a:xfrm rot="5400000">
            <a:off x="330653" y="3560875"/>
            <a:ext cx="769042" cy="807938"/>
          </a:xfrm>
          <a:prstGeom prst="rect">
            <a:avLst/>
          </a:prstGeom>
          <a:solidFill>
            <a:srgbClr val="0498D1"/>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sp>
        <p:nvSpPr>
          <p:cNvPr id="222" name="Rectangle 221"/>
          <p:cNvSpPr/>
          <p:nvPr/>
        </p:nvSpPr>
        <p:spPr>
          <a:xfrm rot="5400000">
            <a:off x="4764007" y="1007997"/>
            <a:ext cx="769041" cy="805073"/>
          </a:xfrm>
          <a:prstGeom prst="rect">
            <a:avLst/>
          </a:prstGeom>
          <a:solidFill>
            <a:srgbClr val="555558"/>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sp>
        <p:nvSpPr>
          <p:cNvPr id="223" name="Rectangle 222"/>
          <p:cNvSpPr/>
          <p:nvPr/>
        </p:nvSpPr>
        <p:spPr>
          <a:xfrm rot="5400000">
            <a:off x="4765290" y="2284302"/>
            <a:ext cx="766472" cy="805073"/>
          </a:xfrm>
          <a:prstGeom prst="rect">
            <a:avLst/>
          </a:prstGeom>
          <a:solidFill>
            <a:srgbClr val="0498D1"/>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grpSp>
        <p:nvGrpSpPr>
          <p:cNvPr id="224" name="Group 93"/>
          <p:cNvGrpSpPr/>
          <p:nvPr/>
        </p:nvGrpSpPr>
        <p:grpSpPr>
          <a:xfrm>
            <a:off x="4900513" y="2560030"/>
            <a:ext cx="521615" cy="259381"/>
            <a:chOff x="-1316038" y="2065338"/>
            <a:chExt cx="746125" cy="441325"/>
          </a:xfrm>
        </p:grpSpPr>
        <p:sp>
          <p:nvSpPr>
            <p:cNvPr id="225" name="Freeform 12"/>
            <p:cNvSpPr>
              <a:spLocks noEditPoints="1"/>
            </p:cNvSpPr>
            <p:nvPr/>
          </p:nvSpPr>
          <p:spPr bwMode="auto">
            <a:xfrm>
              <a:off x="-1316038" y="2065338"/>
              <a:ext cx="746125" cy="441325"/>
            </a:xfrm>
            <a:custGeom>
              <a:avLst/>
              <a:gdLst/>
              <a:ahLst/>
              <a:cxnLst>
                <a:cxn ang="0">
                  <a:pos x="2155" y="585"/>
                </a:cxn>
                <a:cxn ang="0">
                  <a:pos x="1096" y="0"/>
                </a:cxn>
                <a:cxn ang="0">
                  <a:pos x="36" y="585"/>
                </a:cxn>
                <a:cxn ang="0">
                  <a:pos x="36" y="708"/>
                </a:cxn>
                <a:cxn ang="0">
                  <a:pos x="1096" y="1293"/>
                </a:cxn>
                <a:cxn ang="0">
                  <a:pos x="2155" y="708"/>
                </a:cxn>
                <a:cxn ang="0">
                  <a:pos x="2155" y="585"/>
                </a:cxn>
                <a:cxn ang="0">
                  <a:pos x="1100" y="1117"/>
                </a:cxn>
                <a:cxn ang="0">
                  <a:pos x="631" y="648"/>
                </a:cxn>
                <a:cxn ang="0">
                  <a:pos x="1100" y="179"/>
                </a:cxn>
                <a:cxn ang="0">
                  <a:pos x="1569" y="648"/>
                </a:cxn>
                <a:cxn ang="0">
                  <a:pos x="1100" y="1117"/>
                </a:cxn>
                <a:cxn ang="0">
                  <a:pos x="1100" y="1117"/>
                </a:cxn>
                <a:cxn ang="0">
                  <a:pos x="1100" y="1117"/>
                </a:cxn>
              </a:cxnLst>
              <a:rect l="0" t="0" r="r" b="b"/>
              <a:pathLst>
                <a:path w="2192" h="1293">
                  <a:moveTo>
                    <a:pt x="2155" y="585"/>
                  </a:moveTo>
                  <a:cubicBezTo>
                    <a:pt x="2155" y="585"/>
                    <a:pt x="1567" y="0"/>
                    <a:pt x="1096" y="0"/>
                  </a:cubicBezTo>
                  <a:cubicBezTo>
                    <a:pt x="625" y="0"/>
                    <a:pt x="36" y="585"/>
                    <a:pt x="36" y="585"/>
                  </a:cubicBezTo>
                  <a:cubicBezTo>
                    <a:pt x="0" y="619"/>
                    <a:pt x="0" y="675"/>
                    <a:pt x="36" y="708"/>
                  </a:cubicBezTo>
                  <a:cubicBezTo>
                    <a:pt x="36" y="708"/>
                    <a:pt x="625" y="1293"/>
                    <a:pt x="1096" y="1293"/>
                  </a:cubicBezTo>
                  <a:cubicBezTo>
                    <a:pt x="1567" y="1293"/>
                    <a:pt x="2155" y="708"/>
                    <a:pt x="2155" y="708"/>
                  </a:cubicBezTo>
                  <a:cubicBezTo>
                    <a:pt x="2191" y="674"/>
                    <a:pt x="2192" y="619"/>
                    <a:pt x="2155" y="585"/>
                  </a:cubicBezTo>
                  <a:close/>
                  <a:moveTo>
                    <a:pt x="1100" y="1117"/>
                  </a:moveTo>
                  <a:cubicBezTo>
                    <a:pt x="841" y="1117"/>
                    <a:pt x="631" y="908"/>
                    <a:pt x="631" y="648"/>
                  </a:cubicBezTo>
                  <a:cubicBezTo>
                    <a:pt x="631" y="389"/>
                    <a:pt x="841" y="179"/>
                    <a:pt x="1100" y="179"/>
                  </a:cubicBezTo>
                  <a:cubicBezTo>
                    <a:pt x="1359" y="179"/>
                    <a:pt x="1569" y="389"/>
                    <a:pt x="1569" y="648"/>
                  </a:cubicBezTo>
                  <a:cubicBezTo>
                    <a:pt x="1569" y="907"/>
                    <a:pt x="1359" y="1117"/>
                    <a:pt x="1100" y="1117"/>
                  </a:cubicBezTo>
                  <a:close/>
                  <a:moveTo>
                    <a:pt x="1100" y="1117"/>
                  </a:moveTo>
                  <a:cubicBezTo>
                    <a:pt x="1100" y="1117"/>
                    <a:pt x="1100" y="1117"/>
                    <a:pt x="1100" y="1117"/>
                  </a:cubicBezTo>
                </a:path>
              </a:pathLst>
            </a:custGeom>
            <a:solidFill>
              <a:srgbClr val="FFFFFF"/>
            </a:solidFill>
            <a:ln w="9525">
              <a:noFill/>
              <a:round/>
              <a:headEnd/>
              <a:tailEnd/>
            </a:ln>
          </p:spPr>
          <p:txBody>
            <a:bodyPr vert="horz" wrap="square" lIns="91416" tIns="45708" rIns="91416" bIns="45708" numCol="1" anchor="t" anchorCtr="0" compatLnSpc="1">
              <a:prstTxWarp prst="textNoShape">
                <a:avLst/>
              </a:prstTxWarp>
            </a:bodyPr>
            <a:lstStyle/>
            <a:p>
              <a:pPr defTabSz="685628">
                <a:defRPr/>
              </a:pPr>
              <a:endParaRPr lang="en-US" sz="1350" kern="0" dirty="0">
                <a:solidFill>
                  <a:srgbClr val="676767"/>
                </a:solidFill>
                <a:latin typeface="CiscoSans ExtraLight" panose="020B0303020201020303" pitchFamily="34" charset="0"/>
                <a:ea typeface="ＭＳ Ｐゴシック" pitchFamily="34" charset="-128"/>
              </a:endParaRPr>
            </a:p>
          </p:txBody>
        </p:sp>
        <p:sp>
          <p:nvSpPr>
            <p:cNvPr id="226" name="Freeform 13"/>
            <p:cNvSpPr>
              <a:spLocks noEditPoints="1"/>
            </p:cNvSpPr>
            <p:nvPr/>
          </p:nvSpPr>
          <p:spPr bwMode="auto">
            <a:xfrm>
              <a:off x="-1044576" y="2182813"/>
              <a:ext cx="203200" cy="204788"/>
            </a:xfrm>
            <a:custGeom>
              <a:avLst/>
              <a:gdLst/>
              <a:ahLst/>
              <a:cxnLst>
                <a:cxn ang="0">
                  <a:pos x="298" y="0"/>
                </a:cxn>
                <a:cxn ang="0">
                  <a:pos x="0" y="299"/>
                </a:cxn>
                <a:cxn ang="0">
                  <a:pos x="298" y="598"/>
                </a:cxn>
                <a:cxn ang="0">
                  <a:pos x="596" y="299"/>
                </a:cxn>
                <a:cxn ang="0">
                  <a:pos x="298" y="0"/>
                </a:cxn>
                <a:cxn ang="0">
                  <a:pos x="410" y="300"/>
                </a:cxn>
                <a:cxn ang="0">
                  <a:pos x="318" y="207"/>
                </a:cxn>
                <a:cxn ang="0">
                  <a:pos x="410" y="114"/>
                </a:cxn>
                <a:cxn ang="0">
                  <a:pos x="503" y="207"/>
                </a:cxn>
                <a:cxn ang="0">
                  <a:pos x="410" y="300"/>
                </a:cxn>
                <a:cxn ang="0">
                  <a:pos x="410" y="300"/>
                </a:cxn>
                <a:cxn ang="0">
                  <a:pos x="410" y="300"/>
                </a:cxn>
              </a:cxnLst>
              <a:rect l="0" t="0" r="r" b="b"/>
              <a:pathLst>
                <a:path w="596" h="598">
                  <a:moveTo>
                    <a:pt x="298" y="0"/>
                  </a:moveTo>
                  <a:cubicBezTo>
                    <a:pt x="133" y="0"/>
                    <a:pt x="0" y="134"/>
                    <a:pt x="0" y="299"/>
                  </a:cubicBezTo>
                  <a:cubicBezTo>
                    <a:pt x="0" y="464"/>
                    <a:pt x="133" y="598"/>
                    <a:pt x="298" y="598"/>
                  </a:cubicBezTo>
                  <a:cubicBezTo>
                    <a:pt x="462" y="598"/>
                    <a:pt x="596" y="464"/>
                    <a:pt x="596" y="299"/>
                  </a:cubicBezTo>
                  <a:cubicBezTo>
                    <a:pt x="596" y="134"/>
                    <a:pt x="462" y="0"/>
                    <a:pt x="298" y="0"/>
                  </a:cubicBezTo>
                  <a:close/>
                  <a:moveTo>
                    <a:pt x="410" y="300"/>
                  </a:moveTo>
                  <a:cubicBezTo>
                    <a:pt x="359" y="300"/>
                    <a:pt x="318" y="258"/>
                    <a:pt x="318" y="207"/>
                  </a:cubicBezTo>
                  <a:cubicBezTo>
                    <a:pt x="318" y="155"/>
                    <a:pt x="359" y="114"/>
                    <a:pt x="410" y="114"/>
                  </a:cubicBezTo>
                  <a:cubicBezTo>
                    <a:pt x="461" y="114"/>
                    <a:pt x="503" y="155"/>
                    <a:pt x="503" y="207"/>
                  </a:cubicBezTo>
                  <a:cubicBezTo>
                    <a:pt x="503" y="258"/>
                    <a:pt x="462" y="300"/>
                    <a:pt x="410" y="300"/>
                  </a:cubicBezTo>
                  <a:close/>
                  <a:moveTo>
                    <a:pt x="410" y="300"/>
                  </a:moveTo>
                  <a:cubicBezTo>
                    <a:pt x="410" y="300"/>
                    <a:pt x="410" y="300"/>
                    <a:pt x="410" y="300"/>
                  </a:cubicBezTo>
                </a:path>
              </a:pathLst>
            </a:custGeom>
            <a:solidFill>
              <a:srgbClr val="FFFFFF"/>
            </a:solidFill>
            <a:ln w="9525">
              <a:noFill/>
              <a:round/>
              <a:headEnd/>
              <a:tailEnd/>
            </a:ln>
          </p:spPr>
          <p:txBody>
            <a:bodyPr vert="horz" wrap="square" lIns="91416" tIns="45708" rIns="91416" bIns="45708" numCol="1" anchor="t" anchorCtr="0" compatLnSpc="1">
              <a:prstTxWarp prst="textNoShape">
                <a:avLst/>
              </a:prstTxWarp>
            </a:bodyPr>
            <a:lstStyle/>
            <a:p>
              <a:pPr defTabSz="685628">
                <a:defRPr/>
              </a:pPr>
              <a:endParaRPr lang="en-US" sz="1350" kern="0" dirty="0">
                <a:solidFill>
                  <a:srgbClr val="676767"/>
                </a:solidFill>
                <a:latin typeface="CiscoSans ExtraLight" panose="020B0303020201020303" pitchFamily="34" charset="0"/>
                <a:ea typeface="ＭＳ Ｐゴシック" pitchFamily="34" charset="-128"/>
              </a:endParaRPr>
            </a:p>
          </p:txBody>
        </p:sp>
      </p:grpSp>
      <p:sp>
        <p:nvSpPr>
          <p:cNvPr id="227" name="Freeform 246"/>
          <p:cNvSpPr>
            <a:spLocks noEditPoints="1"/>
          </p:cNvSpPr>
          <p:nvPr/>
        </p:nvSpPr>
        <p:spPr bwMode="auto">
          <a:xfrm>
            <a:off x="516684" y="1218386"/>
            <a:ext cx="395485" cy="340790"/>
          </a:xfrm>
          <a:custGeom>
            <a:avLst/>
            <a:gdLst>
              <a:gd name="T0" fmla="*/ 947 w 1585"/>
              <a:gd name="T1" fmla="*/ 428 h 1236"/>
              <a:gd name="T2" fmla="*/ 482 w 1585"/>
              <a:gd name="T3" fmla="*/ 1085 h 1236"/>
              <a:gd name="T4" fmla="*/ 432 w 1585"/>
              <a:gd name="T5" fmla="*/ 1116 h 1236"/>
              <a:gd name="T6" fmla="*/ 92 w 1585"/>
              <a:gd name="T7" fmla="*/ 1118 h 1236"/>
              <a:gd name="T8" fmla="*/ 45 w 1585"/>
              <a:gd name="T9" fmla="*/ 1099 h 1236"/>
              <a:gd name="T10" fmla="*/ 12 w 1585"/>
              <a:gd name="T11" fmla="*/ 1058 h 1236"/>
              <a:gd name="T12" fmla="*/ 0 w 1585"/>
              <a:gd name="T13" fmla="*/ 1004 h 1236"/>
              <a:gd name="T14" fmla="*/ 8 w 1585"/>
              <a:gd name="T15" fmla="*/ 959 h 1236"/>
              <a:gd name="T16" fmla="*/ 38 w 1585"/>
              <a:gd name="T17" fmla="*/ 914 h 1236"/>
              <a:gd name="T18" fmla="*/ 82 w 1585"/>
              <a:gd name="T19" fmla="*/ 890 h 1236"/>
              <a:gd name="T20" fmla="*/ 225 w 1585"/>
              <a:gd name="T21" fmla="*/ 894 h 1236"/>
              <a:gd name="T22" fmla="*/ 357 w 1585"/>
              <a:gd name="T23" fmla="*/ 890 h 1236"/>
              <a:gd name="T24" fmla="*/ 424 w 1585"/>
              <a:gd name="T25" fmla="*/ 808 h 1236"/>
              <a:gd name="T26" fmla="*/ 881 w 1585"/>
              <a:gd name="T27" fmla="*/ 159 h 1236"/>
              <a:gd name="T28" fmla="*/ 927 w 1585"/>
              <a:gd name="T29" fmla="*/ 123 h 1236"/>
              <a:gd name="T30" fmla="*/ 1217 w 1585"/>
              <a:gd name="T31" fmla="*/ 117 h 1236"/>
              <a:gd name="T32" fmla="*/ 1231 w 1585"/>
              <a:gd name="T33" fmla="*/ 7 h 1236"/>
              <a:gd name="T34" fmla="*/ 1252 w 1585"/>
              <a:gd name="T35" fmla="*/ 2 h 1236"/>
              <a:gd name="T36" fmla="*/ 1427 w 1585"/>
              <a:gd name="T37" fmla="*/ 103 h 1236"/>
              <a:gd name="T38" fmla="*/ 1572 w 1585"/>
              <a:gd name="T39" fmla="*/ 213 h 1236"/>
              <a:gd name="T40" fmla="*/ 1585 w 1585"/>
              <a:gd name="T41" fmla="*/ 234 h 1236"/>
              <a:gd name="T42" fmla="*/ 1570 w 1585"/>
              <a:gd name="T43" fmla="*/ 260 h 1236"/>
              <a:gd name="T44" fmla="*/ 1400 w 1585"/>
              <a:gd name="T45" fmla="*/ 384 h 1236"/>
              <a:gd name="T46" fmla="*/ 1252 w 1585"/>
              <a:gd name="T47" fmla="*/ 465 h 1236"/>
              <a:gd name="T48" fmla="*/ 1232 w 1585"/>
              <a:gd name="T49" fmla="*/ 463 h 1236"/>
              <a:gd name="T50" fmla="*/ 1221 w 1585"/>
              <a:gd name="T51" fmla="*/ 431 h 1236"/>
              <a:gd name="T52" fmla="*/ 1150 w 1585"/>
              <a:gd name="T53" fmla="*/ 344 h 1236"/>
              <a:gd name="T54" fmla="*/ 1013 w 1585"/>
              <a:gd name="T55" fmla="*/ 345 h 1236"/>
              <a:gd name="T56" fmla="*/ 168 w 1585"/>
              <a:gd name="T57" fmla="*/ 346 h 1236"/>
              <a:gd name="T58" fmla="*/ 347 w 1585"/>
              <a:gd name="T59" fmla="*/ 345 h 1236"/>
              <a:gd name="T60" fmla="*/ 419 w 1585"/>
              <a:gd name="T61" fmla="*/ 423 h 1236"/>
              <a:gd name="T62" fmla="*/ 489 w 1585"/>
              <a:gd name="T63" fmla="*/ 159 h 1236"/>
              <a:gd name="T64" fmla="*/ 454 w 1585"/>
              <a:gd name="T65" fmla="*/ 128 h 1236"/>
              <a:gd name="T66" fmla="*/ 103 w 1585"/>
              <a:gd name="T67" fmla="*/ 117 h 1236"/>
              <a:gd name="T68" fmla="*/ 63 w 1585"/>
              <a:gd name="T69" fmla="*/ 125 h 1236"/>
              <a:gd name="T70" fmla="*/ 24 w 1585"/>
              <a:gd name="T71" fmla="*/ 158 h 1236"/>
              <a:gd name="T72" fmla="*/ 2 w 1585"/>
              <a:gd name="T73" fmla="*/ 209 h 1236"/>
              <a:gd name="T74" fmla="*/ 2 w 1585"/>
              <a:gd name="T75" fmla="*/ 255 h 1236"/>
              <a:gd name="T76" fmla="*/ 24 w 1585"/>
              <a:gd name="T77" fmla="*/ 306 h 1236"/>
              <a:gd name="T78" fmla="*/ 63 w 1585"/>
              <a:gd name="T79" fmla="*/ 339 h 1236"/>
              <a:gd name="T80" fmla="*/ 103 w 1585"/>
              <a:gd name="T81" fmla="*/ 347 h 1236"/>
              <a:gd name="T82" fmla="*/ 1577 w 1585"/>
              <a:gd name="T83" fmla="*/ 1022 h 1236"/>
              <a:gd name="T84" fmla="*/ 1501 w 1585"/>
              <a:gd name="T85" fmla="*/ 1085 h 1236"/>
              <a:gd name="T86" fmla="*/ 1283 w 1585"/>
              <a:gd name="T87" fmla="*/ 1222 h 1236"/>
              <a:gd name="T88" fmla="*/ 1234 w 1585"/>
              <a:gd name="T89" fmla="*/ 1235 h 1236"/>
              <a:gd name="T90" fmla="*/ 1225 w 1585"/>
              <a:gd name="T91" fmla="*/ 1221 h 1236"/>
              <a:gd name="T92" fmla="*/ 1215 w 1585"/>
              <a:gd name="T93" fmla="*/ 1118 h 1236"/>
              <a:gd name="T94" fmla="*/ 927 w 1585"/>
              <a:gd name="T95" fmla="*/ 1112 h 1236"/>
              <a:gd name="T96" fmla="*/ 881 w 1585"/>
              <a:gd name="T97" fmla="*/ 1076 h 1236"/>
              <a:gd name="T98" fmla="*/ 904 w 1585"/>
              <a:gd name="T99" fmla="*/ 744 h 1236"/>
              <a:gd name="T100" fmla="*/ 1006 w 1585"/>
              <a:gd name="T101" fmla="*/ 886 h 1236"/>
              <a:gd name="T102" fmla="*/ 1044 w 1585"/>
              <a:gd name="T103" fmla="*/ 892 h 1236"/>
              <a:gd name="T104" fmla="*/ 1217 w 1585"/>
              <a:gd name="T105" fmla="*/ 889 h 1236"/>
              <a:gd name="T106" fmla="*/ 1231 w 1585"/>
              <a:gd name="T107" fmla="*/ 777 h 1236"/>
              <a:gd name="T108" fmla="*/ 1252 w 1585"/>
              <a:gd name="T109" fmla="*/ 772 h 1236"/>
              <a:gd name="T110" fmla="*/ 1427 w 1585"/>
              <a:gd name="T111" fmla="*/ 873 h 1236"/>
              <a:gd name="T112" fmla="*/ 1572 w 1585"/>
              <a:gd name="T113" fmla="*/ 983 h 1236"/>
              <a:gd name="T114" fmla="*/ 1585 w 1585"/>
              <a:gd name="T115" fmla="*/ 1004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5" h="1236">
                <a:moveTo>
                  <a:pt x="1010" y="346"/>
                </a:moveTo>
                <a:lnTo>
                  <a:pt x="1010" y="346"/>
                </a:lnTo>
                <a:lnTo>
                  <a:pt x="1003" y="354"/>
                </a:lnTo>
                <a:lnTo>
                  <a:pt x="990" y="371"/>
                </a:lnTo>
                <a:lnTo>
                  <a:pt x="947" y="428"/>
                </a:lnTo>
                <a:lnTo>
                  <a:pt x="816" y="612"/>
                </a:lnTo>
                <a:lnTo>
                  <a:pt x="651" y="844"/>
                </a:lnTo>
                <a:lnTo>
                  <a:pt x="489" y="1076"/>
                </a:lnTo>
                <a:lnTo>
                  <a:pt x="489" y="1076"/>
                </a:lnTo>
                <a:lnTo>
                  <a:pt x="482" y="1085"/>
                </a:lnTo>
                <a:lnTo>
                  <a:pt x="473" y="1095"/>
                </a:lnTo>
                <a:lnTo>
                  <a:pt x="463" y="1102"/>
                </a:lnTo>
                <a:lnTo>
                  <a:pt x="454" y="1108"/>
                </a:lnTo>
                <a:lnTo>
                  <a:pt x="443" y="1112"/>
                </a:lnTo>
                <a:lnTo>
                  <a:pt x="432" y="1116"/>
                </a:lnTo>
                <a:lnTo>
                  <a:pt x="421" y="1118"/>
                </a:lnTo>
                <a:lnTo>
                  <a:pt x="409" y="1118"/>
                </a:lnTo>
                <a:lnTo>
                  <a:pt x="103" y="1118"/>
                </a:lnTo>
                <a:lnTo>
                  <a:pt x="103" y="1118"/>
                </a:lnTo>
                <a:lnTo>
                  <a:pt x="92" y="1118"/>
                </a:lnTo>
                <a:lnTo>
                  <a:pt x="82" y="1116"/>
                </a:lnTo>
                <a:lnTo>
                  <a:pt x="72" y="1114"/>
                </a:lnTo>
                <a:lnTo>
                  <a:pt x="63" y="1110"/>
                </a:lnTo>
                <a:lnTo>
                  <a:pt x="53" y="1105"/>
                </a:lnTo>
                <a:lnTo>
                  <a:pt x="45" y="1099"/>
                </a:lnTo>
                <a:lnTo>
                  <a:pt x="38" y="1092"/>
                </a:lnTo>
                <a:lnTo>
                  <a:pt x="30" y="1085"/>
                </a:lnTo>
                <a:lnTo>
                  <a:pt x="24" y="1077"/>
                </a:lnTo>
                <a:lnTo>
                  <a:pt x="18" y="1068"/>
                </a:lnTo>
                <a:lnTo>
                  <a:pt x="12" y="1058"/>
                </a:lnTo>
                <a:lnTo>
                  <a:pt x="8" y="1049"/>
                </a:lnTo>
                <a:lnTo>
                  <a:pt x="5" y="1038"/>
                </a:lnTo>
                <a:lnTo>
                  <a:pt x="2" y="1026"/>
                </a:lnTo>
                <a:lnTo>
                  <a:pt x="0" y="1016"/>
                </a:lnTo>
                <a:lnTo>
                  <a:pt x="0" y="1004"/>
                </a:lnTo>
                <a:lnTo>
                  <a:pt x="0" y="1004"/>
                </a:lnTo>
                <a:lnTo>
                  <a:pt x="0" y="992"/>
                </a:lnTo>
                <a:lnTo>
                  <a:pt x="2" y="980"/>
                </a:lnTo>
                <a:lnTo>
                  <a:pt x="5" y="970"/>
                </a:lnTo>
                <a:lnTo>
                  <a:pt x="8" y="959"/>
                </a:lnTo>
                <a:lnTo>
                  <a:pt x="12" y="948"/>
                </a:lnTo>
                <a:lnTo>
                  <a:pt x="18" y="939"/>
                </a:lnTo>
                <a:lnTo>
                  <a:pt x="24" y="929"/>
                </a:lnTo>
                <a:lnTo>
                  <a:pt x="30" y="921"/>
                </a:lnTo>
                <a:lnTo>
                  <a:pt x="38" y="914"/>
                </a:lnTo>
                <a:lnTo>
                  <a:pt x="45" y="907"/>
                </a:lnTo>
                <a:lnTo>
                  <a:pt x="53" y="902"/>
                </a:lnTo>
                <a:lnTo>
                  <a:pt x="63" y="896"/>
                </a:lnTo>
                <a:lnTo>
                  <a:pt x="72" y="893"/>
                </a:lnTo>
                <a:lnTo>
                  <a:pt x="82" y="890"/>
                </a:lnTo>
                <a:lnTo>
                  <a:pt x="92" y="888"/>
                </a:lnTo>
                <a:lnTo>
                  <a:pt x="103" y="888"/>
                </a:lnTo>
                <a:lnTo>
                  <a:pt x="103" y="888"/>
                </a:lnTo>
                <a:lnTo>
                  <a:pt x="167" y="892"/>
                </a:lnTo>
                <a:lnTo>
                  <a:pt x="225" y="894"/>
                </a:lnTo>
                <a:lnTo>
                  <a:pt x="286" y="894"/>
                </a:lnTo>
                <a:lnTo>
                  <a:pt x="286" y="894"/>
                </a:lnTo>
                <a:lnTo>
                  <a:pt x="324" y="894"/>
                </a:lnTo>
                <a:lnTo>
                  <a:pt x="346" y="892"/>
                </a:lnTo>
                <a:lnTo>
                  <a:pt x="357" y="890"/>
                </a:lnTo>
                <a:lnTo>
                  <a:pt x="360" y="889"/>
                </a:lnTo>
                <a:lnTo>
                  <a:pt x="360" y="889"/>
                </a:lnTo>
                <a:lnTo>
                  <a:pt x="367" y="881"/>
                </a:lnTo>
                <a:lnTo>
                  <a:pt x="382" y="864"/>
                </a:lnTo>
                <a:lnTo>
                  <a:pt x="424" y="808"/>
                </a:lnTo>
                <a:lnTo>
                  <a:pt x="483" y="725"/>
                </a:lnTo>
                <a:lnTo>
                  <a:pt x="556" y="624"/>
                </a:lnTo>
                <a:lnTo>
                  <a:pt x="721" y="391"/>
                </a:lnTo>
                <a:lnTo>
                  <a:pt x="881" y="159"/>
                </a:lnTo>
                <a:lnTo>
                  <a:pt x="881" y="159"/>
                </a:lnTo>
                <a:lnTo>
                  <a:pt x="889" y="150"/>
                </a:lnTo>
                <a:lnTo>
                  <a:pt x="898" y="141"/>
                </a:lnTo>
                <a:lnTo>
                  <a:pt x="907" y="133"/>
                </a:lnTo>
                <a:lnTo>
                  <a:pt x="917" y="128"/>
                </a:lnTo>
                <a:lnTo>
                  <a:pt x="927" y="123"/>
                </a:lnTo>
                <a:lnTo>
                  <a:pt x="938" y="119"/>
                </a:lnTo>
                <a:lnTo>
                  <a:pt x="950" y="117"/>
                </a:lnTo>
                <a:lnTo>
                  <a:pt x="962" y="117"/>
                </a:lnTo>
                <a:lnTo>
                  <a:pt x="1217" y="117"/>
                </a:lnTo>
                <a:lnTo>
                  <a:pt x="1217" y="117"/>
                </a:lnTo>
                <a:lnTo>
                  <a:pt x="1219" y="74"/>
                </a:lnTo>
                <a:lnTo>
                  <a:pt x="1223" y="39"/>
                </a:lnTo>
                <a:lnTo>
                  <a:pt x="1225" y="26"/>
                </a:lnTo>
                <a:lnTo>
                  <a:pt x="1227" y="15"/>
                </a:lnTo>
                <a:lnTo>
                  <a:pt x="1231" y="7"/>
                </a:lnTo>
                <a:lnTo>
                  <a:pt x="1233" y="4"/>
                </a:lnTo>
                <a:lnTo>
                  <a:pt x="1243" y="0"/>
                </a:lnTo>
                <a:lnTo>
                  <a:pt x="1243" y="0"/>
                </a:lnTo>
                <a:lnTo>
                  <a:pt x="1246" y="1"/>
                </a:lnTo>
                <a:lnTo>
                  <a:pt x="1252" y="2"/>
                </a:lnTo>
                <a:lnTo>
                  <a:pt x="1267" y="9"/>
                </a:lnTo>
                <a:lnTo>
                  <a:pt x="1288" y="19"/>
                </a:lnTo>
                <a:lnTo>
                  <a:pt x="1311" y="32"/>
                </a:lnTo>
                <a:lnTo>
                  <a:pt x="1367" y="64"/>
                </a:lnTo>
                <a:lnTo>
                  <a:pt x="1427" y="103"/>
                </a:lnTo>
                <a:lnTo>
                  <a:pt x="1486" y="143"/>
                </a:lnTo>
                <a:lnTo>
                  <a:pt x="1513" y="162"/>
                </a:lnTo>
                <a:lnTo>
                  <a:pt x="1537" y="181"/>
                </a:lnTo>
                <a:lnTo>
                  <a:pt x="1557" y="197"/>
                </a:lnTo>
                <a:lnTo>
                  <a:pt x="1572" y="213"/>
                </a:lnTo>
                <a:lnTo>
                  <a:pt x="1578" y="218"/>
                </a:lnTo>
                <a:lnTo>
                  <a:pt x="1582" y="224"/>
                </a:lnTo>
                <a:lnTo>
                  <a:pt x="1585" y="229"/>
                </a:lnTo>
                <a:lnTo>
                  <a:pt x="1585" y="234"/>
                </a:lnTo>
                <a:lnTo>
                  <a:pt x="1585" y="234"/>
                </a:lnTo>
                <a:lnTo>
                  <a:pt x="1585" y="239"/>
                </a:lnTo>
                <a:lnTo>
                  <a:pt x="1582" y="244"/>
                </a:lnTo>
                <a:lnTo>
                  <a:pt x="1577" y="252"/>
                </a:lnTo>
                <a:lnTo>
                  <a:pt x="1570" y="260"/>
                </a:lnTo>
                <a:lnTo>
                  <a:pt x="1570" y="260"/>
                </a:lnTo>
                <a:lnTo>
                  <a:pt x="1558" y="272"/>
                </a:lnTo>
                <a:lnTo>
                  <a:pt x="1541" y="285"/>
                </a:lnTo>
                <a:lnTo>
                  <a:pt x="1501" y="315"/>
                </a:lnTo>
                <a:lnTo>
                  <a:pt x="1453" y="350"/>
                </a:lnTo>
                <a:lnTo>
                  <a:pt x="1400" y="384"/>
                </a:lnTo>
                <a:lnTo>
                  <a:pt x="1349" y="416"/>
                </a:lnTo>
                <a:lnTo>
                  <a:pt x="1303" y="442"/>
                </a:lnTo>
                <a:lnTo>
                  <a:pt x="1283" y="452"/>
                </a:lnTo>
                <a:lnTo>
                  <a:pt x="1266" y="461"/>
                </a:lnTo>
                <a:lnTo>
                  <a:pt x="1252" y="465"/>
                </a:lnTo>
                <a:lnTo>
                  <a:pt x="1243" y="466"/>
                </a:lnTo>
                <a:lnTo>
                  <a:pt x="1243" y="466"/>
                </a:lnTo>
                <a:lnTo>
                  <a:pt x="1234" y="465"/>
                </a:lnTo>
                <a:lnTo>
                  <a:pt x="1234" y="465"/>
                </a:lnTo>
                <a:lnTo>
                  <a:pt x="1232" y="463"/>
                </a:lnTo>
                <a:lnTo>
                  <a:pt x="1230" y="461"/>
                </a:lnTo>
                <a:lnTo>
                  <a:pt x="1227" y="457"/>
                </a:lnTo>
                <a:lnTo>
                  <a:pt x="1225" y="451"/>
                </a:lnTo>
                <a:lnTo>
                  <a:pt x="1223" y="442"/>
                </a:lnTo>
                <a:lnTo>
                  <a:pt x="1221" y="431"/>
                </a:lnTo>
                <a:lnTo>
                  <a:pt x="1218" y="396"/>
                </a:lnTo>
                <a:lnTo>
                  <a:pt x="1218" y="396"/>
                </a:lnTo>
                <a:lnTo>
                  <a:pt x="1215" y="346"/>
                </a:lnTo>
                <a:lnTo>
                  <a:pt x="1215" y="346"/>
                </a:lnTo>
                <a:lnTo>
                  <a:pt x="1150" y="344"/>
                </a:lnTo>
                <a:lnTo>
                  <a:pt x="1080" y="342"/>
                </a:lnTo>
                <a:lnTo>
                  <a:pt x="1080" y="342"/>
                </a:lnTo>
                <a:lnTo>
                  <a:pt x="1044" y="342"/>
                </a:lnTo>
                <a:lnTo>
                  <a:pt x="1024" y="344"/>
                </a:lnTo>
                <a:lnTo>
                  <a:pt x="1013" y="345"/>
                </a:lnTo>
                <a:lnTo>
                  <a:pt x="1010" y="346"/>
                </a:lnTo>
                <a:lnTo>
                  <a:pt x="1010" y="346"/>
                </a:lnTo>
                <a:close/>
                <a:moveTo>
                  <a:pt x="103" y="347"/>
                </a:moveTo>
                <a:lnTo>
                  <a:pt x="103" y="347"/>
                </a:lnTo>
                <a:lnTo>
                  <a:pt x="168" y="346"/>
                </a:lnTo>
                <a:lnTo>
                  <a:pt x="228" y="345"/>
                </a:lnTo>
                <a:lnTo>
                  <a:pt x="289" y="344"/>
                </a:lnTo>
                <a:lnTo>
                  <a:pt x="289" y="344"/>
                </a:lnTo>
                <a:lnTo>
                  <a:pt x="326" y="345"/>
                </a:lnTo>
                <a:lnTo>
                  <a:pt x="347" y="345"/>
                </a:lnTo>
                <a:lnTo>
                  <a:pt x="362" y="346"/>
                </a:lnTo>
                <a:lnTo>
                  <a:pt x="362" y="346"/>
                </a:lnTo>
                <a:lnTo>
                  <a:pt x="369" y="354"/>
                </a:lnTo>
                <a:lnTo>
                  <a:pt x="382" y="371"/>
                </a:lnTo>
                <a:lnTo>
                  <a:pt x="419" y="423"/>
                </a:lnTo>
                <a:lnTo>
                  <a:pt x="468" y="492"/>
                </a:lnTo>
                <a:lnTo>
                  <a:pt x="517" y="568"/>
                </a:lnTo>
                <a:lnTo>
                  <a:pt x="527" y="581"/>
                </a:lnTo>
                <a:lnTo>
                  <a:pt x="659" y="396"/>
                </a:lnTo>
                <a:lnTo>
                  <a:pt x="489" y="159"/>
                </a:lnTo>
                <a:lnTo>
                  <a:pt x="489" y="159"/>
                </a:lnTo>
                <a:lnTo>
                  <a:pt x="482" y="150"/>
                </a:lnTo>
                <a:lnTo>
                  <a:pt x="473" y="141"/>
                </a:lnTo>
                <a:lnTo>
                  <a:pt x="463" y="133"/>
                </a:lnTo>
                <a:lnTo>
                  <a:pt x="454" y="128"/>
                </a:lnTo>
                <a:lnTo>
                  <a:pt x="443" y="123"/>
                </a:lnTo>
                <a:lnTo>
                  <a:pt x="432" y="119"/>
                </a:lnTo>
                <a:lnTo>
                  <a:pt x="421" y="117"/>
                </a:lnTo>
                <a:lnTo>
                  <a:pt x="410" y="117"/>
                </a:lnTo>
                <a:lnTo>
                  <a:pt x="103" y="117"/>
                </a:lnTo>
                <a:lnTo>
                  <a:pt x="103" y="117"/>
                </a:lnTo>
                <a:lnTo>
                  <a:pt x="92" y="117"/>
                </a:lnTo>
                <a:lnTo>
                  <a:pt x="82" y="119"/>
                </a:lnTo>
                <a:lnTo>
                  <a:pt x="72" y="122"/>
                </a:lnTo>
                <a:lnTo>
                  <a:pt x="63" y="125"/>
                </a:lnTo>
                <a:lnTo>
                  <a:pt x="53" y="130"/>
                </a:lnTo>
                <a:lnTo>
                  <a:pt x="45" y="136"/>
                </a:lnTo>
                <a:lnTo>
                  <a:pt x="38" y="143"/>
                </a:lnTo>
                <a:lnTo>
                  <a:pt x="30" y="150"/>
                </a:lnTo>
                <a:lnTo>
                  <a:pt x="24" y="158"/>
                </a:lnTo>
                <a:lnTo>
                  <a:pt x="18" y="168"/>
                </a:lnTo>
                <a:lnTo>
                  <a:pt x="12" y="177"/>
                </a:lnTo>
                <a:lnTo>
                  <a:pt x="8" y="187"/>
                </a:lnTo>
                <a:lnTo>
                  <a:pt x="5" y="197"/>
                </a:lnTo>
                <a:lnTo>
                  <a:pt x="2" y="209"/>
                </a:lnTo>
                <a:lnTo>
                  <a:pt x="0" y="220"/>
                </a:lnTo>
                <a:lnTo>
                  <a:pt x="0" y="231"/>
                </a:lnTo>
                <a:lnTo>
                  <a:pt x="0" y="231"/>
                </a:lnTo>
                <a:lnTo>
                  <a:pt x="0" y="243"/>
                </a:lnTo>
                <a:lnTo>
                  <a:pt x="2" y="255"/>
                </a:lnTo>
                <a:lnTo>
                  <a:pt x="5" y="267"/>
                </a:lnTo>
                <a:lnTo>
                  <a:pt x="8" y="278"/>
                </a:lnTo>
                <a:lnTo>
                  <a:pt x="12" y="287"/>
                </a:lnTo>
                <a:lnTo>
                  <a:pt x="18" y="296"/>
                </a:lnTo>
                <a:lnTo>
                  <a:pt x="24" y="306"/>
                </a:lnTo>
                <a:lnTo>
                  <a:pt x="30" y="314"/>
                </a:lnTo>
                <a:lnTo>
                  <a:pt x="38" y="321"/>
                </a:lnTo>
                <a:lnTo>
                  <a:pt x="45" y="328"/>
                </a:lnTo>
                <a:lnTo>
                  <a:pt x="54" y="334"/>
                </a:lnTo>
                <a:lnTo>
                  <a:pt x="63" y="339"/>
                </a:lnTo>
                <a:lnTo>
                  <a:pt x="72" y="342"/>
                </a:lnTo>
                <a:lnTo>
                  <a:pt x="83" y="345"/>
                </a:lnTo>
                <a:lnTo>
                  <a:pt x="92" y="347"/>
                </a:lnTo>
                <a:lnTo>
                  <a:pt x="103" y="347"/>
                </a:lnTo>
                <a:lnTo>
                  <a:pt x="103" y="347"/>
                </a:lnTo>
                <a:close/>
                <a:moveTo>
                  <a:pt x="1585" y="1004"/>
                </a:moveTo>
                <a:lnTo>
                  <a:pt x="1585" y="1004"/>
                </a:lnTo>
                <a:lnTo>
                  <a:pt x="1585" y="1009"/>
                </a:lnTo>
                <a:lnTo>
                  <a:pt x="1582" y="1016"/>
                </a:lnTo>
                <a:lnTo>
                  <a:pt x="1577" y="1022"/>
                </a:lnTo>
                <a:lnTo>
                  <a:pt x="1570" y="1030"/>
                </a:lnTo>
                <a:lnTo>
                  <a:pt x="1570" y="1030"/>
                </a:lnTo>
                <a:lnTo>
                  <a:pt x="1558" y="1042"/>
                </a:lnTo>
                <a:lnTo>
                  <a:pt x="1541" y="1055"/>
                </a:lnTo>
                <a:lnTo>
                  <a:pt x="1501" y="1085"/>
                </a:lnTo>
                <a:lnTo>
                  <a:pt x="1452" y="1120"/>
                </a:lnTo>
                <a:lnTo>
                  <a:pt x="1400" y="1155"/>
                </a:lnTo>
                <a:lnTo>
                  <a:pt x="1349" y="1186"/>
                </a:lnTo>
                <a:lnTo>
                  <a:pt x="1303" y="1213"/>
                </a:lnTo>
                <a:lnTo>
                  <a:pt x="1283" y="1222"/>
                </a:lnTo>
                <a:lnTo>
                  <a:pt x="1265" y="1231"/>
                </a:lnTo>
                <a:lnTo>
                  <a:pt x="1252" y="1235"/>
                </a:lnTo>
                <a:lnTo>
                  <a:pt x="1243" y="1236"/>
                </a:lnTo>
                <a:lnTo>
                  <a:pt x="1243" y="1236"/>
                </a:lnTo>
                <a:lnTo>
                  <a:pt x="1234" y="1235"/>
                </a:lnTo>
                <a:lnTo>
                  <a:pt x="1234" y="1235"/>
                </a:lnTo>
                <a:lnTo>
                  <a:pt x="1232" y="1234"/>
                </a:lnTo>
                <a:lnTo>
                  <a:pt x="1230" y="1231"/>
                </a:lnTo>
                <a:lnTo>
                  <a:pt x="1227" y="1227"/>
                </a:lnTo>
                <a:lnTo>
                  <a:pt x="1225" y="1221"/>
                </a:lnTo>
                <a:lnTo>
                  <a:pt x="1223" y="1213"/>
                </a:lnTo>
                <a:lnTo>
                  <a:pt x="1221" y="1201"/>
                </a:lnTo>
                <a:lnTo>
                  <a:pt x="1218" y="1166"/>
                </a:lnTo>
                <a:lnTo>
                  <a:pt x="1218" y="1166"/>
                </a:lnTo>
                <a:lnTo>
                  <a:pt x="1215" y="1118"/>
                </a:lnTo>
                <a:lnTo>
                  <a:pt x="962" y="1118"/>
                </a:lnTo>
                <a:lnTo>
                  <a:pt x="962" y="1118"/>
                </a:lnTo>
                <a:lnTo>
                  <a:pt x="950" y="1118"/>
                </a:lnTo>
                <a:lnTo>
                  <a:pt x="938" y="1116"/>
                </a:lnTo>
                <a:lnTo>
                  <a:pt x="927" y="1112"/>
                </a:lnTo>
                <a:lnTo>
                  <a:pt x="917" y="1108"/>
                </a:lnTo>
                <a:lnTo>
                  <a:pt x="907" y="1102"/>
                </a:lnTo>
                <a:lnTo>
                  <a:pt x="898" y="1095"/>
                </a:lnTo>
                <a:lnTo>
                  <a:pt x="889" y="1085"/>
                </a:lnTo>
                <a:lnTo>
                  <a:pt x="881" y="1076"/>
                </a:lnTo>
                <a:lnTo>
                  <a:pt x="712" y="840"/>
                </a:lnTo>
                <a:lnTo>
                  <a:pt x="845" y="654"/>
                </a:lnTo>
                <a:lnTo>
                  <a:pt x="853" y="667"/>
                </a:lnTo>
                <a:lnTo>
                  <a:pt x="853" y="667"/>
                </a:lnTo>
                <a:lnTo>
                  <a:pt x="904" y="744"/>
                </a:lnTo>
                <a:lnTo>
                  <a:pt x="951" y="814"/>
                </a:lnTo>
                <a:lnTo>
                  <a:pt x="971" y="842"/>
                </a:lnTo>
                <a:lnTo>
                  <a:pt x="989" y="866"/>
                </a:lnTo>
                <a:lnTo>
                  <a:pt x="1002" y="881"/>
                </a:lnTo>
                <a:lnTo>
                  <a:pt x="1006" y="886"/>
                </a:lnTo>
                <a:lnTo>
                  <a:pt x="1010" y="889"/>
                </a:lnTo>
                <a:lnTo>
                  <a:pt x="1010" y="889"/>
                </a:lnTo>
                <a:lnTo>
                  <a:pt x="1012" y="889"/>
                </a:lnTo>
                <a:lnTo>
                  <a:pt x="1023" y="890"/>
                </a:lnTo>
                <a:lnTo>
                  <a:pt x="1044" y="892"/>
                </a:lnTo>
                <a:lnTo>
                  <a:pt x="1078" y="893"/>
                </a:lnTo>
                <a:lnTo>
                  <a:pt x="1078" y="893"/>
                </a:lnTo>
                <a:lnTo>
                  <a:pt x="1152" y="892"/>
                </a:lnTo>
                <a:lnTo>
                  <a:pt x="1217" y="889"/>
                </a:lnTo>
                <a:lnTo>
                  <a:pt x="1217" y="889"/>
                </a:lnTo>
                <a:lnTo>
                  <a:pt x="1219" y="846"/>
                </a:lnTo>
                <a:lnTo>
                  <a:pt x="1223" y="810"/>
                </a:lnTo>
                <a:lnTo>
                  <a:pt x="1225" y="797"/>
                </a:lnTo>
                <a:lnTo>
                  <a:pt x="1227" y="785"/>
                </a:lnTo>
                <a:lnTo>
                  <a:pt x="1231" y="777"/>
                </a:lnTo>
                <a:lnTo>
                  <a:pt x="1233" y="774"/>
                </a:lnTo>
                <a:lnTo>
                  <a:pt x="1243" y="771"/>
                </a:lnTo>
                <a:lnTo>
                  <a:pt x="1243" y="771"/>
                </a:lnTo>
                <a:lnTo>
                  <a:pt x="1246" y="771"/>
                </a:lnTo>
                <a:lnTo>
                  <a:pt x="1252" y="772"/>
                </a:lnTo>
                <a:lnTo>
                  <a:pt x="1267" y="779"/>
                </a:lnTo>
                <a:lnTo>
                  <a:pt x="1288" y="789"/>
                </a:lnTo>
                <a:lnTo>
                  <a:pt x="1311" y="802"/>
                </a:lnTo>
                <a:lnTo>
                  <a:pt x="1367" y="834"/>
                </a:lnTo>
                <a:lnTo>
                  <a:pt x="1427" y="873"/>
                </a:lnTo>
                <a:lnTo>
                  <a:pt x="1486" y="913"/>
                </a:lnTo>
                <a:lnTo>
                  <a:pt x="1513" y="932"/>
                </a:lnTo>
                <a:lnTo>
                  <a:pt x="1537" y="951"/>
                </a:lnTo>
                <a:lnTo>
                  <a:pt x="1557" y="967"/>
                </a:lnTo>
                <a:lnTo>
                  <a:pt x="1572" y="983"/>
                </a:lnTo>
                <a:lnTo>
                  <a:pt x="1578" y="988"/>
                </a:lnTo>
                <a:lnTo>
                  <a:pt x="1582" y="994"/>
                </a:lnTo>
                <a:lnTo>
                  <a:pt x="1585" y="999"/>
                </a:lnTo>
                <a:lnTo>
                  <a:pt x="1585" y="1004"/>
                </a:lnTo>
                <a:lnTo>
                  <a:pt x="1585" y="1004"/>
                </a:lnTo>
                <a:close/>
              </a:path>
            </a:pathLst>
          </a:custGeom>
          <a:solidFill>
            <a:srgbClr val="FFFFFF"/>
          </a:solidFill>
          <a:ln>
            <a:noFill/>
          </a:ln>
        </p:spPr>
        <p:txBody>
          <a:bodyPr vert="horz" wrap="square" lIns="51395" tIns="25697" rIns="51395" bIns="25697" numCol="1" anchor="t" anchorCtr="0" compatLnSpc="1">
            <a:prstTxWarp prst="textNoShape">
              <a:avLst/>
            </a:prstTxWarp>
          </a:bodyPr>
          <a:lstStyle/>
          <a:p>
            <a:pPr defTabSz="385718">
              <a:defRPr/>
            </a:pPr>
            <a:endParaRPr lang="en-US" sz="825" kern="0" dirty="0">
              <a:solidFill>
                <a:srgbClr val="FFFFFF"/>
              </a:solidFill>
              <a:latin typeface="CiscoSans ExtraLight" panose="020B0303020201020303" pitchFamily="34" charset="0"/>
              <a:ea typeface="ＭＳ Ｐゴシック" pitchFamily="34" charset="-128"/>
            </a:endParaRPr>
          </a:p>
        </p:txBody>
      </p:sp>
      <p:sp>
        <p:nvSpPr>
          <p:cNvPr id="228" name="Freeform 22"/>
          <p:cNvSpPr>
            <a:spLocks noEditPoints="1"/>
          </p:cNvSpPr>
          <p:nvPr/>
        </p:nvSpPr>
        <p:spPr bwMode="auto">
          <a:xfrm>
            <a:off x="4871830" y="1155632"/>
            <a:ext cx="529711" cy="519499"/>
          </a:xfrm>
          <a:custGeom>
            <a:avLst/>
            <a:gdLst>
              <a:gd name="T0" fmla="*/ 28 w 399"/>
              <a:gd name="T1" fmla="*/ 1 h 362"/>
              <a:gd name="T2" fmla="*/ 33 w 399"/>
              <a:gd name="T3" fmla="*/ 69 h 362"/>
              <a:gd name="T4" fmla="*/ 21 w 399"/>
              <a:gd name="T5" fmla="*/ 15 h 362"/>
              <a:gd name="T6" fmla="*/ 6 w 399"/>
              <a:gd name="T7" fmla="*/ 13 h 362"/>
              <a:gd name="T8" fmla="*/ 83 w 399"/>
              <a:gd name="T9" fmla="*/ 70 h 362"/>
              <a:gd name="T10" fmla="*/ 93 w 399"/>
              <a:gd name="T11" fmla="*/ 35 h 362"/>
              <a:gd name="T12" fmla="*/ 128 w 399"/>
              <a:gd name="T13" fmla="*/ 20 h 362"/>
              <a:gd name="T14" fmla="*/ 137 w 399"/>
              <a:gd name="T15" fmla="*/ 55 h 362"/>
              <a:gd name="T16" fmla="*/ 144 w 399"/>
              <a:gd name="T17" fmla="*/ 1 h 362"/>
              <a:gd name="T18" fmla="*/ 123 w 399"/>
              <a:gd name="T19" fmla="*/ 18 h 362"/>
              <a:gd name="T20" fmla="*/ 195 w 399"/>
              <a:gd name="T21" fmla="*/ 15 h 362"/>
              <a:gd name="T22" fmla="*/ 211 w 399"/>
              <a:gd name="T23" fmla="*/ 5 h 362"/>
              <a:gd name="T24" fmla="*/ 183 w 399"/>
              <a:gd name="T25" fmla="*/ 8 h 362"/>
              <a:gd name="T26" fmla="*/ 267 w 399"/>
              <a:gd name="T27" fmla="*/ 25 h 362"/>
              <a:gd name="T28" fmla="*/ 249 w 399"/>
              <a:gd name="T29" fmla="*/ 21 h 362"/>
              <a:gd name="T30" fmla="*/ 399 w 399"/>
              <a:gd name="T31" fmla="*/ 35 h 362"/>
              <a:gd name="T32" fmla="*/ 374 w 399"/>
              <a:gd name="T33" fmla="*/ 58 h 362"/>
              <a:gd name="T34" fmla="*/ 7 w 399"/>
              <a:gd name="T35" fmla="*/ 143 h 362"/>
              <a:gd name="T36" fmla="*/ 21 w 399"/>
              <a:gd name="T37" fmla="*/ 145 h 362"/>
              <a:gd name="T38" fmla="*/ 37 w 399"/>
              <a:gd name="T39" fmla="*/ 191 h 362"/>
              <a:gd name="T40" fmla="*/ 20 w 399"/>
              <a:gd name="T41" fmla="*/ 128 h 362"/>
              <a:gd name="T42" fmla="*/ 83 w 399"/>
              <a:gd name="T43" fmla="*/ 196 h 362"/>
              <a:gd name="T44" fmla="*/ 74 w 399"/>
              <a:gd name="T45" fmla="*/ 161 h 362"/>
              <a:gd name="T46" fmla="*/ 94 w 399"/>
              <a:gd name="T47" fmla="*/ 128 h 362"/>
              <a:gd name="T48" fmla="*/ 165 w 399"/>
              <a:gd name="T49" fmla="*/ 178 h 362"/>
              <a:gd name="T50" fmla="*/ 207 w 399"/>
              <a:gd name="T51" fmla="*/ 127 h 362"/>
              <a:gd name="T52" fmla="*/ 180 w 399"/>
              <a:gd name="T53" fmla="*/ 139 h 362"/>
              <a:gd name="T54" fmla="*/ 195 w 399"/>
              <a:gd name="T55" fmla="*/ 141 h 362"/>
              <a:gd name="T56" fmla="*/ 207 w 399"/>
              <a:gd name="T57" fmla="*/ 195 h 362"/>
              <a:gd name="T58" fmla="*/ 283 w 399"/>
              <a:gd name="T59" fmla="*/ 160 h 362"/>
              <a:gd name="T60" fmla="*/ 283 w 399"/>
              <a:gd name="T61" fmla="*/ 160 h 362"/>
              <a:gd name="T62" fmla="*/ 258 w 399"/>
              <a:gd name="T63" fmla="*/ 184 h 362"/>
              <a:gd name="T64" fmla="*/ 366 w 399"/>
              <a:gd name="T65" fmla="*/ 144 h 362"/>
              <a:gd name="T66" fmla="*/ 366 w 399"/>
              <a:gd name="T67" fmla="*/ 176 h 362"/>
              <a:gd name="T68" fmla="*/ 374 w 399"/>
              <a:gd name="T69" fmla="*/ 125 h 362"/>
              <a:gd name="T70" fmla="*/ 26 w 399"/>
              <a:gd name="T71" fmla="*/ 251 h 362"/>
              <a:gd name="T72" fmla="*/ 16 w 399"/>
              <a:gd name="T73" fmla="*/ 286 h 362"/>
              <a:gd name="T74" fmla="*/ 141 w 399"/>
              <a:gd name="T75" fmla="*/ 320 h 362"/>
              <a:gd name="T76" fmla="*/ 137 w 399"/>
              <a:gd name="T77" fmla="*/ 311 h 362"/>
              <a:gd name="T78" fmla="*/ 174 w 399"/>
              <a:gd name="T79" fmla="*/ 285 h 362"/>
              <a:gd name="T80" fmla="*/ 209 w 399"/>
              <a:gd name="T81" fmla="*/ 295 h 362"/>
              <a:gd name="T82" fmla="*/ 265 w 399"/>
              <a:gd name="T83" fmla="*/ 320 h 362"/>
              <a:gd name="T84" fmla="*/ 253 w 399"/>
              <a:gd name="T85" fmla="*/ 316 h 362"/>
              <a:gd name="T86" fmla="*/ 311 w 399"/>
              <a:gd name="T87" fmla="*/ 316 h 362"/>
              <a:gd name="T88" fmla="*/ 327 w 399"/>
              <a:gd name="T89" fmla="*/ 256 h 362"/>
              <a:gd name="T90" fmla="*/ 373 w 399"/>
              <a:gd name="T91" fmla="*/ 321 h 362"/>
              <a:gd name="T92" fmla="*/ 383 w 399"/>
              <a:gd name="T93" fmla="*/ 286 h 362"/>
              <a:gd name="T94" fmla="*/ 383 w 399"/>
              <a:gd name="T95" fmla="*/ 286 h 362"/>
              <a:gd name="T96" fmla="*/ 71 w 399"/>
              <a:gd name="T97" fmla="*/ 354 h 362"/>
              <a:gd name="T98" fmla="*/ 125 w 399"/>
              <a:gd name="T99" fmla="*/ 223 h 362"/>
              <a:gd name="T100" fmla="*/ 315 w 399"/>
              <a:gd name="T101" fmla="*/ 245 h 362"/>
              <a:gd name="T102" fmla="*/ 170 w 399"/>
              <a:gd name="T103" fmla="*/ 100 h 362"/>
              <a:gd name="T104" fmla="*/ 312 w 399"/>
              <a:gd name="T105" fmla="*/ 158 h 362"/>
              <a:gd name="T106" fmla="*/ 311 w 399"/>
              <a:gd name="T107" fmla="*/ 15 h 362"/>
              <a:gd name="T108" fmla="*/ 327 w 399"/>
              <a:gd name="T109" fmla="*/ 61 h 362"/>
              <a:gd name="T110" fmla="*/ 310 w 399"/>
              <a:gd name="T111" fmla="*/ 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9" h="362">
                <a:moveTo>
                  <a:pt x="6" y="13"/>
                </a:moveTo>
                <a:cubicBezTo>
                  <a:pt x="6" y="11"/>
                  <a:pt x="7" y="9"/>
                  <a:pt x="9" y="8"/>
                </a:cubicBezTo>
                <a:cubicBezTo>
                  <a:pt x="20" y="3"/>
                  <a:pt x="20" y="3"/>
                  <a:pt x="20" y="3"/>
                </a:cubicBezTo>
                <a:cubicBezTo>
                  <a:pt x="22" y="2"/>
                  <a:pt x="25" y="1"/>
                  <a:pt x="28" y="1"/>
                </a:cubicBezTo>
                <a:cubicBezTo>
                  <a:pt x="33" y="1"/>
                  <a:pt x="33" y="1"/>
                  <a:pt x="33" y="1"/>
                </a:cubicBezTo>
                <a:cubicBezTo>
                  <a:pt x="35" y="1"/>
                  <a:pt x="37" y="3"/>
                  <a:pt x="37" y="5"/>
                </a:cubicBezTo>
                <a:cubicBezTo>
                  <a:pt x="37" y="65"/>
                  <a:pt x="37" y="65"/>
                  <a:pt x="37" y="65"/>
                </a:cubicBezTo>
                <a:cubicBezTo>
                  <a:pt x="37" y="67"/>
                  <a:pt x="35" y="69"/>
                  <a:pt x="33" y="69"/>
                </a:cubicBezTo>
                <a:cubicBezTo>
                  <a:pt x="25" y="69"/>
                  <a:pt x="25" y="69"/>
                  <a:pt x="25" y="69"/>
                </a:cubicBezTo>
                <a:cubicBezTo>
                  <a:pt x="23" y="69"/>
                  <a:pt x="21" y="67"/>
                  <a:pt x="21" y="65"/>
                </a:cubicBezTo>
                <a:cubicBezTo>
                  <a:pt x="21" y="19"/>
                  <a:pt x="21" y="19"/>
                  <a:pt x="21" y="19"/>
                </a:cubicBezTo>
                <a:cubicBezTo>
                  <a:pt x="21" y="17"/>
                  <a:pt x="21" y="15"/>
                  <a:pt x="21" y="15"/>
                </a:cubicBezTo>
                <a:cubicBezTo>
                  <a:pt x="21" y="15"/>
                  <a:pt x="19" y="16"/>
                  <a:pt x="18" y="17"/>
                </a:cubicBezTo>
                <a:cubicBezTo>
                  <a:pt x="12" y="20"/>
                  <a:pt x="12" y="20"/>
                  <a:pt x="12" y="20"/>
                </a:cubicBezTo>
                <a:cubicBezTo>
                  <a:pt x="10" y="21"/>
                  <a:pt x="8" y="20"/>
                  <a:pt x="7" y="18"/>
                </a:cubicBezTo>
                <a:lnTo>
                  <a:pt x="6" y="13"/>
                </a:lnTo>
                <a:close/>
                <a:moveTo>
                  <a:pt x="58" y="35"/>
                </a:moveTo>
                <a:cubicBezTo>
                  <a:pt x="58" y="16"/>
                  <a:pt x="66" y="0"/>
                  <a:pt x="84" y="0"/>
                </a:cubicBezTo>
                <a:cubicBezTo>
                  <a:pt x="102" y="0"/>
                  <a:pt x="109" y="16"/>
                  <a:pt x="109" y="35"/>
                </a:cubicBezTo>
                <a:cubicBezTo>
                  <a:pt x="109" y="56"/>
                  <a:pt x="101" y="70"/>
                  <a:pt x="83" y="70"/>
                </a:cubicBezTo>
                <a:cubicBezTo>
                  <a:pt x="66" y="70"/>
                  <a:pt x="58" y="55"/>
                  <a:pt x="58" y="35"/>
                </a:cubicBezTo>
                <a:close/>
                <a:moveTo>
                  <a:pt x="74" y="35"/>
                </a:moveTo>
                <a:cubicBezTo>
                  <a:pt x="74" y="51"/>
                  <a:pt x="78" y="58"/>
                  <a:pt x="84" y="58"/>
                </a:cubicBezTo>
                <a:cubicBezTo>
                  <a:pt x="90" y="58"/>
                  <a:pt x="93" y="51"/>
                  <a:pt x="93" y="35"/>
                </a:cubicBezTo>
                <a:cubicBezTo>
                  <a:pt x="93" y="20"/>
                  <a:pt x="90" y="12"/>
                  <a:pt x="84" y="12"/>
                </a:cubicBezTo>
                <a:cubicBezTo>
                  <a:pt x="78" y="12"/>
                  <a:pt x="74" y="20"/>
                  <a:pt x="74" y="35"/>
                </a:cubicBezTo>
                <a:close/>
                <a:moveTo>
                  <a:pt x="123" y="18"/>
                </a:moveTo>
                <a:cubicBezTo>
                  <a:pt x="124" y="20"/>
                  <a:pt x="126" y="21"/>
                  <a:pt x="128" y="20"/>
                </a:cubicBezTo>
                <a:cubicBezTo>
                  <a:pt x="134" y="17"/>
                  <a:pt x="134" y="17"/>
                  <a:pt x="134" y="17"/>
                </a:cubicBezTo>
                <a:cubicBezTo>
                  <a:pt x="135" y="16"/>
                  <a:pt x="137" y="15"/>
                  <a:pt x="137" y="15"/>
                </a:cubicBezTo>
                <a:cubicBezTo>
                  <a:pt x="137" y="15"/>
                  <a:pt x="137" y="17"/>
                  <a:pt x="137" y="19"/>
                </a:cubicBezTo>
                <a:cubicBezTo>
                  <a:pt x="137" y="55"/>
                  <a:pt x="137" y="55"/>
                  <a:pt x="137" y="55"/>
                </a:cubicBezTo>
                <a:cubicBezTo>
                  <a:pt x="142" y="50"/>
                  <a:pt x="147" y="46"/>
                  <a:pt x="153" y="43"/>
                </a:cubicBezTo>
                <a:cubicBezTo>
                  <a:pt x="153" y="5"/>
                  <a:pt x="153" y="5"/>
                  <a:pt x="153" y="5"/>
                </a:cubicBezTo>
                <a:cubicBezTo>
                  <a:pt x="153" y="3"/>
                  <a:pt x="151" y="1"/>
                  <a:pt x="149" y="1"/>
                </a:cubicBezTo>
                <a:cubicBezTo>
                  <a:pt x="144" y="1"/>
                  <a:pt x="144" y="1"/>
                  <a:pt x="144" y="1"/>
                </a:cubicBezTo>
                <a:cubicBezTo>
                  <a:pt x="141" y="1"/>
                  <a:pt x="138" y="2"/>
                  <a:pt x="136" y="3"/>
                </a:cubicBezTo>
                <a:cubicBezTo>
                  <a:pt x="125" y="8"/>
                  <a:pt x="125" y="8"/>
                  <a:pt x="125" y="8"/>
                </a:cubicBezTo>
                <a:cubicBezTo>
                  <a:pt x="123" y="9"/>
                  <a:pt x="122" y="11"/>
                  <a:pt x="122" y="13"/>
                </a:cubicBezTo>
                <a:lnTo>
                  <a:pt x="123" y="18"/>
                </a:lnTo>
                <a:close/>
                <a:moveTo>
                  <a:pt x="181" y="18"/>
                </a:moveTo>
                <a:cubicBezTo>
                  <a:pt x="182" y="20"/>
                  <a:pt x="184" y="21"/>
                  <a:pt x="186" y="20"/>
                </a:cubicBezTo>
                <a:cubicBezTo>
                  <a:pt x="192" y="17"/>
                  <a:pt x="192" y="17"/>
                  <a:pt x="192" y="17"/>
                </a:cubicBezTo>
                <a:cubicBezTo>
                  <a:pt x="194" y="16"/>
                  <a:pt x="195" y="15"/>
                  <a:pt x="195" y="15"/>
                </a:cubicBezTo>
                <a:cubicBezTo>
                  <a:pt x="195" y="15"/>
                  <a:pt x="195" y="17"/>
                  <a:pt x="195" y="19"/>
                </a:cubicBezTo>
                <a:cubicBezTo>
                  <a:pt x="195" y="24"/>
                  <a:pt x="195" y="24"/>
                  <a:pt x="195" y="24"/>
                </a:cubicBezTo>
                <a:cubicBezTo>
                  <a:pt x="200" y="23"/>
                  <a:pt x="206" y="22"/>
                  <a:pt x="211" y="21"/>
                </a:cubicBezTo>
                <a:cubicBezTo>
                  <a:pt x="211" y="5"/>
                  <a:pt x="211" y="5"/>
                  <a:pt x="211" y="5"/>
                </a:cubicBezTo>
                <a:cubicBezTo>
                  <a:pt x="211" y="3"/>
                  <a:pt x="209" y="1"/>
                  <a:pt x="207" y="1"/>
                </a:cubicBezTo>
                <a:cubicBezTo>
                  <a:pt x="202" y="1"/>
                  <a:pt x="202" y="1"/>
                  <a:pt x="202" y="1"/>
                </a:cubicBezTo>
                <a:cubicBezTo>
                  <a:pt x="199" y="1"/>
                  <a:pt x="196" y="2"/>
                  <a:pt x="194" y="3"/>
                </a:cubicBezTo>
                <a:cubicBezTo>
                  <a:pt x="183" y="8"/>
                  <a:pt x="183" y="8"/>
                  <a:pt x="183" y="8"/>
                </a:cubicBezTo>
                <a:cubicBezTo>
                  <a:pt x="181" y="9"/>
                  <a:pt x="180" y="11"/>
                  <a:pt x="180" y="13"/>
                </a:cubicBezTo>
                <a:lnTo>
                  <a:pt x="181" y="18"/>
                </a:lnTo>
                <a:close/>
                <a:moveTo>
                  <a:pt x="258" y="12"/>
                </a:moveTo>
                <a:cubicBezTo>
                  <a:pt x="263" y="12"/>
                  <a:pt x="266" y="17"/>
                  <a:pt x="267" y="25"/>
                </a:cubicBezTo>
                <a:cubicBezTo>
                  <a:pt x="272" y="27"/>
                  <a:pt x="278" y="29"/>
                  <a:pt x="283" y="31"/>
                </a:cubicBezTo>
                <a:cubicBezTo>
                  <a:pt x="282" y="14"/>
                  <a:pt x="275" y="0"/>
                  <a:pt x="258" y="0"/>
                </a:cubicBezTo>
                <a:cubicBezTo>
                  <a:pt x="245" y="0"/>
                  <a:pt x="237" y="8"/>
                  <a:pt x="234" y="20"/>
                </a:cubicBezTo>
                <a:cubicBezTo>
                  <a:pt x="239" y="20"/>
                  <a:pt x="244" y="21"/>
                  <a:pt x="249" y="21"/>
                </a:cubicBezTo>
                <a:cubicBezTo>
                  <a:pt x="251" y="15"/>
                  <a:pt x="254" y="12"/>
                  <a:pt x="258" y="12"/>
                </a:cubicBezTo>
                <a:close/>
                <a:moveTo>
                  <a:pt x="348" y="35"/>
                </a:moveTo>
                <a:cubicBezTo>
                  <a:pt x="348" y="16"/>
                  <a:pt x="356" y="0"/>
                  <a:pt x="374" y="0"/>
                </a:cubicBezTo>
                <a:cubicBezTo>
                  <a:pt x="392" y="0"/>
                  <a:pt x="399" y="16"/>
                  <a:pt x="399" y="35"/>
                </a:cubicBezTo>
                <a:cubicBezTo>
                  <a:pt x="399" y="56"/>
                  <a:pt x="391" y="70"/>
                  <a:pt x="373" y="70"/>
                </a:cubicBezTo>
                <a:cubicBezTo>
                  <a:pt x="356" y="70"/>
                  <a:pt x="348" y="55"/>
                  <a:pt x="348" y="35"/>
                </a:cubicBezTo>
                <a:close/>
                <a:moveTo>
                  <a:pt x="364" y="35"/>
                </a:moveTo>
                <a:cubicBezTo>
                  <a:pt x="364" y="51"/>
                  <a:pt x="368" y="58"/>
                  <a:pt x="374" y="58"/>
                </a:cubicBezTo>
                <a:cubicBezTo>
                  <a:pt x="380" y="58"/>
                  <a:pt x="383" y="51"/>
                  <a:pt x="383" y="35"/>
                </a:cubicBezTo>
                <a:cubicBezTo>
                  <a:pt x="383" y="20"/>
                  <a:pt x="380" y="12"/>
                  <a:pt x="374" y="12"/>
                </a:cubicBezTo>
                <a:cubicBezTo>
                  <a:pt x="368" y="12"/>
                  <a:pt x="364" y="20"/>
                  <a:pt x="364" y="35"/>
                </a:cubicBezTo>
                <a:close/>
                <a:moveTo>
                  <a:pt x="7" y="143"/>
                </a:moveTo>
                <a:cubicBezTo>
                  <a:pt x="8" y="145"/>
                  <a:pt x="10" y="146"/>
                  <a:pt x="12" y="145"/>
                </a:cubicBezTo>
                <a:cubicBezTo>
                  <a:pt x="18" y="142"/>
                  <a:pt x="18" y="142"/>
                  <a:pt x="18" y="142"/>
                </a:cubicBezTo>
                <a:cubicBezTo>
                  <a:pt x="19" y="142"/>
                  <a:pt x="21" y="141"/>
                  <a:pt x="21" y="141"/>
                </a:cubicBezTo>
                <a:cubicBezTo>
                  <a:pt x="21" y="141"/>
                  <a:pt x="21" y="143"/>
                  <a:pt x="21" y="145"/>
                </a:cubicBezTo>
                <a:cubicBezTo>
                  <a:pt x="21" y="191"/>
                  <a:pt x="21" y="191"/>
                  <a:pt x="21" y="191"/>
                </a:cubicBezTo>
                <a:cubicBezTo>
                  <a:pt x="21" y="193"/>
                  <a:pt x="23" y="195"/>
                  <a:pt x="25" y="195"/>
                </a:cubicBezTo>
                <a:cubicBezTo>
                  <a:pt x="33" y="195"/>
                  <a:pt x="33" y="195"/>
                  <a:pt x="33" y="195"/>
                </a:cubicBezTo>
                <a:cubicBezTo>
                  <a:pt x="35" y="195"/>
                  <a:pt x="37" y="193"/>
                  <a:pt x="37" y="191"/>
                </a:cubicBezTo>
                <a:cubicBezTo>
                  <a:pt x="37" y="131"/>
                  <a:pt x="37" y="131"/>
                  <a:pt x="37" y="131"/>
                </a:cubicBezTo>
                <a:cubicBezTo>
                  <a:pt x="37" y="128"/>
                  <a:pt x="35" y="127"/>
                  <a:pt x="33" y="127"/>
                </a:cubicBezTo>
                <a:cubicBezTo>
                  <a:pt x="28" y="127"/>
                  <a:pt x="28" y="127"/>
                  <a:pt x="28" y="127"/>
                </a:cubicBezTo>
                <a:cubicBezTo>
                  <a:pt x="25" y="127"/>
                  <a:pt x="22" y="127"/>
                  <a:pt x="20" y="128"/>
                </a:cubicBezTo>
                <a:cubicBezTo>
                  <a:pt x="9" y="133"/>
                  <a:pt x="9" y="133"/>
                  <a:pt x="9" y="133"/>
                </a:cubicBezTo>
                <a:cubicBezTo>
                  <a:pt x="7" y="134"/>
                  <a:pt x="6" y="137"/>
                  <a:pt x="6" y="139"/>
                </a:cubicBezTo>
                <a:lnTo>
                  <a:pt x="7" y="143"/>
                </a:lnTo>
                <a:close/>
                <a:moveTo>
                  <a:pt x="83" y="196"/>
                </a:moveTo>
                <a:cubicBezTo>
                  <a:pt x="88" y="196"/>
                  <a:pt x="92" y="195"/>
                  <a:pt x="95" y="193"/>
                </a:cubicBezTo>
                <a:cubicBezTo>
                  <a:pt x="94" y="187"/>
                  <a:pt x="92" y="181"/>
                  <a:pt x="92" y="175"/>
                </a:cubicBezTo>
                <a:cubicBezTo>
                  <a:pt x="90" y="181"/>
                  <a:pt x="88" y="184"/>
                  <a:pt x="84" y="184"/>
                </a:cubicBezTo>
                <a:cubicBezTo>
                  <a:pt x="78" y="184"/>
                  <a:pt x="74" y="176"/>
                  <a:pt x="74" y="161"/>
                </a:cubicBezTo>
                <a:cubicBezTo>
                  <a:pt x="74" y="145"/>
                  <a:pt x="78" y="138"/>
                  <a:pt x="84" y="138"/>
                </a:cubicBezTo>
                <a:cubicBezTo>
                  <a:pt x="87" y="138"/>
                  <a:pt x="90" y="140"/>
                  <a:pt x="91" y="144"/>
                </a:cubicBezTo>
                <a:cubicBezTo>
                  <a:pt x="91" y="144"/>
                  <a:pt x="91" y="144"/>
                  <a:pt x="91" y="143"/>
                </a:cubicBezTo>
                <a:cubicBezTo>
                  <a:pt x="92" y="138"/>
                  <a:pt x="93" y="133"/>
                  <a:pt x="94" y="128"/>
                </a:cubicBezTo>
                <a:cubicBezTo>
                  <a:pt x="91" y="126"/>
                  <a:pt x="88" y="125"/>
                  <a:pt x="84" y="125"/>
                </a:cubicBezTo>
                <a:cubicBezTo>
                  <a:pt x="66" y="125"/>
                  <a:pt x="58" y="141"/>
                  <a:pt x="58" y="161"/>
                </a:cubicBezTo>
                <a:cubicBezTo>
                  <a:pt x="58" y="180"/>
                  <a:pt x="66" y="196"/>
                  <a:pt x="83" y="196"/>
                </a:cubicBezTo>
                <a:close/>
                <a:moveTo>
                  <a:pt x="165" y="178"/>
                </a:moveTo>
                <a:cubicBezTo>
                  <a:pt x="166" y="173"/>
                  <a:pt x="167" y="167"/>
                  <a:pt x="167" y="160"/>
                </a:cubicBezTo>
                <a:cubicBezTo>
                  <a:pt x="167" y="153"/>
                  <a:pt x="166" y="147"/>
                  <a:pt x="164" y="141"/>
                </a:cubicBezTo>
                <a:cubicBezTo>
                  <a:pt x="161" y="153"/>
                  <a:pt x="161" y="166"/>
                  <a:pt x="165" y="178"/>
                </a:cubicBezTo>
                <a:close/>
                <a:moveTo>
                  <a:pt x="207" y="127"/>
                </a:moveTo>
                <a:cubicBezTo>
                  <a:pt x="202" y="127"/>
                  <a:pt x="202" y="127"/>
                  <a:pt x="202" y="127"/>
                </a:cubicBezTo>
                <a:cubicBezTo>
                  <a:pt x="199" y="127"/>
                  <a:pt x="196" y="127"/>
                  <a:pt x="194" y="128"/>
                </a:cubicBezTo>
                <a:cubicBezTo>
                  <a:pt x="183" y="133"/>
                  <a:pt x="183" y="133"/>
                  <a:pt x="183" y="133"/>
                </a:cubicBezTo>
                <a:cubicBezTo>
                  <a:pt x="181" y="134"/>
                  <a:pt x="180" y="137"/>
                  <a:pt x="180" y="139"/>
                </a:cubicBezTo>
                <a:cubicBezTo>
                  <a:pt x="181" y="143"/>
                  <a:pt x="181" y="143"/>
                  <a:pt x="181" y="143"/>
                </a:cubicBezTo>
                <a:cubicBezTo>
                  <a:pt x="182" y="145"/>
                  <a:pt x="184" y="146"/>
                  <a:pt x="186" y="145"/>
                </a:cubicBezTo>
                <a:cubicBezTo>
                  <a:pt x="192" y="142"/>
                  <a:pt x="192" y="142"/>
                  <a:pt x="192" y="142"/>
                </a:cubicBezTo>
                <a:cubicBezTo>
                  <a:pt x="194" y="142"/>
                  <a:pt x="195" y="141"/>
                  <a:pt x="195" y="141"/>
                </a:cubicBezTo>
                <a:cubicBezTo>
                  <a:pt x="195" y="141"/>
                  <a:pt x="195" y="143"/>
                  <a:pt x="195" y="145"/>
                </a:cubicBezTo>
                <a:cubicBezTo>
                  <a:pt x="195" y="191"/>
                  <a:pt x="195" y="191"/>
                  <a:pt x="195" y="191"/>
                </a:cubicBezTo>
                <a:cubicBezTo>
                  <a:pt x="195" y="193"/>
                  <a:pt x="197" y="195"/>
                  <a:pt x="199" y="195"/>
                </a:cubicBezTo>
                <a:cubicBezTo>
                  <a:pt x="207" y="195"/>
                  <a:pt x="207" y="195"/>
                  <a:pt x="207" y="195"/>
                </a:cubicBezTo>
                <a:cubicBezTo>
                  <a:pt x="209" y="195"/>
                  <a:pt x="211" y="193"/>
                  <a:pt x="211" y="191"/>
                </a:cubicBezTo>
                <a:cubicBezTo>
                  <a:pt x="211" y="131"/>
                  <a:pt x="211" y="131"/>
                  <a:pt x="211" y="131"/>
                </a:cubicBezTo>
                <a:cubicBezTo>
                  <a:pt x="211" y="128"/>
                  <a:pt x="209" y="127"/>
                  <a:pt x="207" y="127"/>
                </a:cubicBezTo>
                <a:close/>
                <a:moveTo>
                  <a:pt x="283" y="160"/>
                </a:moveTo>
                <a:cubicBezTo>
                  <a:pt x="283" y="181"/>
                  <a:pt x="275" y="196"/>
                  <a:pt x="257" y="196"/>
                </a:cubicBezTo>
                <a:cubicBezTo>
                  <a:pt x="240" y="196"/>
                  <a:pt x="232" y="180"/>
                  <a:pt x="232" y="161"/>
                </a:cubicBezTo>
                <a:cubicBezTo>
                  <a:pt x="232" y="141"/>
                  <a:pt x="240" y="125"/>
                  <a:pt x="258" y="125"/>
                </a:cubicBezTo>
                <a:cubicBezTo>
                  <a:pt x="276" y="125"/>
                  <a:pt x="283" y="142"/>
                  <a:pt x="283" y="160"/>
                </a:cubicBezTo>
                <a:close/>
                <a:moveTo>
                  <a:pt x="267" y="160"/>
                </a:moveTo>
                <a:cubicBezTo>
                  <a:pt x="267" y="145"/>
                  <a:pt x="264" y="138"/>
                  <a:pt x="258" y="138"/>
                </a:cubicBezTo>
                <a:cubicBezTo>
                  <a:pt x="252" y="138"/>
                  <a:pt x="248" y="145"/>
                  <a:pt x="248" y="161"/>
                </a:cubicBezTo>
                <a:cubicBezTo>
                  <a:pt x="248" y="176"/>
                  <a:pt x="252" y="184"/>
                  <a:pt x="258" y="184"/>
                </a:cubicBezTo>
                <a:cubicBezTo>
                  <a:pt x="264" y="184"/>
                  <a:pt x="267" y="176"/>
                  <a:pt x="267" y="160"/>
                </a:cubicBezTo>
                <a:close/>
                <a:moveTo>
                  <a:pt x="374" y="125"/>
                </a:moveTo>
                <a:cubicBezTo>
                  <a:pt x="370" y="125"/>
                  <a:pt x="367" y="126"/>
                  <a:pt x="364" y="128"/>
                </a:cubicBezTo>
                <a:cubicBezTo>
                  <a:pt x="365" y="133"/>
                  <a:pt x="366" y="139"/>
                  <a:pt x="366" y="144"/>
                </a:cubicBezTo>
                <a:cubicBezTo>
                  <a:pt x="368" y="140"/>
                  <a:pt x="371" y="138"/>
                  <a:pt x="374" y="138"/>
                </a:cubicBezTo>
                <a:cubicBezTo>
                  <a:pt x="380" y="138"/>
                  <a:pt x="383" y="145"/>
                  <a:pt x="383" y="160"/>
                </a:cubicBezTo>
                <a:cubicBezTo>
                  <a:pt x="383" y="176"/>
                  <a:pt x="380" y="184"/>
                  <a:pt x="374" y="184"/>
                </a:cubicBezTo>
                <a:cubicBezTo>
                  <a:pt x="370" y="184"/>
                  <a:pt x="368" y="181"/>
                  <a:pt x="366" y="176"/>
                </a:cubicBezTo>
                <a:cubicBezTo>
                  <a:pt x="365" y="182"/>
                  <a:pt x="364" y="188"/>
                  <a:pt x="363" y="193"/>
                </a:cubicBezTo>
                <a:cubicBezTo>
                  <a:pt x="366" y="195"/>
                  <a:pt x="369" y="196"/>
                  <a:pt x="373" y="196"/>
                </a:cubicBezTo>
                <a:cubicBezTo>
                  <a:pt x="391" y="196"/>
                  <a:pt x="399" y="181"/>
                  <a:pt x="399" y="160"/>
                </a:cubicBezTo>
                <a:cubicBezTo>
                  <a:pt x="399" y="142"/>
                  <a:pt x="392" y="125"/>
                  <a:pt x="374" y="125"/>
                </a:cubicBezTo>
                <a:close/>
                <a:moveTo>
                  <a:pt x="35" y="286"/>
                </a:moveTo>
                <a:cubicBezTo>
                  <a:pt x="35" y="288"/>
                  <a:pt x="35" y="289"/>
                  <a:pt x="35" y="291"/>
                </a:cubicBezTo>
                <a:cubicBezTo>
                  <a:pt x="50" y="275"/>
                  <a:pt x="50" y="275"/>
                  <a:pt x="50" y="275"/>
                </a:cubicBezTo>
                <a:cubicBezTo>
                  <a:pt x="48" y="261"/>
                  <a:pt x="41" y="251"/>
                  <a:pt x="26" y="251"/>
                </a:cubicBezTo>
                <a:cubicBezTo>
                  <a:pt x="8" y="251"/>
                  <a:pt x="0" y="266"/>
                  <a:pt x="0" y="286"/>
                </a:cubicBezTo>
                <a:cubicBezTo>
                  <a:pt x="0" y="300"/>
                  <a:pt x="4" y="312"/>
                  <a:pt x="13" y="318"/>
                </a:cubicBezTo>
                <a:cubicBezTo>
                  <a:pt x="14" y="313"/>
                  <a:pt x="17" y="309"/>
                  <a:pt x="20" y="306"/>
                </a:cubicBezTo>
                <a:cubicBezTo>
                  <a:pt x="17" y="302"/>
                  <a:pt x="16" y="296"/>
                  <a:pt x="16" y="286"/>
                </a:cubicBezTo>
                <a:cubicBezTo>
                  <a:pt x="16" y="270"/>
                  <a:pt x="20" y="263"/>
                  <a:pt x="26" y="263"/>
                </a:cubicBezTo>
                <a:cubicBezTo>
                  <a:pt x="32" y="263"/>
                  <a:pt x="35" y="271"/>
                  <a:pt x="35" y="286"/>
                </a:cubicBezTo>
                <a:close/>
                <a:moveTo>
                  <a:pt x="137" y="316"/>
                </a:moveTo>
                <a:cubicBezTo>
                  <a:pt x="137" y="318"/>
                  <a:pt x="139" y="320"/>
                  <a:pt x="141" y="320"/>
                </a:cubicBezTo>
                <a:cubicBezTo>
                  <a:pt x="149" y="320"/>
                  <a:pt x="149" y="320"/>
                  <a:pt x="149" y="320"/>
                </a:cubicBezTo>
                <a:cubicBezTo>
                  <a:pt x="151" y="320"/>
                  <a:pt x="153" y="318"/>
                  <a:pt x="153" y="316"/>
                </a:cubicBezTo>
                <a:cubicBezTo>
                  <a:pt x="153" y="296"/>
                  <a:pt x="153" y="296"/>
                  <a:pt x="153" y="296"/>
                </a:cubicBezTo>
                <a:cubicBezTo>
                  <a:pt x="137" y="311"/>
                  <a:pt x="137" y="311"/>
                  <a:pt x="137" y="311"/>
                </a:cubicBezTo>
                <a:lnTo>
                  <a:pt x="137" y="316"/>
                </a:lnTo>
                <a:close/>
                <a:moveTo>
                  <a:pt x="200" y="309"/>
                </a:moveTo>
                <a:cubicBezTo>
                  <a:pt x="194" y="309"/>
                  <a:pt x="191" y="303"/>
                  <a:pt x="190" y="291"/>
                </a:cubicBezTo>
                <a:cubicBezTo>
                  <a:pt x="185" y="289"/>
                  <a:pt x="179" y="287"/>
                  <a:pt x="174" y="285"/>
                </a:cubicBezTo>
                <a:cubicBezTo>
                  <a:pt x="174" y="285"/>
                  <a:pt x="174" y="286"/>
                  <a:pt x="174" y="286"/>
                </a:cubicBezTo>
                <a:cubicBezTo>
                  <a:pt x="174" y="305"/>
                  <a:pt x="182" y="321"/>
                  <a:pt x="199" y="321"/>
                </a:cubicBezTo>
                <a:cubicBezTo>
                  <a:pt x="214" y="321"/>
                  <a:pt x="222" y="311"/>
                  <a:pt x="224" y="296"/>
                </a:cubicBezTo>
                <a:cubicBezTo>
                  <a:pt x="219" y="296"/>
                  <a:pt x="214" y="296"/>
                  <a:pt x="209" y="295"/>
                </a:cubicBezTo>
                <a:cubicBezTo>
                  <a:pt x="208" y="304"/>
                  <a:pt x="205" y="309"/>
                  <a:pt x="200" y="309"/>
                </a:cubicBezTo>
                <a:close/>
                <a:moveTo>
                  <a:pt x="253" y="316"/>
                </a:moveTo>
                <a:cubicBezTo>
                  <a:pt x="253" y="318"/>
                  <a:pt x="255" y="320"/>
                  <a:pt x="257" y="320"/>
                </a:cubicBezTo>
                <a:cubicBezTo>
                  <a:pt x="265" y="320"/>
                  <a:pt x="265" y="320"/>
                  <a:pt x="265" y="320"/>
                </a:cubicBezTo>
                <a:cubicBezTo>
                  <a:pt x="267" y="320"/>
                  <a:pt x="269" y="318"/>
                  <a:pt x="269" y="316"/>
                </a:cubicBezTo>
                <a:cubicBezTo>
                  <a:pt x="269" y="291"/>
                  <a:pt x="269" y="291"/>
                  <a:pt x="269" y="291"/>
                </a:cubicBezTo>
                <a:cubicBezTo>
                  <a:pt x="264" y="292"/>
                  <a:pt x="259" y="293"/>
                  <a:pt x="253" y="294"/>
                </a:cubicBezTo>
                <a:lnTo>
                  <a:pt x="253" y="316"/>
                </a:lnTo>
                <a:close/>
                <a:moveTo>
                  <a:pt x="327" y="256"/>
                </a:moveTo>
                <a:cubicBezTo>
                  <a:pt x="322" y="261"/>
                  <a:pt x="317" y="265"/>
                  <a:pt x="311" y="269"/>
                </a:cubicBezTo>
                <a:cubicBezTo>
                  <a:pt x="311" y="269"/>
                  <a:pt x="311" y="270"/>
                  <a:pt x="311" y="270"/>
                </a:cubicBezTo>
                <a:cubicBezTo>
                  <a:pt x="311" y="316"/>
                  <a:pt x="311" y="316"/>
                  <a:pt x="311" y="316"/>
                </a:cubicBezTo>
                <a:cubicBezTo>
                  <a:pt x="311" y="318"/>
                  <a:pt x="313" y="320"/>
                  <a:pt x="315" y="320"/>
                </a:cubicBezTo>
                <a:cubicBezTo>
                  <a:pt x="323" y="320"/>
                  <a:pt x="323" y="320"/>
                  <a:pt x="323" y="320"/>
                </a:cubicBezTo>
                <a:cubicBezTo>
                  <a:pt x="325" y="320"/>
                  <a:pt x="327" y="318"/>
                  <a:pt x="327" y="316"/>
                </a:cubicBezTo>
                <a:cubicBezTo>
                  <a:pt x="327" y="256"/>
                  <a:pt x="327" y="256"/>
                  <a:pt x="327" y="256"/>
                </a:cubicBezTo>
                <a:cubicBezTo>
                  <a:pt x="327" y="256"/>
                  <a:pt x="327" y="256"/>
                  <a:pt x="327" y="256"/>
                </a:cubicBezTo>
                <a:cubicBezTo>
                  <a:pt x="327" y="256"/>
                  <a:pt x="327" y="256"/>
                  <a:pt x="327" y="256"/>
                </a:cubicBezTo>
                <a:close/>
                <a:moveTo>
                  <a:pt x="399" y="286"/>
                </a:moveTo>
                <a:cubicBezTo>
                  <a:pt x="399" y="307"/>
                  <a:pt x="391" y="321"/>
                  <a:pt x="373" y="321"/>
                </a:cubicBezTo>
                <a:cubicBezTo>
                  <a:pt x="356" y="321"/>
                  <a:pt x="348" y="305"/>
                  <a:pt x="348" y="286"/>
                </a:cubicBezTo>
                <a:cubicBezTo>
                  <a:pt x="348" y="266"/>
                  <a:pt x="356" y="251"/>
                  <a:pt x="374" y="251"/>
                </a:cubicBezTo>
                <a:cubicBezTo>
                  <a:pt x="392" y="251"/>
                  <a:pt x="399" y="267"/>
                  <a:pt x="399" y="286"/>
                </a:cubicBezTo>
                <a:close/>
                <a:moveTo>
                  <a:pt x="383" y="286"/>
                </a:moveTo>
                <a:cubicBezTo>
                  <a:pt x="383" y="271"/>
                  <a:pt x="380" y="263"/>
                  <a:pt x="374" y="263"/>
                </a:cubicBezTo>
                <a:cubicBezTo>
                  <a:pt x="368" y="263"/>
                  <a:pt x="364" y="270"/>
                  <a:pt x="364" y="286"/>
                </a:cubicBezTo>
                <a:cubicBezTo>
                  <a:pt x="364" y="302"/>
                  <a:pt x="368" y="309"/>
                  <a:pt x="374" y="309"/>
                </a:cubicBezTo>
                <a:cubicBezTo>
                  <a:pt x="380" y="309"/>
                  <a:pt x="383" y="301"/>
                  <a:pt x="383" y="286"/>
                </a:cubicBezTo>
                <a:close/>
                <a:moveTo>
                  <a:pt x="315" y="245"/>
                </a:moveTo>
                <a:cubicBezTo>
                  <a:pt x="291" y="268"/>
                  <a:pt x="260" y="280"/>
                  <a:pt x="229" y="280"/>
                </a:cubicBezTo>
                <a:cubicBezTo>
                  <a:pt x="206" y="280"/>
                  <a:pt x="184" y="274"/>
                  <a:pt x="164" y="262"/>
                </a:cubicBezTo>
                <a:cubicBezTo>
                  <a:pt x="71" y="354"/>
                  <a:pt x="71" y="354"/>
                  <a:pt x="71" y="354"/>
                </a:cubicBezTo>
                <a:cubicBezTo>
                  <a:pt x="64" y="362"/>
                  <a:pt x="51" y="362"/>
                  <a:pt x="43" y="354"/>
                </a:cubicBezTo>
                <a:cubicBezTo>
                  <a:pt x="33" y="344"/>
                  <a:pt x="33" y="344"/>
                  <a:pt x="33" y="344"/>
                </a:cubicBezTo>
                <a:cubicBezTo>
                  <a:pt x="25" y="336"/>
                  <a:pt x="25" y="323"/>
                  <a:pt x="33" y="316"/>
                </a:cubicBezTo>
                <a:cubicBezTo>
                  <a:pt x="125" y="223"/>
                  <a:pt x="125" y="223"/>
                  <a:pt x="125" y="223"/>
                </a:cubicBezTo>
                <a:cubicBezTo>
                  <a:pt x="96" y="176"/>
                  <a:pt x="101" y="113"/>
                  <a:pt x="142" y="72"/>
                </a:cubicBezTo>
                <a:cubicBezTo>
                  <a:pt x="166" y="48"/>
                  <a:pt x="198" y="36"/>
                  <a:pt x="229" y="36"/>
                </a:cubicBezTo>
                <a:cubicBezTo>
                  <a:pt x="260" y="36"/>
                  <a:pt x="291" y="48"/>
                  <a:pt x="315" y="72"/>
                </a:cubicBezTo>
                <a:cubicBezTo>
                  <a:pt x="363" y="119"/>
                  <a:pt x="363" y="197"/>
                  <a:pt x="315" y="245"/>
                </a:cubicBezTo>
                <a:close/>
                <a:moveTo>
                  <a:pt x="312" y="158"/>
                </a:moveTo>
                <a:cubicBezTo>
                  <a:pt x="312" y="136"/>
                  <a:pt x="303" y="115"/>
                  <a:pt x="287" y="100"/>
                </a:cubicBezTo>
                <a:cubicBezTo>
                  <a:pt x="272" y="84"/>
                  <a:pt x="251" y="75"/>
                  <a:pt x="229" y="75"/>
                </a:cubicBezTo>
                <a:cubicBezTo>
                  <a:pt x="207" y="75"/>
                  <a:pt x="186" y="84"/>
                  <a:pt x="170" y="100"/>
                </a:cubicBezTo>
                <a:cubicBezTo>
                  <a:pt x="138" y="132"/>
                  <a:pt x="138" y="184"/>
                  <a:pt x="170" y="217"/>
                </a:cubicBezTo>
                <a:cubicBezTo>
                  <a:pt x="186" y="232"/>
                  <a:pt x="207" y="241"/>
                  <a:pt x="229" y="241"/>
                </a:cubicBezTo>
                <a:cubicBezTo>
                  <a:pt x="251" y="241"/>
                  <a:pt x="272" y="232"/>
                  <a:pt x="287" y="217"/>
                </a:cubicBezTo>
                <a:cubicBezTo>
                  <a:pt x="303" y="201"/>
                  <a:pt x="312" y="180"/>
                  <a:pt x="312" y="158"/>
                </a:cubicBezTo>
                <a:close/>
                <a:moveTo>
                  <a:pt x="297" y="18"/>
                </a:moveTo>
                <a:cubicBezTo>
                  <a:pt x="298" y="20"/>
                  <a:pt x="300" y="21"/>
                  <a:pt x="302" y="20"/>
                </a:cubicBezTo>
                <a:cubicBezTo>
                  <a:pt x="308" y="17"/>
                  <a:pt x="308" y="17"/>
                  <a:pt x="308" y="17"/>
                </a:cubicBezTo>
                <a:cubicBezTo>
                  <a:pt x="310" y="16"/>
                  <a:pt x="311" y="15"/>
                  <a:pt x="311" y="15"/>
                </a:cubicBezTo>
                <a:cubicBezTo>
                  <a:pt x="311" y="15"/>
                  <a:pt x="311" y="17"/>
                  <a:pt x="311" y="19"/>
                </a:cubicBezTo>
                <a:cubicBezTo>
                  <a:pt x="311" y="47"/>
                  <a:pt x="311" y="47"/>
                  <a:pt x="311" y="47"/>
                </a:cubicBezTo>
                <a:cubicBezTo>
                  <a:pt x="317" y="51"/>
                  <a:pt x="322" y="56"/>
                  <a:pt x="327" y="60"/>
                </a:cubicBezTo>
                <a:cubicBezTo>
                  <a:pt x="327" y="60"/>
                  <a:pt x="327" y="60"/>
                  <a:pt x="327" y="61"/>
                </a:cubicBezTo>
                <a:cubicBezTo>
                  <a:pt x="327" y="5"/>
                  <a:pt x="327" y="5"/>
                  <a:pt x="327" y="5"/>
                </a:cubicBezTo>
                <a:cubicBezTo>
                  <a:pt x="327" y="3"/>
                  <a:pt x="325" y="1"/>
                  <a:pt x="323" y="1"/>
                </a:cubicBezTo>
                <a:cubicBezTo>
                  <a:pt x="318" y="1"/>
                  <a:pt x="318" y="1"/>
                  <a:pt x="318" y="1"/>
                </a:cubicBezTo>
                <a:cubicBezTo>
                  <a:pt x="315" y="1"/>
                  <a:pt x="312" y="2"/>
                  <a:pt x="310" y="3"/>
                </a:cubicBezTo>
                <a:cubicBezTo>
                  <a:pt x="299" y="8"/>
                  <a:pt x="299" y="8"/>
                  <a:pt x="299" y="8"/>
                </a:cubicBezTo>
                <a:cubicBezTo>
                  <a:pt x="297" y="9"/>
                  <a:pt x="296" y="11"/>
                  <a:pt x="296" y="13"/>
                </a:cubicBezTo>
                <a:lnTo>
                  <a:pt x="297" y="18"/>
                </a:lnTo>
                <a:close/>
              </a:path>
            </a:pathLst>
          </a:custGeom>
          <a:solidFill>
            <a:srgbClr val="FFFFFF"/>
          </a:solidFill>
          <a:ln w="25400" cap="flat" cmpd="sng" algn="ctr">
            <a:noFill/>
            <a:prstDash val="solid"/>
          </a:ln>
          <a:effectLst/>
        </p:spPr>
        <p:txBody>
          <a:bodyPr lIns="68556" tIns="34278" rIns="68556" bIns="34278" anchor="ctr"/>
          <a:lstStyle/>
          <a:p>
            <a:pPr algn="ctr" defTabSz="676889"/>
            <a:endParaRPr lang="en-US" sz="1350" dirty="0">
              <a:solidFill>
                <a:srgbClr val="0096D6"/>
              </a:solidFill>
              <a:latin typeface="CiscoSans ExtraLight" panose="020B0303020201020303" pitchFamily="34" charset="0"/>
              <a:ea typeface="ＭＳ Ｐゴシック" pitchFamily="34" charset="-128"/>
              <a:cs typeface="Arial"/>
            </a:endParaRPr>
          </a:p>
        </p:txBody>
      </p:sp>
      <p:grpSp>
        <p:nvGrpSpPr>
          <p:cNvPr id="229" name="Group 2"/>
          <p:cNvGrpSpPr/>
          <p:nvPr/>
        </p:nvGrpSpPr>
        <p:grpSpPr>
          <a:xfrm>
            <a:off x="526400" y="3777454"/>
            <a:ext cx="412583" cy="342406"/>
            <a:chOff x="3307824" y="1844442"/>
            <a:chExt cx="319860" cy="294556"/>
          </a:xfrm>
        </p:grpSpPr>
        <p:sp>
          <p:nvSpPr>
            <p:cNvPr id="230" name="Freeform 226"/>
            <p:cNvSpPr>
              <a:spLocks/>
            </p:cNvSpPr>
            <p:nvPr/>
          </p:nvSpPr>
          <p:spPr bwMode="auto">
            <a:xfrm>
              <a:off x="3369799" y="1991094"/>
              <a:ext cx="21326" cy="21322"/>
            </a:xfrm>
            <a:custGeom>
              <a:avLst/>
              <a:gdLst>
                <a:gd name="T0" fmla="*/ 65 w 130"/>
                <a:gd name="T1" fmla="*/ 0 h 129"/>
                <a:gd name="T2" fmla="*/ 65 w 130"/>
                <a:gd name="T3" fmla="*/ 0 h 129"/>
                <a:gd name="T4" fmla="*/ 58 w 130"/>
                <a:gd name="T5" fmla="*/ 0 h 129"/>
                <a:gd name="T6" fmla="*/ 52 w 130"/>
                <a:gd name="T7" fmla="*/ 1 h 129"/>
                <a:gd name="T8" fmla="*/ 46 w 130"/>
                <a:gd name="T9" fmla="*/ 3 h 129"/>
                <a:gd name="T10" fmla="*/ 40 w 130"/>
                <a:gd name="T11" fmla="*/ 5 h 129"/>
                <a:gd name="T12" fmla="*/ 34 w 130"/>
                <a:gd name="T13" fmla="*/ 8 h 129"/>
                <a:gd name="T14" fmla="*/ 29 w 130"/>
                <a:gd name="T15" fmla="*/ 11 h 129"/>
                <a:gd name="T16" fmla="*/ 19 w 130"/>
                <a:gd name="T17" fmla="*/ 19 h 129"/>
                <a:gd name="T18" fmla="*/ 11 w 130"/>
                <a:gd name="T19" fmla="*/ 28 h 129"/>
                <a:gd name="T20" fmla="*/ 5 w 130"/>
                <a:gd name="T21" fmla="*/ 39 h 129"/>
                <a:gd name="T22" fmla="*/ 3 w 130"/>
                <a:gd name="T23" fmla="*/ 46 h 129"/>
                <a:gd name="T24" fmla="*/ 1 w 130"/>
                <a:gd name="T25" fmla="*/ 52 h 129"/>
                <a:gd name="T26" fmla="*/ 1 w 130"/>
                <a:gd name="T27" fmla="*/ 58 h 129"/>
                <a:gd name="T28" fmla="*/ 0 w 130"/>
                <a:gd name="T29" fmla="*/ 65 h 129"/>
                <a:gd name="T30" fmla="*/ 0 w 130"/>
                <a:gd name="T31" fmla="*/ 65 h 129"/>
                <a:gd name="T32" fmla="*/ 1 w 130"/>
                <a:gd name="T33" fmla="*/ 71 h 129"/>
                <a:gd name="T34" fmla="*/ 1 w 130"/>
                <a:gd name="T35" fmla="*/ 77 h 129"/>
                <a:gd name="T36" fmla="*/ 3 w 130"/>
                <a:gd name="T37" fmla="*/ 83 h 129"/>
                <a:gd name="T38" fmla="*/ 5 w 130"/>
                <a:gd name="T39" fmla="*/ 89 h 129"/>
                <a:gd name="T40" fmla="*/ 11 w 130"/>
                <a:gd name="T41" fmla="*/ 101 h 129"/>
                <a:gd name="T42" fmla="*/ 19 w 130"/>
                <a:gd name="T43" fmla="*/ 110 h 129"/>
                <a:gd name="T44" fmla="*/ 29 w 130"/>
                <a:gd name="T45" fmla="*/ 118 h 129"/>
                <a:gd name="T46" fmla="*/ 34 w 130"/>
                <a:gd name="T47" fmla="*/ 121 h 129"/>
                <a:gd name="T48" fmla="*/ 40 w 130"/>
                <a:gd name="T49" fmla="*/ 124 h 129"/>
                <a:gd name="T50" fmla="*/ 46 w 130"/>
                <a:gd name="T51" fmla="*/ 126 h 129"/>
                <a:gd name="T52" fmla="*/ 52 w 130"/>
                <a:gd name="T53" fmla="*/ 128 h 129"/>
                <a:gd name="T54" fmla="*/ 58 w 130"/>
                <a:gd name="T55" fmla="*/ 129 h 129"/>
                <a:gd name="T56" fmla="*/ 65 w 130"/>
                <a:gd name="T57" fmla="*/ 129 h 129"/>
                <a:gd name="T58" fmla="*/ 65 w 130"/>
                <a:gd name="T59" fmla="*/ 129 h 129"/>
                <a:gd name="T60" fmla="*/ 71 w 130"/>
                <a:gd name="T61" fmla="*/ 129 h 129"/>
                <a:gd name="T62" fmla="*/ 78 w 130"/>
                <a:gd name="T63" fmla="*/ 128 h 129"/>
                <a:gd name="T64" fmla="*/ 84 w 130"/>
                <a:gd name="T65" fmla="*/ 126 h 129"/>
                <a:gd name="T66" fmla="*/ 90 w 130"/>
                <a:gd name="T67" fmla="*/ 124 h 129"/>
                <a:gd name="T68" fmla="*/ 101 w 130"/>
                <a:gd name="T69" fmla="*/ 118 h 129"/>
                <a:gd name="T70" fmla="*/ 110 w 130"/>
                <a:gd name="T71" fmla="*/ 110 h 129"/>
                <a:gd name="T72" fmla="*/ 118 w 130"/>
                <a:gd name="T73" fmla="*/ 101 h 129"/>
                <a:gd name="T74" fmla="*/ 125 w 130"/>
                <a:gd name="T75" fmla="*/ 89 h 129"/>
                <a:gd name="T76" fmla="*/ 127 w 130"/>
                <a:gd name="T77" fmla="*/ 83 h 129"/>
                <a:gd name="T78" fmla="*/ 129 w 130"/>
                <a:gd name="T79" fmla="*/ 77 h 129"/>
                <a:gd name="T80" fmla="*/ 130 w 130"/>
                <a:gd name="T81" fmla="*/ 71 h 129"/>
                <a:gd name="T82" fmla="*/ 130 w 130"/>
                <a:gd name="T83" fmla="*/ 65 h 129"/>
                <a:gd name="T84" fmla="*/ 130 w 130"/>
                <a:gd name="T85" fmla="*/ 65 h 129"/>
                <a:gd name="T86" fmla="*/ 130 w 130"/>
                <a:gd name="T87" fmla="*/ 58 h 129"/>
                <a:gd name="T88" fmla="*/ 129 w 130"/>
                <a:gd name="T89" fmla="*/ 52 h 129"/>
                <a:gd name="T90" fmla="*/ 127 w 130"/>
                <a:gd name="T91" fmla="*/ 46 h 129"/>
                <a:gd name="T92" fmla="*/ 125 w 130"/>
                <a:gd name="T93" fmla="*/ 39 h 129"/>
                <a:gd name="T94" fmla="*/ 118 w 130"/>
                <a:gd name="T95" fmla="*/ 28 h 129"/>
                <a:gd name="T96" fmla="*/ 110 w 130"/>
                <a:gd name="T97" fmla="*/ 19 h 129"/>
                <a:gd name="T98" fmla="*/ 101 w 130"/>
                <a:gd name="T99" fmla="*/ 11 h 129"/>
                <a:gd name="T100" fmla="*/ 90 w 130"/>
                <a:gd name="T101" fmla="*/ 5 h 129"/>
                <a:gd name="T102" fmla="*/ 84 w 130"/>
                <a:gd name="T103" fmla="*/ 3 h 129"/>
                <a:gd name="T104" fmla="*/ 78 w 130"/>
                <a:gd name="T105" fmla="*/ 1 h 129"/>
                <a:gd name="T106" fmla="*/ 71 w 130"/>
                <a:gd name="T107" fmla="*/ 0 h 129"/>
                <a:gd name="T108" fmla="*/ 65 w 130"/>
                <a:gd name="T109" fmla="*/ 0 h 129"/>
                <a:gd name="T110" fmla="*/ 65 w 130"/>
                <a:gd name="T11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29">
                  <a:moveTo>
                    <a:pt x="65" y="0"/>
                  </a:moveTo>
                  <a:lnTo>
                    <a:pt x="65" y="0"/>
                  </a:lnTo>
                  <a:lnTo>
                    <a:pt x="58" y="0"/>
                  </a:lnTo>
                  <a:lnTo>
                    <a:pt x="52" y="1"/>
                  </a:lnTo>
                  <a:lnTo>
                    <a:pt x="46" y="3"/>
                  </a:lnTo>
                  <a:lnTo>
                    <a:pt x="40" y="5"/>
                  </a:lnTo>
                  <a:lnTo>
                    <a:pt x="34" y="8"/>
                  </a:lnTo>
                  <a:lnTo>
                    <a:pt x="29" y="11"/>
                  </a:lnTo>
                  <a:lnTo>
                    <a:pt x="19" y="19"/>
                  </a:lnTo>
                  <a:lnTo>
                    <a:pt x="11" y="28"/>
                  </a:lnTo>
                  <a:lnTo>
                    <a:pt x="5" y="39"/>
                  </a:lnTo>
                  <a:lnTo>
                    <a:pt x="3" y="46"/>
                  </a:lnTo>
                  <a:lnTo>
                    <a:pt x="1" y="52"/>
                  </a:lnTo>
                  <a:lnTo>
                    <a:pt x="1" y="58"/>
                  </a:lnTo>
                  <a:lnTo>
                    <a:pt x="0" y="65"/>
                  </a:lnTo>
                  <a:lnTo>
                    <a:pt x="0" y="65"/>
                  </a:lnTo>
                  <a:lnTo>
                    <a:pt x="1" y="71"/>
                  </a:lnTo>
                  <a:lnTo>
                    <a:pt x="1" y="77"/>
                  </a:lnTo>
                  <a:lnTo>
                    <a:pt x="3" y="83"/>
                  </a:lnTo>
                  <a:lnTo>
                    <a:pt x="5" y="89"/>
                  </a:lnTo>
                  <a:lnTo>
                    <a:pt x="11" y="101"/>
                  </a:lnTo>
                  <a:lnTo>
                    <a:pt x="19" y="110"/>
                  </a:lnTo>
                  <a:lnTo>
                    <a:pt x="29" y="118"/>
                  </a:lnTo>
                  <a:lnTo>
                    <a:pt x="34" y="121"/>
                  </a:lnTo>
                  <a:lnTo>
                    <a:pt x="40" y="124"/>
                  </a:lnTo>
                  <a:lnTo>
                    <a:pt x="46" y="126"/>
                  </a:lnTo>
                  <a:lnTo>
                    <a:pt x="52" y="128"/>
                  </a:lnTo>
                  <a:lnTo>
                    <a:pt x="58" y="129"/>
                  </a:lnTo>
                  <a:lnTo>
                    <a:pt x="65" y="129"/>
                  </a:lnTo>
                  <a:lnTo>
                    <a:pt x="65" y="129"/>
                  </a:lnTo>
                  <a:lnTo>
                    <a:pt x="71" y="129"/>
                  </a:lnTo>
                  <a:lnTo>
                    <a:pt x="78" y="128"/>
                  </a:lnTo>
                  <a:lnTo>
                    <a:pt x="84" y="126"/>
                  </a:lnTo>
                  <a:lnTo>
                    <a:pt x="90" y="124"/>
                  </a:lnTo>
                  <a:lnTo>
                    <a:pt x="101" y="118"/>
                  </a:lnTo>
                  <a:lnTo>
                    <a:pt x="110" y="110"/>
                  </a:lnTo>
                  <a:lnTo>
                    <a:pt x="118" y="101"/>
                  </a:lnTo>
                  <a:lnTo>
                    <a:pt x="125" y="89"/>
                  </a:lnTo>
                  <a:lnTo>
                    <a:pt x="127" y="83"/>
                  </a:lnTo>
                  <a:lnTo>
                    <a:pt x="129" y="77"/>
                  </a:lnTo>
                  <a:lnTo>
                    <a:pt x="130" y="71"/>
                  </a:lnTo>
                  <a:lnTo>
                    <a:pt x="130" y="65"/>
                  </a:lnTo>
                  <a:lnTo>
                    <a:pt x="130" y="65"/>
                  </a:lnTo>
                  <a:lnTo>
                    <a:pt x="130" y="58"/>
                  </a:lnTo>
                  <a:lnTo>
                    <a:pt x="129" y="52"/>
                  </a:lnTo>
                  <a:lnTo>
                    <a:pt x="127" y="46"/>
                  </a:lnTo>
                  <a:lnTo>
                    <a:pt x="125" y="39"/>
                  </a:lnTo>
                  <a:lnTo>
                    <a:pt x="118" y="28"/>
                  </a:lnTo>
                  <a:lnTo>
                    <a:pt x="110" y="19"/>
                  </a:lnTo>
                  <a:lnTo>
                    <a:pt x="101" y="11"/>
                  </a:lnTo>
                  <a:lnTo>
                    <a:pt x="90" y="5"/>
                  </a:lnTo>
                  <a:lnTo>
                    <a:pt x="84" y="3"/>
                  </a:lnTo>
                  <a:lnTo>
                    <a:pt x="78" y="1"/>
                  </a:lnTo>
                  <a:lnTo>
                    <a:pt x="71"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31" name="Freeform 227"/>
            <p:cNvSpPr>
              <a:spLocks/>
            </p:cNvSpPr>
            <p:nvPr/>
          </p:nvSpPr>
          <p:spPr bwMode="auto">
            <a:xfrm>
              <a:off x="3369799" y="2028124"/>
              <a:ext cx="21326" cy="21322"/>
            </a:xfrm>
            <a:custGeom>
              <a:avLst/>
              <a:gdLst>
                <a:gd name="T0" fmla="*/ 65 w 130"/>
                <a:gd name="T1" fmla="*/ 0 h 130"/>
                <a:gd name="T2" fmla="*/ 65 w 130"/>
                <a:gd name="T3" fmla="*/ 0 h 130"/>
                <a:gd name="T4" fmla="*/ 58 w 130"/>
                <a:gd name="T5" fmla="*/ 1 h 130"/>
                <a:gd name="T6" fmla="*/ 52 w 130"/>
                <a:gd name="T7" fmla="*/ 1 h 130"/>
                <a:gd name="T8" fmla="*/ 46 w 130"/>
                <a:gd name="T9" fmla="*/ 3 h 130"/>
                <a:gd name="T10" fmla="*/ 40 w 130"/>
                <a:gd name="T11" fmla="*/ 5 h 130"/>
                <a:gd name="T12" fmla="*/ 34 w 130"/>
                <a:gd name="T13" fmla="*/ 8 h 130"/>
                <a:gd name="T14" fmla="*/ 29 w 130"/>
                <a:gd name="T15" fmla="*/ 11 h 130"/>
                <a:gd name="T16" fmla="*/ 19 w 130"/>
                <a:gd name="T17" fmla="*/ 20 h 130"/>
                <a:gd name="T18" fmla="*/ 11 w 130"/>
                <a:gd name="T19" fmla="*/ 29 h 130"/>
                <a:gd name="T20" fmla="*/ 5 w 130"/>
                <a:gd name="T21" fmla="*/ 40 h 130"/>
                <a:gd name="T22" fmla="*/ 3 w 130"/>
                <a:gd name="T23" fmla="*/ 46 h 130"/>
                <a:gd name="T24" fmla="*/ 1 w 130"/>
                <a:gd name="T25" fmla="*/ 52 h 130"/>
                <a:gd name="T26" fmla="*/ 1 w 130"/>
                <a:gd name="T27" fmla="*/ 58 h 130"/>
                <a:gd name="T28" fmla="*/ 0 w 130"/>
                <a:gd name="T29" fmla="*/ 66 h 130"/>
                <a:gd name="T30" fmla="*/ 0 w 130"/>
                <a:gd name="T31" fmla="*/ 66 h 130"/>
                <a:gd name="T32" fmla="*/ 1 w 130"/>
                <a:gd name="T33" fmla="*/ 72 h 130"/>
                <a:gd name="T34" fmla="*/ 1 w 130"/>
                <a:gd name="T35" fmla="*/ 78 h 130"/>
                <a:gd name="T36" fmla="*/ 3 w 130"/>
                <a:gd name="T37" fmla="*/ 84 h 130"/>
                <a:gd name="T38" fmla="*/ 5 w 130"/>
                <a:gd name="T39" fmla="*/ 90 h 130"/>
                <a:gd name="T40" fmla="*/ 11 w 130"/>
                <a:gd name="T41" fmla="*/ 101 h 130"/>
                <a:gd name="T42" fmla="*/ 19 w 130"/>
                <a:gd name="T43" fmla="*/ 110 h 130"/>
                <a:gd name="T44" fmla="*/ 29 w 130"/>
                <a:gd name="T45" fmla="*/ 119 h 130"/>
                <a:gd name="T46" fmla="*/ 34 w 130"/>
                <a:gd name="T47" fmla="*/ 122 h 130"/>
                <a:gd name="T48" fmla="*/ 40 w 130"/>
                <a:gd name="T49" fmla="*/ 125 h 130"/>
                <a:gd name="T50" fmla="*/ 46 w 130"/>
                <a:gd name="T51" fmla="*/ 127 h 130"/>
                <a:gd name="T52" fmla="*/ 52 w 130"/>
                <a:gd name="T53" fmla="*/ 129 h 130"/>
                <a:gd name="T54" fmla="*/ 58 w 130"/>
                <a:gd name="T55" fmla="*/ 130 h 130"/>
                <a:gd name="T56" fmla="*/ 65 w 130"/>
                <a:gd name="T57" fmla="*/ 130 h 130"/>
                <a:gd name="T58" fmla="*/ 65 w 130"/>
                <a:gd name="T59" fmla="*/ 130 h 130"/>
                <a:gd name="T60" fmla="*/ 71 w 130"/>
                <a:gd name="T61" fmla="*/ 130 h 130"/>
                <a:gd name="T62" fmla="*/ 78 w 130"/>
                <a:gd name="T63" fmla="*/ 129 h 130"/>
                <a:gd name="T64" fmla="*/ 84 w 130"/>
                <a:gd name="T65" fmla="*/ 127 h 130"/>
                <a:gd name="T66" fmla="*/ 90 w 130"/>
                <a:gd name="T67" fmla="*/ 125 h 130"/>
                <a:gd name="T68" fmla="*/ 101 w 130"/>
                <a:gd name="T69" fmla="*/ 119 h 130"/>
                <a:gd name="T70" fmla="*/ 110 w 130"/>
                <a:gd name="T71" fmla="*/ 110 h 130"/>
                <a:gd name="T72" fmla="*/ 118 w 130"/>
                <a:gd name="T73" fmla="*/ 101 h 130"/>
                <a:gd name="T74" fmla="*/ 125 w 130"/>
                <a:gd name="T75" fmla="*/ 90 h 130"/>
                <a:gd name="T76" fmla="*/ 127 w 130"/>
                <a:gd name="T77" fmla="*/ 84 h 130"/>
                <a:gd name="T78" fmla="*/ 129 w 130"/>
                <a:gd name="T79" fmla="*/ 78 h 130"/>
                <a:gd name="T80" fmla="*/ 130 w 130"/>
                <a:gd name="T81" fmla="*/ 72 h 130"/>
                <a:gd name="T82" fmla="*/ 130 w 130"/>
                <a:gd name="T83" fmla="*/ 66 h 130"/>
                <a:gd name="T84" fmla="*/ 130 w 130"/>
                <a:gd name="T85" fmla="*/ 66 h 130"/>
                <a:gd name="T86" fmla="*/ 130 w 130"/>
                <a:gd name="T87" fmla="*/ 58 h 130"/>
                <a:gd name="T88" fmla="*/ 129 w 130"/>
                <a:gd name="T89" fmla="*/ 52 h 130"/>
                <a:gd name="T90" fmla="*/ 127 w 130"/>
                <a:gd name="T91" fmla="*/ 46 h 130"/>
                <a:gd name="T92" fmla="*/ 125 w 130"/>
                <a:gd name="T93" fmla="*/ 40 h 130"/>
                <a:gd name="T94" fmla="*/ 118 w 130"/>
                <a:gd name="T95" fmla="*/ 29 h 130"/>
                <a:gd name="T96" fmla="*/ 110 w 130"/>
                <a:gd name="T97" fmla="*/ 20 h 130"/>
                <a:gd name="T98" fmla="*/ 101 w 130"/>
                <a:gd name="T99" fmla="*/ 11 h 130"/>
                <a:gd name="T100" fmla="*/ 90 w 130"/>
                <a:gd name="T101" fmla="*/ 5 h 130"/>
                <a:gd name="T102" fmla="*/ 84 w 130"/>
                <a:gd name="T103" fmla="*/ 3 h 130"/>
                <a:gd name="T104" fmla="*/ 78 w 130"/>
                <a:gd name="T105" fmla="*/ 1 h 130"/>
                <a:gd name="T106" fmla="*/ 71 w 130"/>
                <a:gd name="T107" fmla="*/ 1 h 130"/>
                <a:gd name="T108" fmla="*/ 65 w 130"/>
                <a:gd name="T109" fmla="*/ 0 h 130"/>
                <a:gd name="T110" fmla="*/ 65 w 130"/>
                <a:gd name="T111"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30">
                  <a:moveTo>
                    <a:pt x="65" y="0"/>
                  </a:moveTo>
                  <a:lnTo>
                    <a:pt x="65" y="0"/>
                  </a:lnTo>
                  <a:lnTo>
                    <a:pt x="58" y="1"/>
                  </a:lnTo>
                  <a:lnTo>
                    <a:pt x="52" y="1"/>
                  </a:lnTo>
                  <a:lnTo>
                    <a:pt x="46" y="3"/>
                  </a:lnTo>
                  <a:lnTo>
                    <a:pt x="40" y="5"/>
                  </a:lnTo>
                  <a:lnTo>
                    <a:pt x="34" y="8"/>
                  </a:lnTo>
                  <a:lnTo>
                    <a:pt x="29" y="11"/>
                  </a:lnTo>
                  <a:lnTo>
                    <a:pt x="19" y="20"/>
                  </a:lnTo>
                  <a:lnTo>
                    <a:pt x="11" y="29"/>
                  </a:lnTo>
                  <a:lnTo>
                    <a:pt x="5" y="40"/>
                  </a:lnTo>
                  <a:lnTo>
                    <a:pt x="3" y="46"/>
                  </a:lnTo>
                  <a:lnTo>
                    <a:pt x="1" y="52"/>
                  </a:lnTo>
                  <a:lnTo>
                    <a:pt x="1" y="58"/>
                  </a:lnTo>
                  <a:lnTo>
                    <a:pt x="0" y="66"/>
                  </a:lnTo>
                  <a:lnTo>
                    <a:pt x="0" y="66"/>
                  </a:lnTo>
                  <a:lnTo>
                    <a:pt x="1" y="72"/>
                  </a:lnTo>
                  <a:lnTo>
                    <a:pt x="1" y="78"/>
                  </a:lnTo>
                  <a:lnTo>
                    <a:pt x="3" y="84"/>
                  </a:lnTo>
                  <a:lnTo>
                    <a:pt x="5" y="90"/>
                  </a:lnTo>
                  <a:lnTo>
                    <a:pt x="11" y="101"/>
                  </a:lnTo>
                  <a:lnTo>
                    <a:pt x="19" y="110"/>
                  </a:lnTo>
                  <a:lnTo>
                    <a:pt x="29" y="119"/>
                  </a:lnTo>
                  <a:lnTo>
                    <a:pt x="34" y="122"/>
                  </a:lnTo>
                  <a:lnTo>
                    <a:pt x="40" y="125"/>
                  </a:lnTo>
                  <a:lnTo>
                    <a:pt x="46" y="127"/>
                  </a:lnTo>
                  <a:lnTo>
                    <a:pt x="52" y="129"/>
                  </a:lnTo>
                  <a:lnTo>
                    <a:pt x="58" y="130"/>
                  </a:lnTo>
                  <a:lnTo>
                    <a:pt x="65" y="130"/>
                  </a:lnTo>
                  <a:lnTo>
                    <a:pt x="65" y="130"/>
                  </a:lnTo>
                  <a:lnTo>
                    <a:pt x="71" y="130"/>
                  </a:lnTo>
                  <a:lnTo>
                    <a:pt x="78" y="129"/>
                  </a:lnTo>
                  <a:lnTo>
                    <a:pt x="84" y="127"/>
                  </a:lnTo>
                  <a:lnTo>
                    <a:pt x="90" y="125"/>
                  </a:lnTo>
                  <a:lnTo>
                    <a:pt x="101" y="119"/>
                  </a:lnTo>
                  <a:lnTo>
                    <a:pt x="110" y="110"/>
                  </a:lnTo>
                  <a:lnTo>
                    <a:pt x="118" y="101"/>
                  </a:lnTo>
                  <a:lnTo>
                    <a:pt x="125" y="90"/>
                  </a:lnTo>
                  <a:lnTo>
                    <a:pt x="127" y="84"/>
                  </a:lnTo>
                  <a:lnTo>
                    <a:pt x="129" y="78"/>
                  </a:lnTo>
                  <a:lnTo>
                    <a:pt x="130" y="72"/>
                  </a:lnTo>
                  <a:lnTo>
                    <a:pt x="130" y="66"/>
                  </a:lnTo>
                  <a:lnTo>
                    <a:pt x="130" y="66"/>
                  </a:lnTo>
                  <a:lnTo>
                    <a:pt x="130" y="58"/>
                  </a:lnTo>
                  <a:lnTo>
                    <a:pt x="129" y="52"/>
                  </a:lnTo>
                  <a:lnTo>
                    <a:pt x="127" y="46"/>
                  </a:lnTo>
                  <a:lnTo>
                    <a:pt x="125" y="40"/>
                  </a:lnTo>
                  <a:lnTo>
                    <a:pt x="118" y="29"/>
                  </a:lnTo>
                  <a:lnTo>
                    <a:pt x="110" y="20"/>
                  </a:lnTo>
                  <a:lnTo>
                    <a:pt x="101" y="11"/>
                  </a:lnTo>
                  <a:lnTo>
                    <a:pt x="90" y="5"/>
                  </a:lnTo>
                  <a:lnTo>
                    <a:pt x="84" y="3"/>
                  </a:lnTo>
                  <a:lnTo>
                    <a:pt x="78" y="1"/>
                  </a:lnTo>
                  <a:lnTo>
                    <a:pt x="71" y="1"/>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32" name="Freeform 228"/>
            <p:cNvSpPr>
              <a:spLocks/>
            </p:cNvSpPr>
            <p:nvPr/>
          </p:nvSpPr>
          <p:spPr bwMode="auto">
            <a:xfrm>
              <a:off x="3369799" y="2066275"/>
              <a:ext cx="21326" cy="20199"/>
            </a:xfrm>
            <a:custGeom>
              <a:avLst/>
              <a:gdLst>
                <a:gd name="T0" fmla="*/ 65 w 130"/>
                <a:gd name="T1" fmla="*/ 0 h 129"/>
                <a:gd name="T2" fmla="*/ 65 w 130"/>
                <a:gd name="T3" fmla="*/ 0 h 129"/>
                <a:gd name="T4" fmla="*/ 58 w 130"/>
                <a:gd name="T5" fmla="*/ 0 h 129"/>
                <a:gd name="T6" fmla="*/ 52 w 130"/>
                <a:gd name="T7" fmla="*/ 1 h 129"/>
                <a:gd name="T8" fmla="*/ 46 w 130"/>
                <a:gd name="T9" fmla="*/ 3 h 129"/>
                <a:gd name="T10" fmla="*/ 40 w 130"/>
                <a:gd name="T11" fmla="*/ 5 h 129"/>
                <a:gd name="T12" fmla="*/ 34 w 130"/>
                <a:gd name="T13" fmla="*/ 8 h 129"/>
                <a:gd name="T14" fmla="*/ 29 w 130"/>
                <a:gd name="T15" fmla="*/ 11 h 129"/>
                <a:gd name="T16" fmla="*/ 19 w 130"/>
                <a:gd name="T17" fmla="*/ 19 h 129"/>
                <a:gd name="T18" fmla="*/ 11 w 130"/>
                <a:gd name="T19" fmla="*/ 28 h 129"/>
                <a:gd name="T20" fmla="*/ 5 w 130"/>
                <a:gd name="T21" fmla="*/ 40 h 129"/>
                <a:gd name="T22" fmla="*/ 3 w 130"/>
                <a:gd name="T23" fmla="*/ 46 h 129"/>
                <a:gd name="T24" fmla="*/ 1 w 130"/>
                <a:gd name="T25" fmla="*/ 52 h 129"/>
                <a:gd name="T26" fmla="*/ 1 w 130"/>
                <a:gd name="T27" fmla="*/ 58 h 129"/>
                <a:gd name="T28" fmla="*/ 0 w 130"/>
                <a:gd name="T29" fmla="*/ 65 h 129"/>
                <a:gd name="T30" fmla="*/ 0 w 130"/>
                <a:gd name="T31" fmla="*/ 65 h 129"/>
                <a:gd name="T32" fmla="*/ 1 w 130"/>
                <a:gd name="T33" fmla="*/ 71 h 129"/>
                <a:gd name="T34" fmla="*/ 1 w 130"/>
                <a:gd name="T35" fmla="*/ 77 h 129"/>
                <a:gd name="T36" fmla="*/ 3 w 130"/>
                <a:gd name="T37" fmla="*/ 83 h 129"/>
                <a:gd name="T38" fmla="*/ 5 w 130"/>
                <a:gd name="T39" fmla="*/ 90 h 129"/>
                <a:gd name="T40" fmla="*/ 11 w 130"/>
                <a:gd name="T41" fmla="*/ 101 h 129"/>
                <a:gd name="T42" fmla="*/ 19 w 130"/>
                <a:gd name="T43" fmla="*/ 110 h 129"/>
                <a:gd name="T44" fmla="*/ 29 w 130"/>
                <a:gd name="T45" fmla="*/ 118 h 129"/>
                <a:gd name="T46" fmla="*/ 34 w 130"/>
                <a:gd name="T47" fmla="*/ 121 h 129"/>
                <a:gd name="T48" fmla="*/ 40 w 130"/>
                <a:gd name="T49" fmla="*/ 124 h 129"/>
                <a:gd name="T50" fmla="*/ 46 w 130"/>
                <a:gd name="T51" fmla="*/ 126 h 129"/>
                <a:gd name="T52" fmla="*/ 52 w 130"/>
                <a:gd name="T53" fmla="*/ 128 h 129"/>
                <a:gd name="T54" fmla="*/ 58 w 130"/>
                <a:gd name="T55" fmla="*/ 129 h 129"/>
                <a:gd name="T56" fmla="*/ 65 w 130"/>
                <a:gd name="T57" fmla="*/ 129 h 129"/>
                <a:gd name="T58" fmla="*/ 65 w 130"/>
                <a:gd name="T59" fmla="*/ 129 h 129"/>
                <a:gd name="T60" fmla="*/ 71 w 130"/>
                <a:gd name="T61" fmla="*/ 129 h 129"/>
                <a:gd name="T62" fmla="*/ 78 w 130"/>
                <a:gd name="T63" fmla="*/ 128 h 129"/>
                <a:gd name="T64" fmla="*/ 84 w 130"/>
                <a:gd name="T65" fmla="*/ 126 h 129"/>
                <a:gd name="T66" fmla="*/ 90 w 130"/>
                <a:gd name="T67" fmla="*/ 124 h 129"/>
                <a:gd name="T68" fmla="*/ 101 w 130"/>
                <a:gd name="T69" fmla="*/ 118 h 129"/>
                <a:gd name="T70" fmla="*/ 110 w 130"/>
                <a:gd name="T71" fmla="*/ 110 h 129"/>
                <a:gd name="T72" fmla="*/ 118 w 130"/>
                <a:gd name="T73" fmla="*/ 101 h 129"/>
                <a:gd name="T74" fmla="*/ 125 w 130"/>
                <a:gd name="T75" fmla="*/ 90 h 129"/>
                <a:gd name="T76" fmla="*/ 127 w 130"/>
                <a:gd name="T77" fmla="*/ 83 h 129"/>
                <a:gd name="T78" fmla="*/ 129 w 130"/>
                <a:gd name="T79" fmla="*/ 77 h 129"/>
                <a:gd name="T80" fmla="*/ 130 w 130"/>
                <a:gd name="T81" fmla="*/ 71 h 129"/>
                <a:gd name="T82" fmla="*/ 130 w 130"/>
                <a:gd name="T83" fmla="*/ 65 h 129"/>
                <a:gd name="T84" fmla="*/ 130 w 130"/>
                <a:gd name="T85" fmla="*/ 65 h 129"/>
                <a:gd name="T86" fmla="*/ 130 w 130"/>
                <a:gd name="T87" fmla="*/ 58 h 129"/>
                <a:gd name="T88" fmla="*/ 129 w 130"/>
                <a:gd name="T89" fmla="*/ 52 h 129"/>
                <a:gd name="T90" fmla="*/ 127 w 130"/>
                <a:gd name="T91" fmla="*/ 46 h 129"/>
                <a:gd name="T92" fmla="*/ 125 w 130"/>
                <a:gd name="T93" fmla="*/ 40 h 129"/>
                <a:gd name="T94" fmla="*/ 118 w 130"/>
                <a:gd name="T95" fmla="*/ 28 h 129"/>
                <a:gd name="T96" fmla="*/ 110 w 130"/>
                <a:gd name="T97" fmla="*/ 19 h 129"/>
                <a:gd name="T98" fmla="*/ 101 w 130"/>
                <a:gd name="T99" fmla="*/ 11 h 129"/>
                <a:gd name="T100" fmla="*/ 90 w 130"/>
                <a:gd name="T101" fmla="*/ 5 h 129"/>
                <a:gd name="T102" fmla="*/ 84 w 130"/>
                <a:gd name="T103" fmla="*/ 3 h 129"/>
                <a:gd name="T104" fmla="*/ 78 w 130"/>
                <a:gd name="T105" fmla="*/ 1 h 129"/>
                <a:gd name="T106" fmla="*/ 71 w 130"/>
                <a:gd name="T107" fmla="*/ 0 h 129"/>
                <a:gd name="T108" fmla="*/ 65 w 130"/>
                <a:gd name="T109" fmla="*/ 0 h 129"/>
                <a:gd name="T110" fmla="*/ 65 w 130"/>
                <a:gd name="T11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29">
                  <a:moveTo>
                    <a:pt x="65" y="0"/>
                  </a:moveTo>
                  <a:lnTo>
                    <a:pt x="65" y="0"/>
                  </a:lnTo>
                  <a:lnTo>
                    <a:pt x="58" y="0"/>
                  </a:lnTo>
                  <a:lnTo>
                    <a:pt x="52" y="1"/>
                  </a:lnTo>
                  <a:lnTo>
                    <a:pt x="46" y="3"/>
                  </a:lnTo>
                  <a:lnTo>
                    <a:pt x="40" y="5"/>
                  </a:lnTo>
                  <a:lnTo>
                    <a:pt x="34" y="8"/>
                  </a:lnTo>
                  <a:lnTo>
                    <a:pt x="29" y="11"/>
                  </a:lnTo>
                  <a:lnTo>
                    <a:pt x="19" y="19"/>
                  </a:lnTo>
                  <a:lnTo>
                    <a:pt x="11" y="28"/>
                  </a:lnTo>
                  <a:lnTo>
                    <a:pt x="5" y="40"/>
                  </a:lnTo>
                  <a:lnTo>
                    <a:pt x="3" y="46"/>
                  </a:lnTo>
                  <a:lnTo>
                    <a:pt x="1" y="52"/>
                  </a:lnTo>
                  <a:lnTo>
                    <a:pt x="1" y="58"/>
                  </a:lnTo>
                  <a:lnTo>
                    <a:pt x="0" y="65"/>
                  </a:lnTo>
                  <a:lnTo>
                    <a:pt x="0" y="65"/>
                  </a:lnTo>
                  <a:lnTo>
                    <a:pt x="1" y="71"/>
                  </a:lnTo>
                  <a:lnTo>
                    <a:pt x="1" y="77"/>
                  </a:lnTo>
                  <a:lnTo>
                    <a:pt x="3" y="83"/>
                  </a:lnTo>
                  <a:lnTo>
                    <a:pt x="5" y="90"/>
                  </a:lnTo>
                  <a:lnTo>
                    <a:pt x="11" y="101"/>
                  </a:lnTo>
                  <a:lnTo>
                    <a:pt x="19" y="110"/>
                  </a:lnTo>
                  <a:lnTo>
                    <a:pt x="29" y="118"/>
                  </a:lnTo>
                  <a:lnTo>
                    <a:pt x="34" y="121"/>
                  </a:lnTo>
                  <a:lnTo>
                    <a:pt x="40" y="124"/>
                  </a:lnTo>
                  <a:lnTo>
                    <a:pt x="46" y="126"/>
                  </a:lnTo>
                  <a:lnTo>
                    <a:pt x="52" y="128"/>
                  </a:lnTo>
                  <a:lnTo>
                    <a:pt x="58" y="129"/>
                  </a:lnTo>
                  <a:lnTo>
                    <a:pt x="65" y="129"/>
                  </a:lnTo>
                  <a:lnTo>
                    <a:pt x="65" y="129"/>
                  </a:lnTo>
                  <a:lnTo>
                    <a:pt x="71" y="129"/>
                  </a:lnTo>
                  <a:lnTo>
                    <a:pt x="78" y="128"/>
                  </a:lnTo>
                  <a:lnTo>
                    <a:pt x="84" y="126"/>
                  </a:lnTo>
                  <a:lnTo>
                    <a:pt x="90" y="124"/>
                  </a:lnTo>
                  <a:lnTo>
                    <a:pt x="101" y="118"/>
                  </a:lnTo>
                  <a:lnTo>
                    <a:pt x="110" y="110"/>
                  </a:lnTo>
                  <a:lnTo>
                    <a:pt x="118" y="101"/>
                  </a:lnTo>
                  <a:lnTo>
                    <a:pt x="125" y="90"/>
                  </a:lnTo>
                  <a:lnTo>
                    <a:pt x="127" y="83"/>
                  </a:lnTo>
                  <a:lnTo>
                    <a:pt x="129" y="77"/>
                  </a:lnTo>
                  <a:lnTo>
                    <a:pt x="130" y="71"/>
                  </a:lnTo>
                  <a:lnTo>
                    <a:pt x="130" y="65"/>
                  </a:lnTo>
                  <a:lnTo>
                    <a:pt x="130" y="65"/>
                  </a:lnTo>
                  <a:lnTo>
                    <a:pt x="130" y="58"/>
                  </a:lnTo>
                  <a:lnTo>
                    <a:pt x="129" y="52"/>
                  </a:lnTo>
                  <a:lnTo>
                    <a:pt x="127" y="46"/>
                  </a:lnTo>
                  <a:lnTo>
                    <a:pt x="125" y="40"/>
                  </a:lnTo>
                  <a:lnTo>
                    <a:pt x="118" y="28"/>
                  </a:lnTo>
                  <a:lnTo>
                    <a:pt x="110" y="19"/>
                  </a:lnTo>
                  <a:lnTo>
                    <a:pt x="101" y="11"/>
                  </a:lnTo>
                  <a:lnTo>
                    <a:pt x="90" y="5"/>
                  </a:lnTo>
                  <a:lnTo>
                    <a:pt x="84" y="3"/>
                  </a:lnTo>
                  <a:lnTo>
                    <a:pt x="78" y="1"/>
                  </a:lnTo>
                  <a:lnTo>
                    <a:pt x="71"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33" name="Freeform 229"/>
            <p:cNvSpPr>
              <a:spLocks/>
            </p:cNvSpPr>
            <p:nvPr/>
          </p:nvSpPr>
          <p:spPr bwMode="auto">
            <a:xfrm>
              <a:off x="3407961" y="2066275"/>
              <a:ext cx="20203" cy="20199"/>
            </a:xfrm>
            <a:custGeom>
              <a:avLst/>
              <a:gdLst>
                <a:gd name="T0" fmla="*/ 65 w 129"/>
                <a:gd name="T1" fmla="*/ 0 h 129"/>
                <a:gd name="T2" fmla="*/ 65 w 129"/>
                <a:gd name="T3" fmla="*/ 0 h 129"/>
                <a:gd name="T4" fmla="*/ 58 w 129"/>
                <a:gd name="T5" fmla="*/ 0 h 129"/>
                <a:gd name="T6" fmla="*/ 52 w 129"/>
                <a:gd name="T7" fmla="*/ 1 h 129"/>
                <a:gd name="T8" fmla="*/ 45 w 129"/>
                <a:gd name="T9" fmla="*/ 3 h 129"/>
                <a:gd name="T10" fmla="*/ 39 w 129"/>
                <a:gd name="T11" fmla="*/ 5 h 129"/>
                <a:gd name="T12" fmla="*/ 28 w 129"/>
                <a:gd name="T13" fmla="*/ 11 h 129"/>
                <a:gd name="T14" fmla="*/ 19 w 129"/>
                <a:gd name="T15" fmla="*/ 19 h 129"/>
                <a:gd name="T16" fmla="*/ 11 w 129"/>
                <a:gd name="T17" fmla="*/ 28 h 129"/>
                <a:gd name="T18" fmla="*/ 5 w 129"/>
                <a:gd name="T19" fmla="*/ 40 h 129"/>
                <a:gd name="T20" fmla="*/ 3 w 129"/>
                <a:gd name="T21" fmla="*/ 46 h 129"/>
                <a:gd name="T22" fmla="*/ 1 w 129"/>
                <a:gd name="T23" fmla="*/ 52 h 129"/>
                <a:gd name="T24" fmla="*/ 1 w 129"/>
                <a:gd name="T25" fmla="*/ 58 h 129"/>
                <a:gd name="T26" fmla="*/ 0 w 129"/>
                <a:gd name="T27" fmla="*/ 65 h 129"/>
                <a:gd name="T28" fmla="*/ 0 w 129"/>
                <a:gd name="T29" fmla="*/ 65 h 129"/>
                <a:gd name="T30" fmla="*/ 1 w 129"/>
                <a:gd name="T31" fmla="*/ 71 h 129"/>
                <a:gd name="T32" fmla="*/ 1 w 129"/>
                <a:gd name="T33" fmla="*/ 77 h 129"/>
                <a:gd name="T34" fmla="*/ 3 w 129"/>
                <a:gd name="T35" fmla="*/ 83 h 129"/>
                <a:gd name="T36" fmla="*/ 5 w 129"/>
                <a:gd name="T37" fmla="*/ 90 h 129"/>
                <a:gd name="T38" fmla="*/ 11 w 129"/>
                <a:gd name="T39" fmla="*/ 101 h 129"/>
                <a:gd name="T40" fmla="*/ 19 w 129"/>
                <a:gd name="T41" fmla="*/ 110 h 129"/>
                <a:gd name="T42" fmla="*/ 28 w 129"/>
                <a:gd name="T43" fmla="*/ 118 h 129"/>
                <a:gd name="T44" fmla="*/ 39 w 129"/>
                <a:gd name="T45" fmla="*/ 124 h 129"/>
                <a:gd name="T46" fmla="*/ 45 w 129"/>
                <a:gd name="T47" fmla="*/ 126 h 129"/>
                <a:gd name="T48" fmla="*/ 52 w 129"/>
                <a:gd name="T49" fmla="*/ 128 h 129"/>
                <a:gd name="T50" fmla="*/ 58 w 129"/>
                <a:gd name="T51" fmla="*/ 129 h 129"/>
                <a:gd name="T52" fmla="*/ 65 w 129"/>
                <a:gd name="T53" fmla="*/ 129 h 129"/>
                <a:gd name="T54" fmla="*/ 65 w 129"/>
                <a:gd name="T55" fmla="*/ 129 h 129"/>
                <a:gd name="T56" fmla="*/ 71 w 129"/>
                <a:gd name="T57" fmla="*/ 129 h 129"/>
                <a:gd name="T58" fmla="*/ 77 w 129"/>
                <a:gd name="T59" fmla="*/ 128 h 129"/>
                <a:gd name="T60" fmla="*/ 83 w 129"/>
                <a:gd name="T61" fmla="*/ 126 h 129"/>
                <a:gd name="T62" fmla="*/ 89 w 129"/>
                <a:gd name="T63" fmla="*/ 124 h 129"/>
                <a:gd name="T64" fmla="*/ 101 w 129"/>
                <a:gd name="T65" fmla="*/ 118 h 129"/>
                <a:gd name="T66" fmla="*/ 110 w 129"/>
                <a:gd name="T67" fmla="*/ 110 h 129"/>
                <a:gd name="T68" fmla="*/ 118 w 129"/>
                <a:gd name="T69" fmla="*/ 101 h 129"/>
                <a:gd name="T70" fmla="*/ 124 w 129"/>
                <a:gd name="T71" fmla="*/ 90 h 129"/>
                <a:gd name="T72" fmla="*/ 126 w 129"/>
                <a:gd name="T73" fmla="*/ 83 h 129"/>
                <a:gd name="T74" fmla="*/ 128 w 129"/>
                <a:gd name="T75" fmla="*/ 77 h 129"/>
                <a:gd name="T76" fmla="*/ 129 w 129"/>
                <a:gd name="T77" fmla="*/ 71 h 129"/>
                <a:gd name="T78" fmla="*/ 129 w 129"/>
                <a:gd name="T79" fmla="*/ 65 h 129"/>
                <a:gd name="T80" fmla="*/ 129 w 129"/>
                <a:gd name="T81" fmla="*/ 65 h 129"/>
                <a:gd name="T82" fmla="*/ 129 w 129"/>
                <a:gd name="T83" fmla="*/ 58 h 129"/>
                <a:gd name="T84" fmla="*/ 128 w 129"/>
                <a:gd name="T85" fmla="*/ 52 h 129"/>
                <a:gd name="T86" fmla="*/ 126 w 129"/>
                <a:gd name="T87" fmla="*/ 46 h 129"/>
                <a:gd name="T88" fmla="*/ 124 w 129"/>
                <a:gd name="T89" fmla="*/ 40 h 129"/>
                <a:gd name="T90" fmla="*/ 118 w 129"/>
                <a:gd name="T91" fmla="*/ 28 h 129"/>
                <a:gd name="T92" fmla="*/ 110 w 129"/>
                <a:gd name="T93" fmla="*/ 19 h 129"/>
                <a:gd name="T94" fmla="*/ 101 w 129"/>
                <a:gd name="T95" fmla="*/ 11 h 129"/>
                <a:gd name="T96" fmla="*/ 95 w 129"/>
                <a:gd name="T97" fmla="*/ 8 h 129"/>
                <a:gd name="T98" fmla="*/ 89 w 129"/>
                <a:gd name="T99" fmla="*/ 5 h 129"/>
                <a:gd name="T100" fmla="*/ 83 w 129"/>
                <a:gd name="T101" fmla="*/ 3 h 129"/>
                <a:gd name="T102" fmla="*/ 77 w 129"/>
                <a:gd name="T103" fmla="*/ 1 h 129"/>
                <a:gd name="T104" fmla="*/ 71 w 129"/>
                <a:gd name="T105" fmla="*/ 0 h 129"/>
                <a:gd name="T106" fmla="*/ 65 w 129"/>
                <a:gd name="T107" fmla="*/ 0 h 129"/>
                <a:gd name="T108" fmla="*/ 65 w 129"/>
                <a:gd name="T109"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9" h="129">
                  <a:moveTo>
                    <a:pt x="65" y="0"/>
                  </a:moveTo>
                  <a:lnTo>
                    <a:pt x="65" y="0"/>
                  </a:lnTo>
                  <a:lnTo>
                    <a:pt x="58" y="0"/>
                  </a:lnTo>
                  <a:lnTo>
                    <a:pt x="52" y="1"/>
                  </a:lnTo>
                  <a:lnTo>
                    <a:pt x="45" y="3"/>
                  </a:lnTo>
                  <a:lnTo>
                    <a:pt x="39" y="5"/>
                  </a:lnTo>
                  <a:lnTo>
                    <a:pt x="28" y="11"/>
                  </a:lnTo>
                  <a:lnTo>
                    <a:pt x="19" y="19"/>
                  </a:lnTo>
                  <a:lnTo>
                    <a:pt x="11" y="28"/>
                  </a:lnTo>
                  <a:lnTo>
                    <a:pt x="5" y="40"/>
                  </a:lnTo>
                  <a:lnTo>
                    <a:pt x="3" y="46"/>
                  </a:lnTo>
                  <a:lnTo>
                    <a:pt x="1" y="52"/>
                  </a:lnTo>
                  <a:lnTo>
                    <a:pt x="1" y="58"/>
                  </a:lnTo>
                  <a:lnTo>
                    <a:pt x="0" y="65"/>
                  </a:lnTo>
                  <a:lnTo>
                    <a:pt x="0" y="65"/>
                  </a:lnTo>
                  <a:lnTo>
                    <a:pt x="1" y="71"/>
                  </a:lnTo>
                  <a:lnTo>
                    <a:pt x="1" y="77"/>
                  </a:lnTo>
                  <a:lnTo>
                    <a:pt x="3" y="83"/>
                  </a:lnTo>
                  <a:lnTo>
                    <a:pt x="5" y="90"/>
                  </a:lnTo>
                  <a:lnTo>
                    <a:pt x="11" y="101"/>
                  </a:lnTo>
                  <a:lnTo>
                    <a:pt x="19" y="110"/>
                  </a:lnTo>
                  <a:lnTo>
                    <a:pt x="28" y="118"/>
                  </a:lnTo>
                  <a:lnTo>
                    <a:pt x="39" y="124"/>
                  </a:lnTo>
                  <a:lnTo>
                    <a:pt x="45" y="126"/>
                  </a:lnTo>
                  <a:lnTo>
                    <a:pt x="52" y="128"/>
                  </a:lnTo>
                  <a:lnTo>
                    <a:pt x="58" y="129"/>
                  </a:lnTo>
                  <a:lnTo>
                    <a:pt x="65" y="129"/>
                  </a:lnTo>
                  <a:lnTo>
                    <a:pt x="65" y="129"/>
                  </a:lnTo>
                  <a:lnTo>
                    <a:pt x="71" y="129"/>
                  </a:lnTo>
                  <a:lnTo>
                    <a:pt x="77" y="128"/>
                  </a:lnTo>
                  <a:lnTo>
                    <a:pt x="83" y="126"/>
                  </a:lnTo>
                  <a:lnTo>
                    <a:pt x="89" y="124"/>
                  </a:lnTo>
                  <a:lnTo>
                    <a:pt x="101" y="118"/>
                  </a:lnTo>
                  <a:lnTo>
                    <a:pt x="110" y="110"/>
                  </a:lnTo>
                  <a:lnTo>
                    <a:pt x="118" y="101"/>
                  </a:lnTo>
                  <a:lnTo>
                    <a:pt x="124" y="90"/>
                  </a:lnTo>
                  <a:lnTo>
                    <a:pt x="126" y="83"/>
                  </a:lnTo>
                  <a:lnTo>
                    <a:pt x="128" y="77"/>
                  </a:lnTo>
                  <a:lnTo>
                    <a:pt x="129" y="71"/>
                  </a:lnTo>
                  <a:lnTo>
                    <a:pt x="129" y="65"/>
                  </a:lnTo>
                  <a:lnTo>
                    <a:pt x="129" y="65"/>
                  </a:lnTo>
                  <a:lnTo>
                    <a:pt x="129" y="58"/>
                  </a:lnTo>
                  <a:lnTo>
                    <a:pt x="128" y="52"/>
                  </a:lnTo>
                  <a:lnTo>
                    <a:pt x="126" y="46"/>
                  </a:lnTo>
                  <a:lnTo>
                    <a:pt x="124" y="40"/>
                  </a:lnTo>
                  <a:lnTo>
                    <a:pt x="118" y="28"/>
                  </a:lnTo>
                  <a:lnTo>
                    <a:pt x="110" y="19"/>
                  </a:lnTo>
                  <a:lnTo>
                    <a:pt x="101" y="11"/>
                  </a:lnTo>
                  <a:lnTo>
                    <a:pt x="95" y="8"/>
                  </a:lnTo>
                  <a:lnTo>
                    <a:pt x="89" y="5"/>
                  </a:lnTo>
                  <a:lnTo>
                    <a:pt x="83" y="3"/>
                  </a:lnTo>
                  <a:lnTo>
                    <a:pt x="77" y="1"/>
                  </a:lnTo>
                  <a:lnTo>
                    <a:pt x="71"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34" name="Freeform 230"/>
            <p:cNvSpPr>
              <a:spLocks/>
            </p:cNvSpPr>
            <p:nvPr/>
          </p:nvSpPr>
          <p:spPr bwMode="auto">
            <a:xfrm>
              <a:off x="3445000" y="2066275"/>
              <a:ext cx="20203" cy="20199"/>
            </a:xfrm>
            <a:custGeom>
              <a:avLst/>
              <a:gdLst>
                <a:gd name="T0" fmla="*/ 65 w 130"/>
                <a:gd name="T1" fmla="*/ 0 h 129"/>
                <a:gd name="T2" fmla="*/ 65 w 130"/>
                <a:gd name="T3" fmla="*/ 0 h 129"/>
                <a:gd name="T4" fmla="*/ 58 w 130"/>
                <a:gd name="T5" fmla="*/ 0 h 129"/>
                <a:gd name="T6" fmla="*/ 52 w 130"/>
                <a:gd name="T7" fmla="*/ 1 h 129"/>
                <a:gd name="T8" fmla="*/ 46 w 130"/>
                <a:gd name="T9" fmla="*/ 3 h 129"/>
                <a:gd name="T10" fmla="*/ 40 w 130"/>
                <a:gd name="T11" fmla="*/ 5 h 129"/>
                <a:gd name="T12" fmla="*/ 34 w 130"/>
                <a:gd name="T13" fmla="*/ 8 h 129"/>
                <a:gd name="T14" fmla="*/ 29 w 130"/>
                <a:gd name="T15" fmla="*/ 11 h 129"/>
                <a:gd name="T16" fmla="*/ 19 w 130"/>
                <a:gd name="T17" fmla="*/ 19 h 129"/>
                <a:gd name="T18" fmla="*/ 11 w 130"/>
                <a:gd name="T19" fmla="*/ 28 h 129"/>
                <a:gd name="T20" fmla="*/ 5 w 130"/>
                <a:gd name="T21" fmla="*/ 40 h 129"/>
                <a:gd name="T22" fmla="*/ 3 w 130"/>
                <a:gd name="T23" fmla="*/ 46 h 129"/>
                <a:gd name="T24" fmla="*/ 1 w 130"/>
                <a:gd name="T25" fmla="*/ 52 h 129"/>
                <a:gd name="T26" fmla="*/ 1 w 130"/>
                <a:gd name="T27" fmla="*/ 58 h 129"/>
                <a:gd name="T28" fmla="*/ 0 w 130"/>
                <a:gd name="T29" fmla="*/ 65 h 129"/>
                <a:gd name="T30" fmla="*/ 0 w 130"/>
                <a:gd name="T31" fmla="*/ 65 h 129"/>
                <a:gd name="T32" fmla="*/ 1 w 130"/>
                <a:gd name="T33" fmla="*/ 71 h 129"/>
                <a:gd name="T34" fmla="*/ 1 w 130"/>
                <a:gd name="T35" fmla="*/ 77 h 129"/>
                <a:gd name="T36" fmla="*/ 3 w 130"/>
                <a:gd name="T37" fmla="*/ 83 h 129"/>
                <a:gd name="T38" fmla="*/ 5 w 130"/>
                <a:gd name="T39" fmla="*/ 90 h 129"/>
                <a:gd name="T40" fmla="*/ 8 w 130"/>
                <a:gd name="T41" fmla="*/ 96 h 129"/>
                <a:gd name="T42" fmla="*/ 11 w 130"/>
                <a:gd name="T43" fmla="*/ 101 h 129"/>
                <a:gd name="T44" fmla="*/ 19 w 130"/>
                <a:gd name="T45" fmla="*/ 110 h 129"/>
                <a:gd name="T46" fmla="*/ 29 w 130"/>
                <a:gd name="T47" fmla="*/ 118 h 129"/>
                <a:gd name="T48" fmla="*/ 34 w 130"/>
                <a:gd name="T49" fmla="*/ 121 h 129"/>
                <a:gd name="T50" fmla="*/ 40 w 130"/>
                <a:gd name="T51" fmla="*/ 124 h 129"/>
                <a:gd name="T52" fmla="*/ 46 w 130"/>
                <a:gd name="T53" fmla="*/ 126 h 129"/>
                <a:gd name="T54" fmla="*/ 52 w 130"/>
                <a:gd name="T55" fmla="*/ 128 h 129"/>
                <a:gd name="T56" fmla="*/ 58 w 130"/>
                <a:gd name="T57" fmla="*/ 129 h 129"/>
                <a:gd name="T58" fmla="*/ 65 w 130"/>
                <a:gd name="T59" fmla="*/ 129 h 129"/>
                <a:gd name="T60" fmla="*/ 65 w 130"/>
                <a:gd name="T61" fmla="*/ 129 h 129"/>
                <a:gd name="T62" fmla="*/ 72 w 130"/>
                <a:gd name="T63" fmla="*/ 129 h 129"/>
                <a:gd name="T64" fmla="*/ 78 w 130"/>
                <a:gd name="T65" fmla="*/ 128 h 129"/>
                <a:gd name="T66" fmla="*/ 85 w 130"/>
                <a:gd name="T67" fmla="*/ 126 h 129"/>
                <a:gd name="T68" fmla="*/ 90 w 130"/>
                <a:gd name="T69" fmla="*/ 124 h 129"/>
                <a:gd name="T70" fmla="*/ 101 w 130"/>
                <a:gd name="T71" fmla="*/ 118 h 129"/>
                <a:gd name="T72" fmla="*/ 110 w 130"/>
                <a:gd name="T73" fmla="*/ 110 h 129"/>
                <a:gd name="T74" fmla="*/ 118 w 130"/>
                <a:gd name="T75" fmla="*/ 101 h 129"/>
                <a:gd name="T76" fmla="*/ 125 w 130"/>
                <a:gd name="T77" fmla="*/ 90 h 129"/>
                <a:gd name="T78" fmla="*/ 127 w 130"/>
                <a:gd name="T79" fmla="*/ 83 h 129"/>
                <a:gd name="T80" fmla="*/ 129 w 130"/>
                <a:gd name="T81" fmla="*/ 77 h 129"/>
                <a:gd name="T82" fmla="*/ 130 w 130"/>
                <a:gd name="T83" fmla="*/ 71 h 129"/>
                <a:gd name="T84" fmla="*/ 130 w 130"/>
                <a:gd name="T85" fmla="*/ 65 h 129"/>
                <a:gd name="T86" fmla="*/ 130 w 130"/>
                <a:gd name="T87" fmla="*/ 65 h 129"/>
                <a:gd name="T88" fmla="*/ 130 w 130"/>
                <a:gd name="T89" fmla="*/ 58 h 129"/>
                <a:gd name="T90" fmla="*/ 129 w 130"/>
                <a:gd name="T91" fmla="*/ 52 h 129"/>
                <a:gd name="T92" fmla="*/ 127 w 130"/>
                <a:gd name="T93" fmla="*/ 46 h 129"/>
                <a:gd name="T94" fmla="*/ 125 w 130"/>
                <a:gd name="T95" fmla="*/ 40 h 129"/>
                <a:gd name="T96" fmla="*/ 118 w 130"/>
                <a:gd name="T97" fmla="*/ 28 h 129"/>
                <a:gd name="T98" fmla="*/ 110 w 130"/>
                <a:gd name="T99" fmla="*/ 19 h 129"/>
                <a:gd name="T100" fmla="*/ 101 w 130"/>
                <a:gd name="T101" fmla="*/ 11 h 129"/>
                <a:gd name="T102" fmla="*/ 90 w 130"/>
                <a:gd name="T103" fmla="*/ 5 h 129"/>
                <a:gd name="T104" fmla="*/ 85 w 130"/>
                <a:gd name="T105" fmla="*/ 3 h 129"/>
                <a:gd name="T106" fmla="*/ 78 w 130"/>
                <a:gd name="T107" fmla="*/ 1 h 129"/>
                <a:gd name="T108" fmla="*/ 72 w 130"/>
                <a:gd name="T109" fmla="*/ 0 h 129"/>
                <a:gd name="T110" fmla="*/ 65 w 130"/>
                <a:gd name="T111" fmla="*/ 0 h 129"/>
                <a:gd name="T112" fmla="*/ 65 w 130"/>
                <a:gd name="T113"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29">
                  <a:moveTo>
                    <a:pt x="65" y="0"/>
                  </a:moveTo>
                  <a:lnTo>
                    <a:pt x="65" y="0"/>
                  </a:lnTo>
                  <a:lnTo>
                    <a:pt x="58" y="0"/>
                  </a:lnTo>
                  <a:lnTo>
                    <a:pt x="52" y="1"/>
                  </a:lnTo>
                  <a:lnTo>
                    <a:pt x="46" y="3"/>
                  </a:lnTo>
                  <a:lnTo>
                    <a:pt x="40" y="5"/>
                  </a:lnTo>
                  <a:lnTo>
                    <a:pt x="34" y="8"/>
                  </a:lnTo>
                  <a:lnTo>
                    <a:pt x="29" y="11"/>
                  </a:lnTo>
                  <a:lnTo>
                    <a:pt x="19" y="19"/>
                  </a:lnTo>
                  <a:lnTo>
                    <a:pt x="11" y="28"/>
                  </a:lnTo>
                  <a:lnTo>
                    <a:pt x="5" y="40"/>
                  </a:lnTo>
                  <a:lnTo>
                    <a:pt x="3" y="46"/>
                  </a:lnTo>
                  <a:lnTo>
                    <a:pt x="1" y="52"/>
                  </a:lnTo>
                  <a:lnTo>
                    <a:pt x="1" y="58"/>
                  </a:lnTo>
                  <a:lnTo>
                    <a:pt x="0" y="65"/>
                  </a:lnTo>
                  <a:lnTo>
                    <a:pt x="0" y="65"/>
                  </a:lnTo>
                  <a:lnTo>
                    <a:pt x="1" y="71"/>
                  </a:lnTo>
                  <a:lnTo>
                    <a:pt x="1" y="77"/>
                  </a:lnTo>
                  <a:lnTo>
                    <a:pt x="3" y="83"/>
                  </a:lnTo>
                  <a:lnTo>
                    <a:pt x="5" y="90"/>
                  </a:lnTo>
                  <a:lnTo>
                    <a:pt x="8" y="96"/>
                  </a:lnTo>
                  <a:lnTo>
                    <a:pt x="11" y="101"/>
                  </a:lnTo>
                  <a:lnTo>
                    <a:pt x="19" y="110"/>
                  </a:lnTo>
                  <a:lnTo>
                    <a:pt x="29" y="118"/>
                  </a:lnTo>
                  <a:lnTo>
                    <a:pt x="34" y="121"/>
                  </a:lnTo>
                  <a:lnTo>
                    <a:pt x="40" y="124"/>
                  </a:lnTo>
                  <a:lnTo>
                    <a:pt x="46" y="126"/>
                  </a:lnTo>
                  <a:lnTo>
                    <a:pt x="52" y="128"/>
                  </a:lnTo>
                  <a:lnTo>
                    <a:pt x="58" y="129"/>
                  </a:lnTo>
                  <a:lnTo>
                    <a:pt x="65" y="129"/>
                  </a:lnTo>
                  <a:lnTo>
                    <a:pt x="65" y="129"/>
                  </a:lnTo>
                  <a:lnTo>
                    <a:pt x="72" y="129"/>
                  </a:lnTo>
                  <a:lnTo>
                    <a:pt x="78" y="128"/>
                  </a:lnTo>
                  <a:lnTo>
                    <a:pt x="85" y="126"/>
                  </a:lnTo>
                  <a:lnTo>
                    <a:pt x="90" y="124"/>
                  </a:lnTo>
                  <a:lnTo>
                    <a:pt x="101" y="118"/>
                  </a:lnTo>
                  <a:lnTo>
                    <a:pt x="110" y="110"/>
                  </a:lnTo>
                  <a:lnTo>
                    <a:pt x="118" y="101"/>
                  </a:lnTo>
                  <a:lnTo>
                    <a:pt x="125" y="90"/>
                  </a:lnTo>
                  <a:lnTo>
                    <a:pt x="127" y="83"/>
                  </a:lnTo>
                  <a:lnTo>
                    <a:pt x="129" y="77"/>
                  </a:lnTo>
                  <a:lnTo>
                    <a:pt x="130" y="71"/>
                  </a:lnTo>
                  <a:lnTo>
                    <a:pt x="130" y="65"/>
                  </a:lnTo>
                  <a:lnTo>
                    <a:pt x="130" y="65"/>
                  </a:lnTo>
                  <a:lnTo>
                    <a:pt x="130" y="58"/>
                  </a:lnTo>
                  <a:lnTo>
                    <a:pt x="129" y="52"/>
                  </a:lnTo>
                  <a:lnTo>
                    <a:pt x="127" y="46"/>
                  </a:lnTo>
                  <a:lnTo>
                    <a:pt x="125" y="40"/>
                  </a:lnTo>
                  <a:lnTo>
                    <a:pt x="118" y="28"/>
                  </a:lnTo>
                  <a:lnTo>
                    <a:pt x="110" y="19"/>
                  </a:lnTo>
                  <a:lnTo>
                    <a:pt x="101" y="11"/>
                  </a:lnTo>
                  <a:lnTo>
                    <a:pt x="90" y="5"/>
                  </a:lnTo>
                  <a:lnTo>
                    <a:pt x="85" y="3"/>
                  </a:lnTo>
                  <a:lnTo>
                    <a:pt x="78" y="1"/>
                  </a:lnTo>
                  <a:lnTo>
                    <a:pt x="72"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35" name="Freeform 231"/>
            <p:cNvSpPr>
              <a:spLocks/>
            </p:cNvSpPr>
            <p:nvPr/>
          </p:nvSpPr>
          <p:spPr bwMode="auto">
            <a:xfrm>
              <a:off x="3538159" y="1973140"/>
              <a:ext cx="20203" cy="20199"/>
            </a:xfrm>
            <a:custGeom>
              <a:avLst/>
              <a:gdLst>
                <a:gd name="T0" fmla="*/ 65 w 130"/>
                <a:gd name="T1" fmla="*/ 129 h 129"/>
                <a:gd name="T2" fmla="*/ 65 w 130"/>
                <a:gd name="T3" fmla="*/ 129 h 129"/>
                <a:gd name="T4" fmla="*/ 72 w 130"/>
                <a:gd name="T5" fmla="*/ 129 h 129"/>
                <a:gd name="T6" fmla="*/ 78 w 130"/>
                <a:gd name="T7" fmla="*/ 128 h 129"/>
                <a:gd name="T8" fmla="*/ 84 w 130"/>
                <a:gd name="T9" fmla="*/ 126 h 129"/>
                <a:gd name="T10" fmla="*/ 90 w 130"/>
                <a:gd name="T11" fmla="*/ 124 h 129"/>
                <a:gd name="T12" fmla="*/ 101 w 130"/>
                <a:gd name="T13" fmla="*/ 118 h 129"/>
                <a:gd name="T14" fmla="*/ 110 w 130"/>
                <a:gd name="T15" fmla="*/ 111 h 129"/>
                <a:gd name="T16" fmla="*/ 119 w 130"/>
                <a:gd name="T17" fmla="*/ 100 h 129"/>
                <a:gd name="T18" fmla="*/ 122 w 130"/>
                <a:gd name="T19" fmla="*/ 95 h 129"/>
                <a:gd name="T20" fmla="*/ 125 w 130"/>
                <a:gd name="T21" fmla="*/ 90 h 129"/>
                <a:gd name="T22" fmla="*/ 127 w 130"/>
                <a:gd name="T23" fmla="*/ 84 h 129"/>
                <a:gd name="T24" fmla="*/ 128 w 130"/>
                <a:gd name="T25" fmla="*/ 78 h 129"/>
                <a:gd name="T26" fmla="*/ 129 w 130"/>
                <a:gd name="T27" fmla="*/ 71 h 129"/>
                <a:gd name="T28" fmla="*/ 130 w 130"/>
                <a:gd name="T29" fmla="*/ 65 h 129"/>
                <a:gd name="T30" fmla="*/ 130 w 130"/>
                <a:gd name="T31" fmla="*/ 65 h 129"/>
                <a:gd name="T32" fmla="*/ 129 w 130"/>
                <a:gd name="T33" fmla="*/ 58 h 129"/>
                <a:gd name="T34" fmla="*/ 128 w 130"/>
                <a:gd name="T35" fmla="*/ 51 h 129"/>
                <a:gd name="T36" fmla="*/ 127 w 130"/>
                <a:gd name="T37" fmla="*/ 45 h 129"/>
                <a:gd name="T38" fmla="*/ 125 w 130"/>
                <a:gd name="T39" fmla="*/ 39 h 129"/>
                <a:gd name="T40" fmla="*/ 119 w 130"/>
                <a:gd name="T41" fmla="*/ 28 h 129"/>
                <a:gd name="T42" fmla="*/ 110 w 130"/>
                <a:gd name="T43" fmla="*/ 19 h 129"/>
                <a:gd name="T44" fmla="*/ 101 w 130"/>
                <a:gd name="T45" fmla="*/ 11 h 129"/>
                <a:gd name="T46" fmla="*/ 90 w 130"/>
                <a:gd name="T47" fmla="*/ 6 h 129"/>
                <a:gd name="T48" fmla="*/ 84 w 130"/>
                <a:gd name="T49" fmla="*/ 3 h 129"/>
                <a:gd name="T50" fmla="*/ 78 w 130"/>
                <a:gd name="T51" fmla="*/ 1 h 129"/>
                <a:gd name="T52" fmla="*/ 72 w 130"/>
                <a:gd name="T53" fmla="*/ 0 h 129"/>
                <a:gd name="T54" fmla="*/ 65 w 130"/>
                <a:gd name="T55" fmla="*/ 0 h 129"/>
                <a:gd name="T56" fmla="*/ 65 w 130"/>
                <a:gd name="T57" fmla="*/ 0 h 129"/>
                <a:gd name="T58" fmla="*/ 58 w 130"/>
                <a:gd name="T59" fmla="*/ 0 h 129"/>
                <a:gd name="T60" fmla="*/ 51 w 130"/>
                <a:gd name="T61" fmla="*/ 1 h 129"/>
                <a:gd name="T62" fmla="*/ 45 w 130"/>
                <a:gd name="T63" fmla="*/ 3 h 129"/>
                <a:gd name="T64" fmla="*/ 40 w 130"/>
                <a:gd name="T65" fmla="*/ 6 h 129"/>
                <a:gd name="T66" fmla="*/ 29 w 130"/>
                <a:gd name="T67" fmla="*/ 11 h 129"/>
                <a:gd name="T68" fmla="*/ 20 w 130"/>
                <a:gd name="T69" fmla="*/ 19 h 129"/>
                <a:gd name="T70" fmla="*/ 12 w 130"/>
                <a:gd name="T71" fmla="*/ 28 h 129"/>
                <a:gd name="T72" fmla="*/ 5 w 130"/>
                <a:gd name="T73" fmla="*/ 39 h 129"/>
                <a:gd name="T74" fmla="*/ 3 w 130"/>
                <a:gd name="T75" fmla="*/ 45 h 129"/>
                <a:gd name="T76" fmla="*/ 1 w 130"/>
                <a:gd name="T77" fmla="*/ 51 h 129"/>
                <a:gd name="T78" fmla="*/ 0 w 130"/>
                <a:gd name="T79" fmla="*/ 58 h 129"/>
                <a:gd name="T80" fmla="*/ 0 w 130"/>
                <a:gd name="T81" fmla="*/ 65 h 129"/>
                <a:gd name="T82" fmla="*/ 0 w 130"/>
                <a:gd name="T83" fmla="*/ 65 h 129"/>
                <a:gd name="T84" fmla="*/ 0 w 130"/>
                <a:gd name="T85" fmla="*/ 71 h 129"/>
                <a:gd name="T86" fmla="*/ 1 w 130"/>
                <a:gd name="T87" fmla="*/ 78 h 129"/>
                <a:gd name="T88" fmla="*/ 3 w 130"/>
                <a:gd name="T89" fmla="*/ 84 h 129"/>
                <a:gd name="T90" fmla="*/ 5 w 130"/>
                <a:gd name="T91" fmla="*/ 90 h 129"/>
                <a:gd name="T92" fmla="*/ 12 w 130"/>
                <a:gd name="T93" fmla="*/ 100 h 129"/>
                <a:gd name="T94" fmla="*/ 20 w 130"/>
                <a:gd name="T95" fmla="*/ 111 h 129"/>
                <a:gd name="T96" fmla="*/ 29 w 130"/>
                <a:gd name="T97" fmla="*/ 118 h 129"/>
                <a:gd name="T98" fmla="*/ 40 w 130"/>
                <a:gd name="T99" fmla="*/ 124 h 129"/>
                <a:gd name="T100" fmla="*/ 45 w 130"/>
                <a:gd name="T101" fmla="*/ 126 h 129"/>
                <a:gd name="T102" fmla="*/ 51 w 130"/>
                <a:gd name="T103" fmla="*/ 128 h 129"/>
                <a:gd name="T104" fmla="*/ 58 w 130"/>
                <a:gd name="T105" fmla="*/ 129 h 129"/>
                <a:gd name="T106" fmla="*/ 65 w 130"/>
                <a:gd name="T107" fmla="*/ 129 h 129"/>
                <a:gd name="T108" fmla="*/ 65 w 130"/>
                <a:gd name="T109"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30" h="129">
                  <a:moveTo>
                    <a:pt x="65" y="129"/>
                  </a:moveTo>
                  <a:lnTo>
                    <a:pt x="65" y="129"/>
                  </a:lnTo>
                  <a:lnTo>
                    <a:pt x="72" y="129"/>
                  </a:lnTo>
                  <a:lnTo>
                    <a:pt x="78" y="128"/>
                  </a:lnTo>
                  <a:lnTo>
                    <a:pt x="84" y="126"/>
                  </a:lnTo>
                  <a:lnTo>
                    <a:pt x="90" y="124"/>
                  </a:lnTo>
                  <a:lnTo>
                    <a:pt x="101" y="118"/>
                  </a:lnTo>
                  <a:lnTo>
                    <a:pt x="110" y="111"/>
                  </a:lnTo>
                  <a:lnTo>
                    <a:pt x="119" y="100"/>
                  </a:lnTo>
                  <a:lnTo>
                    <a:pt x="122" y="95"/>
                  </a:lnTo>
                  <a:lnTo>
                    <a:pt x="125" y="90"/>
                  </a:lnTo>
                  <a:lnTo>
                    <a:pt x="127" y="84"/>
                  </a:lnTo>
                  <a:lnTo>
                    <a:pt x="128" y="78"/>
                  </a:lnTo>
                  <a:lnTo>
                    <a:pt x="129" y="71"/>
                  </a:lnTo>
                  <a:lnTo>
                    <a:pt x="130" y="65"/>
                  </a:lnTo>
                  <a:lnTo>
                    <a:pt x="130" y="65"/>
                  </a:lnTo>
                  <a:lnTo>
                    <a:pt x="129" y="58"/>
                  </a:lnTo>
                  <a:lnTo>
                    <a:pt x="128" y="51"/>
                  </a:lnTo>
                  <a:lnTo>
                    <a:pt x="127" y="45"/>
                  </a:lnTo>
                  <a:lnTo>
                    <a:pt x="125" y="39"/>
                  </a:lnTo>
                  <a:lnTo>
                    <a:pt x="119" y="28"/>
                  </a:lnTo>
                  <a:lnTo>
                    <a:pt x="110" y="19"/>
                  </a:lnTo>
                  <a:lnTo>
                    <a:pt x="101" y="11"/>
                  </a:lnTo>
                  <a:lnTo>
                    <a:pt x="90" y="6"/>
                  </a:lnTo>
                  <a:lnTo>
                    <a:pt x="84" y="3"/>
                  </a:lnTo>
                  <a:lnTo>
                    <a:pt x="78" y="1"/>
                  </a:lnTo>
                  <a:lnTo>
                    <a:pt x="72" y="0"/>
                  </a:lnTo>
                  <a:lnTo>
                    <a:pt x="65" y="0"/>
                  </a:lnTo>
                  <a:lnTo>
                    <a:pt x="65" y="0"/>
                  </a:lnTo>
                  <a:lnTo>
                    <a:pt x="58" y="0"/>
                  </a:lnTo>
                  <a:lnTo>
                    <a:pt x="51" y="1"/>
                  </a:lnTo>
                  <a:lnTo>
                    <a:pt x="45" y="3"/>
                  </a:lnTo>
                  <a:lnTo>
                    <a:pt x="40" y="6"/>
                  </a:lnTo>
                  <a:lnTo>
                    <a:pt x="29" y="11"/>
                  </a:lnTo>
                  <a:lnTo>
                    <a:pt x="20" y="19"/>
                  </a:lnTo>
                  <a:lnTo>
                    <a:pt x="12" y="28"/>
                  </a:lnTo>
                  <a:lnTo>
                    <a:pt x="5" y="39"/>
                  </a:lnTo>
                  <a:lnTo>
                    <a:pt x="3" y="45"/>
                  </a:lnTo>
                  <a:lnTo>
                    <a:pt x="1" y="51"/>
                  </a:lnTo>
                  <a:lnTo>
                    <a:pt x="0" y="58"/>
                  </a:lnTo>
                  <a:lnTo>
                    <a:pt x="0" y="65"/>
                  </a:lnTo>
                  <a:lnTo>
                    <a:pt x="0" y="65"/>
                  </a:lnTo>
                  <a:lnTo>
                    <a:pt x="0" y="71"/>
                  </a:lnTo>
                  <a:lnTo>
                    <a:pt x="1" y="78"/>
                  </a:lnTo>
                  <a:lnTo>
                    <a:pt x="3" y="84"/>
                  </a:lnTo>
                  <a:lnTo>
                    <a:pt x="5" y="90"/>
                  </a:lnTo>
                  <a:lnTo>
                    <a:pt x="12" y="100"/>
                  </a:lnTo>
                  <a:lnTo>
                    <a:pt x="20" y="111"/>
                  </a:lnTo>
                  <a:lnTo>
                    <a:pt x="29" y="118"/>
                  </a:lnTo>
                  <a:lnTo>
                    <a:pt x="40" y="124"/>
                  </a:lnTo>
                  <a:lnTo>
                    <a:pt x="45" y="126"/>
                  </a:lnTo>
                  <a:lnTo>
                    <a:pt x="51" y="128"/>
                  </a:lnTo>
                  <a:lnTo>
                    <a:pt x="58" y="129"/>
                  </a:lnTo>
                  <a:lnTo>
                    <a:pt x="65" y="129"/>
                  </a:lnTo>
                  <a:lnTo>
                    <a:pt x="65" y="129"/>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36" name="Freeform 232"/>
            <p:cNvSpPr>
              <a:spLocks/>
            </p:cNvSpPr>
            <p:nvPr/>
          </p:nvSpPr>
          <p:spPr bwMode="auto">
            <a:xfrm>
              <a:off x="3538159" y="1936109"/>
              <a:ext cx="20203" cy="20199"/>
            </a:xfrm>
            <a:custGeom>
              <a:avLst/>
              <a:gdLst>
                <a:gd name="T0" fmla="*/ 65 w 130"/>
                <a:gd name="T1" fmla="*/ 128 h 128"/>
                <a:gd name="T2" fmla="*/ 65 w 130"/>
                <a:gd name="T3" fmla="*/ 128 h 128"/>
                <a:gd name="T4" fmla="*/ 72 w 130"/>
                <a:gd name="T5" fmla="*/ 128 h 128"/>
                <a:gd name="T6" fmla="*/ 78 w 130"/>
                <a:gd name="T7" fmla="*/ 127 h 128"/>
                <a:gd name="T8" fmla="*/ 84 w 130"/>
                <a:gd name="T9" fmla="*/ 125 h 128"/>
                <a:gd name="T10" fmla="*/ 90 w 130"/>
                <a:gd name="T11" fmla="*/ 123 h 128"/>
                <a:gd name="T12" fmla="*/ 95 w 130"/>
                <a:gd name="T13" fmla="*/ 121 h 128"/>
                <a:gd name="T14" fmla="*/ 101 w 130"/>
                <a:gd name="T15" fmla="*/ 117 h 128"/>
                <a:gd name="T16" fmla="*/ 110 w 130"/>
                <a:gd name="T17" fmla="*/ 110 h 128"/>
                <a:gd name="T18" fmla="*/ 119 w 130"/>
                <a:gd name="T19" fmla="*/ 100 h 128"/>
                <a:gd name="T20" fmla="*/ 125 w 130"/>
                <a:gd name="T21" fmla="*/ 90 h 128"/>
                <a:gd name="T22" fmla="*/ 127 w 130"/>
                <a:gd name="T23" fmla="*/ 84 h 128"/>
                <a:gd name="T24" fmla="*/ 128 w 130"/>
                <a:gd name="T25" fmla="*/ 77 h 128"/>
                <a:gd name="T26" fmla="*/ 129 w 130"/>
                <a:gd name="T27" fmla="*/ 70 h 128"/>
                <a:gd name="T28" fmla="*/ 130 w 130"/>
                <a:gd name="T29" fmla="*/ 64 h 128"/>
                <a:gd name="T30" fmla="*/ 130 w 130"/>
                <a:gd name="T31" fmla="*/ 64 h 128"/>
                <a:gd name="T32" fmla="*/ 129 w 130"/>
                <a:gd name="T33" fmla="*/ 57 h 128"/>
                <a:gd name="T34" fmla="*/ 128 w 130"/>
                <a:gd name="T35" fmla="*/ 51 h 128"/>
                <a:gd name="T36" fmla="*/ 127 w 130"/>
                <a:gd name="T37" fmla="*/ 45 h 128"/>
                <a:gd name="T38" fmla="*/ 125 w 130"/>
                <a:gd name="T39" fmla="*/ 39 h 128"/>
                <a:gd name="T40" fmla="*/ 122 w 130"/>
                <a:gd name="T41" fmla="*/ 34 h 128"/>
                <a:gd name="T42" fmla="*/ 119 w 130"/>
                <a:gd name="T43" fmla="*/ 27 h 128"/>
                <a:gd name="T44" fmla="*/ 110 w 130"/>
                <a:gd name="T45" fmla="*/ 18 h 128"/>
                <a:gd name="T46" fmla="*/ 101 w 130"/>
                <a:gd name="T47" fmla="*/ 10 h 128"/>
                <a:gd name="T48" fmla="*/ 90 w 130"/>
                <a:gd name="T49" fmla="*/ 5 h 128"/>
                <a:gd name="T50" fmla="*/ 84 w 130"/>
                <a:gd name="T51" fmla="*/ 2 h 128"/>
                <a:gd name="T52" fmla="*/ 78 w 130"/>
                <a:gd name="T53" fmla="*/ 1 h 128"/>
                <a:gd name="T54" fmla="*/ 72 w 130"/>
                <a:gd name="T55" fmla="*/ 0 h 128"/>
                <a:gd name="T56" fmla="*/ 65 w 130"/>
                <a:gd name="T57" fmla="*/ 0 h 128"/>
                <a:gd name="T58" fmla="*/ 65 w 130"/>
                <a:gd name="T59" fmla="*/ 0 h 128"/>
                <a:gd name="T60" fmla="*/ 58 w 130"/>
                <a:gd name="T61" fmla="*/ 0 h 128"/>
                <a:gd name="T62" fmla="*/ 51 w 130"/>
                <a:gd name="T63" fmla="*/ 1 h 128"/>
                <a:gd name="T64" fmla="*/ 45 w 130"/>
                <a:gd name="T65" fmla="*/ 2 h 128"/>
                <a:gd name="T66" fmla="*/ 40 w 130"/>
                <a:gd name="T67" fmla="*/ 5 h 128"/>
                <a:gd name="T68" fmla="*/ 29 w 130"/>
                <a:gd name="T69" fmla="*/ 10 h 128"/>
                <a:gd name="T70" fmla="*/ 20 w 130"/>
                <a:gd name="T71" fmla="*/ 18 h 128"/>
                <a:gd name="T72" fmla="*/ 12 w 130"/>
                <a:gd name="T73" fmla="*/ 27 h 128"/>
                <a:gd name="T74" fmla="*/ 5 w 130"/>
                <a:gd name="T75" fmla="*/ 39 h 128"/>
                <a:gd name="T76" fmla="*/ 3 w 130"/>
                <a:gd name="T77" fmla="*/ 45 h 128"/>
                <a:gd name="T78" fmla="*/ 1 w 130"/>
                <a:gd name="T79" fmla="*/ 51 h 128"/>
                <a:gd name="T80" fmla="*/ 0 w 130"/>
                <a:gd name="T81" fmla="*/ 57 h 128"/>
                <a:gd name="T82" fmla="*/ 0 w 130"/>
                <a:gd name="T83" fmla="*/ 64 h 128"/>
                <a:gd name="T84" fmla="*/ 0 w 130"/>
                <a:gd name="T85" fmla="*/ 64 h 128"/>
                <a:gd name="T86" fmla="*/ 0 w 130"/>
                <a:gd name="T87" fmla="*/ 70 h 128"/>
                <a:gd name="T88" fmla="*/ 1 w 130"/>
                <a:gd name="T89" fmla="*/ 77 h 128"/>
                <a:gd name="T90" fmla="*/ 3 w 130"/>
                <a:gd name="T91" fmla="*/ 84 h 128"/>
                <a:gd name="T92" fmla="*/ 5 w 130"/>
                <a:gd name="T93" fmla="*/ 90 h 128"/>
                <a:gd name="T94" fmla="*/ 12 w 130"/>
                <a:gd name="T95" fmla="*/ 100 h 128"/>
                <a:gd name="T96" fmla="*/ 20 w 130"/>
                <a:gd name="T97" fmla="*/ 110 h 128"/>
                <a:gd name="T98" fmla="*/ 29 w 130"/>
                <a:gd name="T99" fmla="*/ 117 h 128"/>
                <a:gd name="T100" fmla="*/ 40 w 130"/>
                <a:gd name="T101" fmla="*/ 123 h 128"/>
                <a:gd name="T102" fmla="*/ 45 w 130"/>
                <a:gd name="T103" fmla="*/ 125 h 128"/>
                <a:gd name="T104" fmla="*/ 51 w 130"/>
                <a:gd name="T105" fmla="*/ 127 h 128"/>
                <a:gd name="T106" fmla="*/ 58 w 130"/>
                <a:gd name="T107" fmla="*/ 128 h 128"/>
                <a:gd name="T108" fmla="*/ 65 w 130"/>
                <a:gd name="T109" fmla="*/ 128 h 128"/>
                <a:gd name="T110" fmla="*/ 65 w 130"/>
                <a:gd name="T111" fmla="*/ 128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28">
                  <a:moveTo>
                    <a:pt x="65" y="128"/>
                  </a:moveTo>
                  <a:lnTo>
                    <a:pt x="65" y="128"/>
                  </a:lnTo>
                  <a:lnTo>
                    <a:pt x="72" y="128"/>
                  </a:lnTo>
                  <a:lnTo>
                    <a:pt x="78" y="127"/>
                  </a:lnTo>
                  <a:lnTo>
                    <a:pt x="84" y="125"/>
                  </a:lnTo>
                  <a:lnTo>
                    <a:pt x="90" y="123"/>
                  </a:lnTo>
                  <a:lnTo>
                    <a:pt x="95" y="121"/>
                  </a:lnTo>
                  <a:lnTo>
                    <a:pt x="101" y="117"/>
                  </a:lnTo>
                  <a:lnTo>
                    <a:pt x="110" y="110"/>
                  </a:lnTo>
                  <a:lnTo>
                    <a:pt x="119" y="100"/>
                  </a:lnTo>
                  <a:lnTo>
                    <a:pt x="125" y="90"/>
                  </a:lnTo>
                  <a:lnTo>
                    <a:pt x="127" y="84"/>
                  </a:lnTo>
                  <a:lnTo>
                    <a:pt x="128" y="77"/>
                  </a:lnTo>
                  <a:lnTo>
                    <a:pt x="129" y="70"/>
                  </a:lnTo>
                  <a:lnTo>
                    <a:pt x="130" y="64"/>
                  </a:lnTo>
                  <a:lnTo>
                    <a:pt x="130" y="64"/>
                  </a:lnTo>
                  <a:lnTo>
                    <a:pt x="129" y="57"/>
                  </a:lnTo>
                  <a:lnTo>
                    <a:pt x="128" y="51"/>
                  </a:lnTo>
                  <a:lnTo>
                    <a:pt x="127" y="45"/>
                  </a:lnTo>
                  <a:lnTo>
                    <a:pt x="125" y="39"/>
                  </a:lnTo>
                  <a:lnTo>
                    <a:pt x="122" y="34"/>
                  </a:lnTo>
                  <a:lnTo>
                    <a:pt x="119" y="27"/>
                  </a:lnTo>
                  <a:lnTo>
                    <a:pt x="110" y="18"/>
                  </a:lnTo>
                  <a:lnTo>
                    <a:pt x="101" y="10"/>
                  </a:lnTo>
                  <a:lnTo>
                    <a:pt x="90" y="5"/>
                  </a:lnTo>
                  <a:lnTo>
                    <a:pt x="84" y="2"/>
                  </a:lnTo>
                  <a:lnTo>
                    <a:pt x="78" y="1"/>
                  </a:lnTo>
                  <a:lnTo>
                    <a:pt x="72" y="0"/>
                  </a:lnTo>
                  <a:lnTo>
                    <a:pt x="65" y="0"/>
                  </a:lnTo>
                  <a:lnTo>
                    <a:pt x="65" y="0"/>
                  </a:lnTo>
                  <a:lnTo>
                    <a:pt x="58" y="0"/>
                  </a:lnTo>
                  <a:lnTo>
                    <a:pt x="51" y="1"/>
                  </a:lnTo>
                  <a:lnTo>
                    <a:pt x="45" y="2"/>
                  </a:lnTo>
                  <a:lnTo>
                    <a:pt x="40" y="5"/>
                  </a:lnTo>
                  <a:lnTo>
                    <a:pt x="29" y="10"/>
                  </a:lnTo>
                  <a:lnTo>
                    <a:pt x="20" y="18"/>
                  </a:lnTo>
                  <a:lnTo>
                    <a:pt x="12" y="27"/>
                  </a:lnTo>
                  <a:lnTo>
                    <a:pt x="5" y="39"/>
                  </a:lnTo>
                  <a:lnTo>
                    <a:pt x="3" y="45"/>
                  </a:lnTo>
                  <a:lnTo>
                    <a:pt x="1" y="51"/>
                  </a:lnTo>
                  <a:lnTo>
                    <a:pt x="0" y="57"/>
                  </a:lnTo>
                  <a:lnTo>
                    <a:pt x="0" y="64"/>
                  </a:lnTo>
                  <a:lnTo>
                    <a:pt x="0" y="64"/>
                  </a:lnTo>
                  <a:lnTo>
                    <a:pt x="0" y="70"/>
                  </a:lnTo>
                  <a:lnTo>
                    <a:pt x="1" y="77"/>
                  </a:lnTo>
                  <a:lnTo>
                    <a:pt x="3" y="84"/>
                  </a:lnTo>
                  <a:lnTo>
                    <a:pt x="5" y="90"/>
                  </a:lnTo>
                  <a:lnTo>
                    <a:pt x="12" y="100"/>
                  </a:lnTo>
                  <a:lnTo>
                    <a:pt x="20" y="110"/>
                  </a:lnTo>
                  <a:lnTo>
                    <a:pt x="29" y="117"/>
                  </a:lnTo>
                  <a:lnTo>
                    <a:pt x="40" y="123"/>
                  </a:lnTo>
                  <a:lnTo>
                    <a:pt x="45" y="125"/>
                  </a:lnTo>
                  <a:lnTo>
                    <a:pt x="51" y="127"/>
                  </a:lnTo>
                  <a:lnTo>
                    <a:pt x="58" y="128"/>
                  </a:lnTo>
                  <a:lnTo>
                    <a:pt x="65" y="128"/>
                  </a:lnTo>
                  <a:lnTo>
                    <a:pt x="65" y="128"/>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37" name="Freeform 233"/>
            <p:cNvSpPr>
              <a:spLocks/>
            </p:cNvSpPr>
            <p:nvPr/>
          </p:nvSpPr>
          <p:spPr bwMode="auto">
            <a:xfrm>
              <a:off x="3538159" y="1899079"/>
              <a:ext cx="20203" cy="20199"/>
            </a:xfrm>
            <a:custGeom>
              <a:avLst/>
              <a:gdLst>
                <a:gd name="T0" fmla="*/ 65 w 130"/>
                <a:gd name="T1" fmla="*/ 130 h 130"/>
                <a:gd name="T2" fmla="*/ 65 w 130"/>
                <a:gd name="T3" fmla="*/ 130 h 130"/>
                <a:gd name="T4" fmla="*/ 72 w 130"/>
                <a:gd name="T5" fmla="*/ 129 h 130"/>
                <a:gd name="T6" fmla="*/ 78 w 130"/>
                <a:gd name="T7" fmla="*/ 128 h 130"/>
                <a:gd name="T8" fmla="*/ 84 w 130"/>
                <a:gd name="T9" fmla="*/ 127 h 130"/>
                <a:gd name="T10" fmla="*/ 90 w 130"/>
                <a:gd name="T11" fmla="*/ 125 h 130"/>
                <a:gd name="T12" fmla="*/ 95 w 130"/>
                <a:gd name="T13" fmla="*/ 122 h 130"/>
                <a:gd name="T14" fmla="*/ 101 w 130"/>
                <a:gd name="T15" fmla="*/ 119 h 130"/>
                <a:gd name="T16" fmla="*/ 110 w 130"/>
                <a:gd name="T17" fmla="*/ 110 h 130"/>
                <a:gd name="T18" fmla="*/ 119 w 130"/>
                <a:gd name="T19" fmla="*/ 100 h 130"/>
                <a:gd name="T20" fmla="*/ 125 w 130"/>
                <a:gd name="T21" fmla="*/ 90 h 130"/>
                <a:gd name="T22" fmla="*/ 127 w 130"/>
                <a:gd name="T23" fmla="*/ 84 h 130"/>
                <a:gd name="T24" fmla="*/ 128 w 130"/>
                <a:gd name="T25" fmla="*/ 78 h 130"/>
                <a:gd name="T26" fmla="*/ 129 w 130"/>
                <a:gd name="T27" fmla="*/ 71 h 130"/>
                <a:gd name="T28" fmla="*/ 130 w 130"/>
                <a:gd name="T29" fmla="*/ 65 h 130"/>
                <a:gd name="T30" fmla="*/ 130 w 130"/>
                <a:gd name="T31" fmla="*/ 65 h 130"/>
                <a:gd name="T32" fmla="*/ 129 w 130"/>
                <a:gd name="T33" fmla="*/ 57 h 130"/>
                <a:gd name="T34" fmla="*/ 128 w 130"/>
                <a:gd name="T35" fmla="*/ 51 h 130"/>
                <a:gd name="T36" fmla="*/ 127 w 130"/>
                <a:gd name="T37" fmla="*/ 45 h 130"/>
                <a:gd name="T38" fmla="*/ 125 w 130"/>
                <a:gd name="T39" fmla="*/ 39 h 130"/>
                <a:gd name="T40" fmla="*/ 119 w 130"/>
                <a:gd name="T41" fmla="*/ 29 h 130"/>
                <a:gd name="T42" fmla="*/ 110 w 130"/>
                <a:gd name="T43" fmla="*/ 19 h 130"/>
                <a:gd name="T44" fmla="*/ 101 w 130"/>
                <a:gd name="T45" fmla="*/ 11 h 130"/>
                <a:gd name="T46" fmla="*/ 90 w 130"/>
                <a:gd name="T47" fmla="*/ 5 h 130"/>
                <a:gd name="T48" fmla="*/ 84 w 130"/>
                <a:gd name="T49" fmla="*/ 2 h 130"/>
                <a:gd name="T50" fmla="*/ 78 w 130"/>
                <a:gd name="T51" fmla="*/ 1 h 130"/>
                <a:gd name="T52" fmla="*/ 72 w 130"/>
                <a:gd name="T53" fmla="*/ 0 h 130"/>
                <a:gd name="T54" fmla="*/ 65 w 130"/>
                <a:gd name="T55" fmla="*/ 0 h 130"/>
                <a:gd name="T56" fmla="*/ 65 w 130"/>
                <a:gd name="T57" fmla="*/ 0 h 130"/>
                <a:gd name="T58" fmla="*/ 58 w 130"/>
                <a:gd name="T59" fmla="*/ 0 h 130"/>
                <a:gd name="T60" fmla="*/ 51 w 130"/>
                <a:gd name="T61" fmla="*/ 1 h 130"/>
                <a:gd name="T62" fmla="*/ 45 w 130"/>
                <a:gd name="T63" fmla="*/ 2 h 130"/>
                <a:gd name="T64" fmla="*/ 40 w 130"/>
                <a:gd name="T65" fmla="*/ 5 h 130"/>
                <a:gd name="T66" fmla="*/ 29 w 130"/>
                <a:gd name="T67" fmla="*/ 11 h 130"/>
                <a:gd name="T68" fmla="*/ 20 w 130"/>
                <a:gd name="T69" fmla="*/ 19 h 130"/>
                <a:gd name="T70" fmla="*/ 12 w 130"/>
                <a:gd name="T71" fmla="*/ 29 h 130"/>
                <a:gd name="T72" fmla="*/ 5 w 130"/>
                <a:gd name="T73" fmla="*/ 39 h 130"/>
                <a:gd name="T74" fmla="*/ 3 w 130"/>
                <a:gd name="T75" fmla="*/ 45 h 130"/>
                <a:gd name="T76" fmla="*/ 1 w 130"/>
                <a:gd name="T77" fmla="*/ 51 h 130"/>
                <a:gd name="T78" fmla="*/ 0 w 130"/>
                <a:gd name="T79" fmla="*/ 57 h 130"/>
                <a:gd name="T80" fmla="*/ 0 w 130"/>
                <a:gd name="T81" fmla="*/ 65 h 130"/>
                <a:gd name="T82" fmla="*/ 0 w 130"/>
                <a:gd name="T83" fmla="*/ 65 h 130"/>
                <a:gd name="T84" fmla="*/ 0 w 130"/>
                <a:gd name="T85" fmla="*/ 71 h 130"/>
                <a:gd name="T86" fmla="*/ 1 w 130"/>
                <a:gd name="T87" fmla="*/ 78 h 130"/>
                <a:gd name="T88" fmla="*/ 3 w 130"/>
                <a:gd name="T89" fmla="*/ 84 h 130"/>
                <a:gd name="T90" fmla="*/ 5 w 130"/>
                <a:gd name="T91" fmla="*/ 90 h 130"/>
                <a:gd name="T92" fmla="*/ 12 w 130"/>
                <a:gd name="T93" fmla="*/ 100 h 130"/>
                <a:gd name="T94" fmla="*/ 20 w 130"/>
                <a:gd name="T95" fmla="*/ 110 h 130"/>
                <a:gd name="T96" fmla="*/ 29 w 130"/>
                <a:gd name="T97" fmla="*/ 119 h 130"/>
                <a:gd name="T98" fmla="*/ 34 w 130"/>
                <a:gd name="T99" fmla="*/ 122 h 130"/>
                <a:gd name="T100" fmla="*/ 40 w 130"/>
                <a:gd name="T101" fmla="*/ 125 h 130"/>
                <a:gd name="T102" fmla="*/ 45 w 130"/>
                <a:gd name="T103" fmla="*/ 127 h 130"/>
                <a:gd name="T104" fmla="*/ 51 w 130"/>
                <a:gd name="T105" fmla="*/ 128 h 130"/>
                <a:gd name="T106" fmla="*/ 58 w 130"/>
                <a:gd name="T107" fmla="*/ 129 h 130"/>
                <a:gd name="T108" fmla="*/ 65 w 130"/>
                <a:gd name="T109" fmla="*/ 130 h 130"/>
                <a:gd name="T110" fmla="*/ 65 w 130"/>
                <a:gd name="T111"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30">
                  <a:moveTo>
                    <a:pt x="65" y="130"/>
                  </a:moveTo>
                  <a:lnTo>
                    <a:pt x="65" y="130"/>
                  </a:lnTo>
                  <a:lnTo>
                    <a:pt x="72" y="129"/>
                  </a:lnTo>
                  <a:lnTo>
                    <a:pt x="78" y="128"/>
                  </a:lnTo>
                  <a:lnTo>
                    <a:pt x="84" y="127"/>
                  </a:lnTo>
                  <a:lnTo>
                    <a:pt x="90" y="125"/>
                  </a:lnTo>
                  <a:lnTo>
                    <a:pt x="95" y="122"/>
                  </a:lnTo>
                  <a:lnTo>
                    <a:pt x="101" y="119"/>
                  </a:lnTo>
                  <a:lnTo>
                    <a:pt x="110" y="110"/>
                  </a:lnTo>
                  <a:lnTo>
                    <a:pt x="119" y="100"/>
                  </a:lnTo>
                  <a:lnTo>
                    <a:pt x="125" y="90"/>
                  </a:lnTo>
                  <a:lnTo>
                    <a:pt x="127" y="84"/>
                  </a:lnTo>
                  <a:lnTo>
                    <a:pt x="128" y="78"/>
                  </a:lnTo>
                  <a:lnTo>
                    <a:pt x="129" y="71"/>
                  </a:lnTo>
                  <a:lnTo>
                    <a:pt x="130" y="65"/>
                  </a:lnTo>
                  <a:lnTo>
                    <a:pt x="130" y="65"/>
                  </a:lnTo>
                  <a:lnTo>
                    <a:pt x="129" y="57"/>
                  </a:lnTo>
                  <a:lnTo>
                    <a:pt x="128" y="51"/>
                  </a:lnTo>
                  <a:lnTo>
                    <a:pt x="127" y="45"/>
                  </a:lnTo>
                  <a:lnTo>
                    <a:pt x="125" y="39"/>
                  </a:lnTo>
                  <a:lnTo>
                    <a:pt x="119" y="29"/>
                  </a:lnTo>
                  <a:lnTo>
                    <a:pt x="110" y="19"/>
                  </a:lnTo>
                  <a:lnTo>
                    <a:pt x="101" y="11"/>
                  </a:lnTo>
                  <a:lnTo>
                    <a:pt x="90" y="5"/>
                  </a:lnTo>
                  <a:lnTo>
                    <a:pt x="84" y="2"/>
                  </a:lnTo>
                  <a:lnTo>
                    <a:pt x="78" y="1"/>
                  </a:lnTo>
                  <a:lnTo>
                    <a:pt x="72" y="0"/>
                  </a:lnTo>
                  <a:lnTo>
                    <a:pt x="65" y="0"/>
                  </a:lnTo>
                  <a:lnTo>
                    <a:pt x="65" y="0"/>
                  </a:lnTo>
                  <a:lnTo>
                    <a:pt x="58" y="0"/>
                  </a:lnTo>
                  <a:lnTo>
                    <a:pt x="51" y="1"/>
                  </a:lnTo>
                  <a:lnTo>
                    <a:pt x="45" y="2"/>
                  </a:lnTo>
                  <a:lnTo>
                    <a:pt x="40" y="5"/>
                  </a:lnTo>
                  <a:lnTo>
                    <a:pt x="29" y="11"/>
                  </a:lnTo>
                  <a:lnTo>
                    <a:pt x="20" y="19"/>
                  </a:lnTo>
                  <a:lnTo>
                    <a:pt x="12" y="29"/>
                  </a:lnTo>
                  <a:lnTo>
                    <a:pt x="5" y="39"/>
                  </a:lnTo>
                  <a:lnTo>
                    <a:pt x="3" y="45"/>
                  </a:lnTo>
                  <a:lnTo>
                    <a:pt x="1" y="51"/>
                  </a:lnTo>
                  <a:lnTo>
                    <a:pt x="0" y="57"/>
                  </a:lnTo>
                  <a:lnTo>
                    <a:pt x="0" y="65"/>
                  </a:lnTo>
                  <a:lnTo>
                    <a:pt x="0" y="65"/>
                  </a:lnTo>
                  <a:lnTo>
                    <a:pt x="0" y="71"/>
                  </a:lnTo>
                  <a:lnTo>
                    <a:pt x="1" y="78"/>
                  </a:lnTo>
                  <a:lnTo>
                    <a:pt x="3" y="84"/>
                  </a:lnTo>
                  <a:lnTo>
                    <a:pt x="5" y="90"/>
                  </a:lnTo>
                  <a:lnTo>
                    <a:pt x="12" y="100"/>
                  </a:lnTo>
                  <a:lnTo>
                    <a:pt x="20" y="110"/>
                  </a:lnTo>
                  <a:lnTo>
                    <a:pt x="29" y="119"/>
                  </a:lnTo>
                  <a:lnTo>
                    <a:pt x="34" y="122"/>
                  </a:lnTo>
                  <a:lnTo>
                    <a:pt x="40" y="125"/>
                  </a:lnTo>
                  <a:lnTo>
                    <a:pt x="45" y="127"/>
                  </a:lnTo>
                  <a:lnTo>
                    <a:pt x="51" y="128"/>
                  </a:lnTo>
                  <a:lnTo>
                    <a:pt x="58" y="129"/>
                  </a:lnTo>
                  <a:lnTo>
                    <a:pt x="65" y="130"/>
                  </a:lnTo>
                  <a:lnTo>
                    <a:pt x="65" y="13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38" name="Freeform 234"/>
            <p:cNvSpPr>
              <a:spLocks/>
            </p:cNvSpPr>
            <p:nvPr/>
          </p:nvSpPr>
          <p:spPr bwMode="auto">
            <a:xfrm>
              <a:off x="3499998" y="1899079"/>
              <a:ext cx="21326" cy="20199"/>
            </a:xfrm>
            <a:custGeom>
              <a:avLst/>
              <a:gdLst>
                <a:gd name="T0" fmla="*/ 64 w 129"/>
                <a:gd name="T1" fmla="*/ 130 h 130"/>
                <a:gd name="T2" fmla="*/ 64 w 129"/>
                <a:gd name="T3" fmla="*/ 130 h 130"/>
                <a:gd name="T4" fmla="*/ 71 w 129"/>
                <a:gd name="T5" fmla="*/ 129 h 130"/>
                <a:gd name="T6" fmla="*/ 77 w 129"/>
                <a:gd name="T7" fmla="*/ 128 h 130"/>
                <a:gd name="T8" fmla="*/ 83 w 129"/>
                <a:gd name="T9" fmla="*/ 127 h 130"/>
                <a:gd name="T10" fmla="*/ 90 w 129"/>
                <a:gd name="T11" fmla="*/ 125 h 130"/>
                <a:gd name="T12" fmla="*/ 96 w 129"/>
                <a:gd name="T13" fmla="*/ 122 h 130"/>
                <a:gd name="T14" fmla="*/ 101 w 129"/>
                <a:gd name="T15" fmla="*/ 119 h 130"/>
                <a:gd name="T16" fmla="*/ 110 w 129"/>
                <a:gd name="T17" fmla="*/ 110 h 130"/>
                <a:gd name="T18" fmla="*/ 118 w 129"/>
                <a:gd name="T19" fmla="*/ 101 h 130"/>
                <a:gd name="T20" fmla="*/ 124 w 129"/>
                <a:gd name="T21" fmla="*/ 90 h 130"/>
                <a:gd name="T22" fmla="*/ 126 w 129"/>
                <a:gd name="T23" fmla="*/ 84 h 130"/>
                <a:gd name="T24" fmla="*/ 127 w 129"/>
                <a:gd name="T25" fmla="*/ 78 h 130"/>
                <a:gd name="T26" fmla="*/ 128 w 129"/>
                <a:gd name="T27" fmla="*/ 71 h 130"/>
                <a:gd name="T28" fmla="*/ 129 w 129"/>
                <a:gd name="T29" fmla="*/ 65 h 130"/>
                <a:gd name="T30" fmla="*/ 129 w 129"/>
                <a:gd name="T31" fmla="*/ 65 h 130"/>
                <a:gd name="T32" fmla="*/ 128 w 129"/>
                <a:gd name="T33" fmla="*/ 57 h 130"/>
                <a:gd name="T34" fmla="*/ 127 w 129"/>
                <a:gd name="T35" fmla="*/ 51 h 130"/>
                <a:gd name="T36" fmla="*/ 126 w 129"/>
                <a:gd name="T37" fmla="*/ 45 h 130"/>
                <a:gd name="T38" fmla="*/ 124 w 129"/>
                <a:gd name="T39" fmla="*/ 39 h 130"/>
                <a:gd name="T40" fmla="*/ 118 w 129"/>
                <a:gd name="T41" fmla="*/ 29 h 130"/>
                <a:gd name="T42" fmla="*/ 110 w 129"/>
                <a:gd name="T43" fmla="*/ 19 h 130"/>
                <a:gd name="T44" fmla="*/ 101 w 129"/>
                <a:gd name="T45" fmla="*/ 11 h 130"/>
                <a:gd name="T46" fmla="*/ 96 w 129"/>
                <a:gd name="T47" fmla="*/ 7 h 130"/>
                <a:gd name="T48" fmla="*/ 90 w 129"/>
                <a:gd name="T49" fmla="*/ 5 h 130"/>
                <a:gd name="T50" fmla="*/ 83 w 129"/>
                <a:gd name="T51" fmla="*/ 2 h 130"/>
                <a:gd name="T52" fmla="*/ 77 w 129"/>
                <a:gd name="T53" fmla="*/ 1 h 130"/>
                <a:gd name="T54" fmla="*/ 71 w 129"/>
                <a:gd name="T55" fmla="*/ 0 h 130"/>
                <a:gd name="T56" fmla="*/ 64 w 129"/>
                <a:gd name="T57" fmla="*/ 0 h 130"/>
                <a:gd name="T58" fmla="*/ 64 w 129"/>
                <a:gd name="T59" fmla="*/ 0 h 130"/>
                <a:gd name="T60" fmla="*/ 58 w 129"/>
                <a:gd name="T61" fmla="*/ 0 h 130"/>
                <a:gd name="T62" fmla="*/ 52 w 129"/>
                <a:gd name="T63" fmla="*/ 1 h 130"/>
                <a:gd name="T64" fmla="*/ 46 w 129"/>
                <a:gd name="T65" fmla="*/ 2 h 130"/>
                <a:gd name="T66" fmla="*/ 40 w 129"/>
                <a:gd name="T67" fmla="*/ 5 h 130"/>
                <a:gd name="T68" fmla="*/ 33 w 129"/>
                <a:gd name="T69" fmla="*/ 7 h 130"/>
                <a:gd name="T70" fmla="*/ 28 w 129"/>
                <a:gd name="T71" fmla="*/ 11 h 130"/>
                <a:gd name="T72" fmla="*/ 19 w 129"/>
                <a:gd name="T73" fmla="*/ 19 h 130"/>
                <a:gd name="T74" fmla="*/ 11 w 129"/>
                <a:gd name="T75" fmla="*/ 29 h 130"/>
                <a:gd name="T76" fmla="*/ 5 w 129"/>
                <a:gd name="T77" fmla="*/ 39 h 130"/>
                <a:gd name="T78" fmla="*/ 3 w 129"/>
                <a:gd name="T79" fmla="*/ 45 h 130"/>
                <a:gd name="T80" fmla="*/ 1 w 129"/>
                <a:gd name="T81" fmla="*/ 51 h 130"/>
                <a:gd name="T82" fmla="*/ 0 w 129"/>
                <a:gd name="T83" fmla="*/ 57 h 130"/>
                <a:gd name="T84" fmla="*/ 0 w 129"/>
                <a:gd name="T85" fmla="*/ 65 h 130"/>
                <a:gd name="T86" fmla="*/ 0 w 129"/>
                <a:gd name="T87" fmla="*/ 65 h 130"/>
                <a:gd name="T88" fmla="*/ 0 w 129"/>
                <a:gd name="T89" fmla="*/ 71 h 130"/>
                <a:gd name="T90" fmla="*/ 1 w 129"/>
                <a:gd name="T91" fmla="*/ 78 h 130"/>
                <a:gd name="T92" fmla="*/ 3 w 129"/>
                <a:gd name="T93" fmla="*/ 84 h 130"/>
                <a:gd name="T94" fmla="*/ 5 w 129"/>
                <a:gd name="T95" fmla="*/ 90 h 130"/>
                <a:gd name="T96" fmla="*/ 8 w 129"/>
                <a:gd name="T97" fmla="*/ 95 h 130"/>
                <a:gd name="T98" fmla="*/ 11 w 129"/>
                <a:gd name="T99" fmla="*/ 101 h 130"/>
                <a:gd name="T100" fmla="*/ 19 w 129"/>
                <a:gd name="T101" fmla="*/ 110 h 130"/>
                <a:gd name="T102" fmla="*/ 28 w 129"/>
                <a:gd name="T103" fmla="*/ 119 h 130"/>
                <a:gd name="T104" fmla="*/ 33 w 129"/>
                <a:gd name="T105" fmla="*/ 122 h 130"/>
                <a:gd name="T106" fmla="*/ 40 w 129"/>
                <a:gd name="T107" fmla="*/ 125 h 130"/>
                <a:gd name="T108" fmla="*/ 46 w 129"/>
                <a:gd name="T109" fmla="*/ 127 h 130"/>
                <a:gd name="T110" fmla="*/ 52 w 129"/>
                <a:gd name="T111" fmla="*/ 128 h 130"/>
                <a:gd name="T112" fmla="*/ 58 w 129"/>
                <a:gd name="T113" fmla="*/ 129 h 130"/>
                <a:gd name="T114" fmla="*/ 64 w 129"/>
                <a:gd name="T115" fmla="*/ 130 h 130"/>
                <a:gd name="T116" fmla="*/ 64 w 129"/>
                <a:gd name="T117"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29" h="130">
                  <a:moveTo>
                    <a:pt x="64" y="130"/>
                  </a:moveTo>
                  <a:lnTo>
                    <a:pt x="64" y="130"/>
                  </a:lnTo>
                  <a:lnTo>
                    <a:pt x="71" y="129"/>
                  </a:lnTo>
                  <a:lnTo>
                    <a:pt x="77" y="128"/>
                  </a:lnTo>
                  <a:lnTo>
                    <a:pt x="83" y="127"/>
                  </a:lnTo>
                  <a:lnTo>
                    <a:pt x="90" y="125"/>
                  </a:lnTo>
                  <a:lnTo>
                    <a:pt x="96" y="122"/>
                  </a:lnTo>
                  <a:lnTo>
                    <a:pt x="101" y="119"/>
                  </a:lnTo>
                  <a:lnTo>
                    <a:pt x="110" y="110"/>
                  </a:lnTo>
                  <a:lnTo>
                    <a:pt x="118" y="101"/>
                  </a:lnTo>
                  <a:lnTo>
                    <a:pt x="124" y="90"/>
                  </a:lnTo>
                  <a:lnTo>
                    <a:pt x="126" y="84"/>
                  </a:lnTo>
                  <a:lnTo>
                    <a:pt x="127" y="78"/>
                  </a:lnTo>
                  <a:lnTo>
                    <a:pt x="128" y="71"/>
                  </a:lnTo>
                  <a:lnTo>
                    <a:pt x="129" y="65"/>
                  </a:lnTo>
                  <a:lnTo>
                    <a:pt x="129" y="65"/>
                  </a:lnTo>
                  <a:lnTo>
                    <a:pt x="128" y="57"/>
                  </a:lnTo>
                  <a:lnTo>
                    <a:pt x="127" y="51"/>
                  </a:lnTo>
                  <a:lnTo>
                    <a:pt x="126" y="45"/>
                  </a:lnTo>
                  <a:lnTo>
                    <a:pt x="124" y="39"/>
                  </a:lnTo>
                  <a:lnTo>
                    <a:pt x="118" y="29"/>
                  </a:lnTo>
                  <a:lnTo>
                    <a:pt x="110" y="19"/>
                  </a:lnTo>
                  <a:lnTo>
                    <a:pt x="101" y="11"/>
                  </a:lnTo>
                  <a:lnTo>
                    <a:pt x="96" y="7"/>
                  </a:lnTo>
                  <a:lnTo>
                    <a:pt x="90" y="5"/>
                  </a:lnTo>
                  <a:lnTo>
                    <a:pt x="83" y="2"/>
                  </a:lnTo>
                  <a:lnTo>
                    <a:pt x="77" y="1"/>
                  </a:lnTo>
                  <a:lnTo>
                    <a:pt x="71" y="0"/>
                  </a:lnTo>
                  <a:lnTo>
                    <a:pt x="64" y="0"/>
                  </a:lnTo>
                  <a:lnTo>
                    <a:pt x="64" y="0"/>
                  </a:lnTo>
                  <a:lnTo>
                    <a:pt x="58" y="0"/>
                  </a:lnTo>
                  <a:lnTo>
                    <a:pt x="52" y="1"/>
                  </a:lnTo>
                  <a:lnTo>
                    <a:pt x="46" y="2"/>
                  </a:lnTo>
                  <a:lnTo>
                    <a:pt x="40" y="5"/>
                  </a:lnTo>
                  <a:lnTo>
                    <a:pt x="33" y="7"/>
                  </a:lnTo>
                  <a:lnTo>
                    <a:pt x="28" y="11"/>
                  </a:lnTo>
                  <a:lnTo>
                    <a:pt x="19" y="19"/>
                  </a:lnTo>
                  <a:lnTo>
                    <a:pt x="11" y="29"/>
                  </a:lnTo>
                  <a:lnTo>
                    <a:pt x="5" y="39"/>
                  </a:lnTo>
                  <a:lnTo>
                    <a:pt x="3" y="45"/>
                  </a:lnTo>
                  <a:lnTo>
                    <a:pt x="1" y="51"/>
                  </a:lnTo>
                  <a:lnTo>
                    <a:pt x="0" y="57"/>
                  </a:lnTo>
                  <a:lnTo>
                    <a:pt x="0" y="65"/>
                  </a:lnTo>
                  <a:lnTo>
                    <a:pt x="0" y="65"/>
                  </a:lnTo>
                  <a:lnTo>
                    <a:pt x="0" y="71"/>
                  </a:lnTo>
                  <a:lnTo>
                    <a:pt x="1" y="78"/>
                  </a:lnTo>
                  <a:lnTo>
                    <a:pt x="3" y="84"/>
                  </a:lnTo>
                  <a:lnTo>
                    <a:pt x="5" y="90"/>
                  </a:lnTo>
                  <a:lnTo>
                    <a:pt x="8" y="95"/>
                  </a:lnTo>
                  <a:lnTo>
                    <a:pt x="11" y="101"/>
                  </a:lnTo>
                  <a:lnTo>
                    <a:pt x="19" y="110"/>
                  </a:lnTo>
                  <a:lnTo>
                    <a:pt x="28" y="119"/>
                  </a:lnTo>
                  <a:lnTo>
                    <a:pt x="33" y="122"/>
                  </a:lnTo>
                  <a:lnTo>
                    <a:pt x="40" y="125"/>
                  </a:lnTo>
                  <a:lnTo>
                    <a:pt x="46" y="127"/>
                  </a:lnTo>
                  <a:lnTo>
                    <a:pt x="52" y="128"/>
                  </a:lnTo>
                  <a:lnTo>
                    <a:pt x="58" y="129"/>
                  </a:lnTo>
                  <a:lnTo>
                    <a:pt x="64" y="130"/>
                  </a:lnTo>
                  <a:lnTo>
                    <a:pt x="64" y="13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39" name="Freeform 235"/>
            <p:cNvSpPr>
              <a:spLocks/>
            </p:cNvSpPr>
            <p:nvPr/>
          </p:nvSpPr>
          <p:spPr bwMode="auto">
            <a:xfrm>
              <a:off x="3462958" y="1899079"/>
              <a:ext cx="21326" cy="20199"/>
            </a:xfrm>
            <a:custGeom>
              <a:avLst/>
              <a:gdLst>
                <a:gd name="T0" fmla="*/ 65 w 130"/>
                <a:gd name="T1" fmla="*/ 0 h 130"/>
                <a:gd name="T2" fmla="*/ 65 w 130"/>
                <a:gd name="T3" fmla="*/ 0 h 130"/>
                <a:gd name="T4" fmla="*/ 58 w 130"/>
                <a:gd name="T5" fmla="*/ 0 h 130"/>
                <a:gd name="T6" fmla="*/ 52 w 130"/>
                <a:gd name="T7" fmla="*/ 1 h 130"/>
                <a:gd name="T8" fmla="*/ 46 w 130"/>
                <a:gd name="T9" fmla="*/ 2 h 130"/>
                <a:gd name="T10" fmla="*/ 40 w 130"/>
                <a:gd name="T11" fmla="*/ 5 h 130"/>
                <a:gd name="T12" fmla="*/ 29 w 130"/>
                <a:gd name="T13" fmla="*/ 11 h 130"/>
                <a:gd name="T14" fmla="*/ 20 w 130"/>
                <a:gd name="T15" fmla="*/ 19 h 130"/>
                <a:gd name="T16" fmla="*/ 12 w 130"/>
                <a:gd name="T17" fmla="*/ 29 h 130"/>
                <a:gd name="T18" fmla="*/ 5 w 130"/>
                <a:gd name="T19" fmla="*/ 39 h 130"/>
                <a:gd name="T20" fmla="*/ 3 w 130"/>
                <a:gd name="T21" fmla="*/ 45 h 130"/>
                <a:gd name="T22" fmla="*/ 1 w 130"/>
                <a:gd name="T23" fmla="*/ 51 h 130"/>
                <a:gd name="T24" fmla="*/ 0 w 130"/>
                <a:gd name="T25" fmla="*/ 57 h 130"/>
                <a:gd name="T26" fmla="*/ 0 w 130"/>
                <a:gd name="T27" fmla="*/ 65 h 130"/>
                <a:gd name="T28" fmla="*/ 0 w 130"/>
                <a:gd name="T29" fmla="*/ 65 h 130"/>
                <a:gd name="T30" fmla="*/ 0 w 130"/>
                <a:gd name="T31" fmla="*/ 71 h 130"/>
                <a:gd name="T32" fmla="*/ 1 w 130"/>
                <a:gd name="T33" fmla="*/ 78 h 130"/>
                <a:gd name="T34" fmla="*/ 3 w 130"/>
                <a:gd name="T35" fmla="*/ 84 h 130"/>
                <a:gd name="T36" fmla="*/ 5 w 130"/>
                <a:gd name="T37" fmla="*/ 90 h 130"/>
                <a:gd name="T38" fmla="*/ 8 w 130"/>
                <a:gd name="T39" fmla="*/ 95 h 130"/>
                <a:gd name="T40" fmla="*/ 12 w 130"/>
                <a:gd name="T41" fmla="*/ 101 h 130"/>
                <a:gd name="T42" fmla="*/ 20 w 130"/>
                <a:gd name="T43" fmla="*/ 110 h 130"/>
                <a:gd name="T44" fmla="*/ 29 w 130"/>
                <a:gd name="T45" fmla="*/ 119 h 130"/>
                <a:gd name="T46" fmla="*/ 34 w 130"/>
                <a:gd name="T47" fmla="*/ 122 h 130"/>
                <a:gd name="T48" fmla="*/ 40 w 130"/>
                <a:gd name="T49" fmla="*/ 125 h 130"/>
                <a:gd name="T50" fmla="*/ 46 w 130"/>
                <a:gd name="T51" fmla="*/ 127 h 130"/>
                <a:gd name="T52" fmla="*/ 52 w 130"/>
                <a:gd name="T53" fmla="*/ 128 h 130"/>
                <a:gd name="T54" fmla="*/ 58 w 130"/>
                <a:gd name="T55" fmla="*/ 129 h 130"/>
                <a:gd name="T56" fmla="*/ 65 w 130"/>
                <a:gd name="T57" fmla="*/ 130 h 130"/>
                <a:gd name="T58" fmla="*/ 65 w 130"/>
                <a:gd name="T59" fmla="*/ 130 h 130"/>
                <a:gd name="T60" fmla="*/ 72 w 130"/>
                <a:gd name="T61" fmla="*/ 129 h 130"/>
                <a:gd name="T62" fmla="*/ 78 w 130"/>
                <a:gd name="T63" fmla="*/ 128 h 130"/>
                <a:gd name="T64" fmla="*/ 84 w 130"/>
                <a:gd name="T65" fmla="*/ 127 h 130"/>
                <a:gd name="T66" fmla="*/ 90 w 130"/>
                <a:gd name="T67" fmla="*/ 125 h 130"/>
                <a:gd name="T68" fmla="*/ 101 w 130"/>
                <a:gd name="T69" fmla="*/ 119 h 130"/>
                <a:gd name="T70" fmla="*/ 110 w 130"/>
                <a:gd name="T71" fmla="*/ 110 h 130"/>
                <a:gd name="T72" fmla="*/ 119 w 130"/>
                <a:gd name="T73" fmla="*/ 101 h 130"/>
                <a:gd name="T74" fmla="*/ 122 w 130"/>
                <a:gd name="T75" fmla="*/ 95 h 130"/>
                <a:gd name="T76" fmla="*/ 125 w 130"/>
                <a:gd name="T77" fmla="*/ 90 h 130"/>
                <a:gd name="T78" fmla="*/ 127 w 130"/>
                <a:gd name="T79" fmla="*/ 84 h 130"/>
                <a:gd name="T80" fmla="*/ 128 w 130"/>
                <a:gd name="T81" fmla="*/ 78 h 130"/>
                <a:gd name="T82" fmla="*/ 129 w 130"/>
                <a:gd name="T83" fmla="*/ 71 h 130"/>
                <a:gd name="T84" fmla="*/ 130 w 130"/>
                <a:gd name="T85" fmla="*/ 65 h 130"/>
                <a:gd name="T86" fmla="*/ 130 w 130"/>
                <a:gd name="T87" fmla="*/ 65 h 130"/>
                <a:gd name="T88" fmla="*/ 129 w 130"/>
                <a:gd name="T89" fmla="*/ 57 h 130"/>
                <a:gd name="T90" fmla="*/ 128 w 130"/>
                <a:gd name="T91" fmla="*/ 51 h 130"/>
                <a:gd name="T92" fmla="*/ 127 w 130"/>
                <a:gd name="T93" fmla="*/ 45 h 130"/>
                <a:gd name="T94" fmla="*/ 125 w 130"/>
                <a:gd name="T95" fmla="*/ 39 h 130"/>
                <a:gd name="T96" fmla="*/ 119 w 130"/>
                <a:gd name="T97" fmla="*/ 29 h 130"/>
                <a:gd name="T98" fmla="*/ 110 w 130"/>
                <a:gd name="T99" fmla="*/ 19 h 130"/>
                <a:gd name="T100" fmla="*/ 101 w 130"/>
                <a:gd name="T101" fmla="*/ 11 h 130"/>
                <a:gd name="T102" fmla="*/ 90 w 130"/>
                <a:gd name="T103" fmla="*/ 5 h 130"/>
                <a:gd name="T104" fmla="*/ 84 w 130"/>
                <a:gd name="T105" fmla="*/ 2 h 130"/>
                <a:gd name="T106" fmla="*/ 78 w 130"/>
                <a:gd name="T107" fmla="*/ 1 h 130"/>
                <a:gd name="T108" fmla="*/ 72 w 130"/>
                <a:gd name="T109" fmla="*/ 0 h 130"/>
                <a:gd name="T110" fmla="*/ 65 w 130"/>
                <a:gd name="T111" fmla="*/ 0 h 130"/>
                <a:gd name="T112" fmla="*/ 65 w 130"/>
                <a:gd name="T113" fmla="*/ 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30" h="130">
                  <a:moveTo>
                    <a:pt x="65" y="0"/>
                  </a:moveTo>
                  <a:lnTo>
                    <a:pt x="65" y="0"/>
                  </a:lnTo>
                  <a:lnTo>
                    <a:pt x="58" y="0"/>
                  </a:lnTo>
                  <a:lnTo>
                    <a:pt x="52" y="1"/>
                  </a:lnTo>
                  <a:lnTo>
                    <a:pt x="46" y="2"/>
                  </a:lnTo>
                  <a:lnTo>
                    <a:pt x="40" y="5"/>
                  </a:lnTo>
                  <a:lnTo>
                    <a:pt x="29" y="11"/>
                  </a:lnTo>
                  <a:lnTo>
                    <a:pt x="20" y="19"/>
                  </a:lnTo>
                  <a:lnTo>
                    <a:pt x="12" y="29"/>
                  </a:lnTo>
                  <a:lnTo>
                    <a:pt x="5" y="39"/>
                  </a:lnTo>
                  <a:lnTo>
                    <a:pt x="3" y="45"/>
                  </a:lnTo>
                  <a:lnTo>
                    <a:pt x="1" y="51"/>
                  </a:lnTo>
                  <a:lnTo>
                    <a:pt x="0" y="57"/>
                  </a:lnTo>
                  <a:lnTo>
                    <a:pt x="0" y="65"/>
                  </a:lnTo>
                  <a:lnTo>
                    <a:pt x="0" y="65"/>
                  </a:lnTo>
                  <a:lnTo>
                    <a:pt x="0" y="71"/>
                  </a:lnTo>
                  <a:lnTo>
                    <a:pt x="1" y="78"/>
                  </a:lnTo>
                  <a:lnTo>
                    <a:pt x="3" y="84"/>
                  </a:lnTo>
                  <a:lnTo>
                    <a:pt x="5" y="90"/>
                  </a:lnTo>
                  <a:lnTo>
                    <a:pt x="8" y="95"/>
                  </a:lnTo>
                  <a:lnTo>
                    <a:pt x="12" y="101"/>
                  </a:lnTo>
                  <a:lnTo>
                    <a:pt x="20" y="110"/>
                  </a:lnTo>
                  <a:lnTo>
                    <a:pt x="29" y="119"/>
                  </a:lnTo>
                  <a:lnTo>
                    <a:pt x="34" y="122"/>
                  </a:lnTo>
                  <a:lnTo>
                    <a:pt x="40" y="125"/>
                  </a:lnTo>
                  <a:lnTo>
                    <a:pt x="46" y="127"/>
                  </a:lnTo>
                  <a:lnTo>
                    <a:pt x="52" y="128"/>
                  </a:lnTo>
                  <a:lnTo>
                    <a:pt x="58" y="129"/>
                  </a:lnTo>
                  <a:lnTo>
                    <a:pt x="65" y="130"/>
                  </a:lnTo>
                  <a:lnTo>
                    <a:pt x="65" y="130"/>
                  </a:lnTo>
                  <a:lnTo>
                    <a:pt x="72" y="129"/>
                  </a:lnTo>
                  <a:lnTo>
                    <a:pt x="78" y="128"/>
                  </a:lnTo>
                  <a:lnTo>
                    <a:pt x="84" y="127"/>
                  </a:lnTo>
                  <a:lnTo>
                    <a:pt x="90" y="125"/>
                  </a:lnTo>
                  <a:lnTo>
                    <a:pt x="101" y="119"/>
                  </a:lnTo>
                  <a:lnTo>
                    <a:pt x="110" y="110"/>
                  </a:lnTo>
                  <a:lnTo>
                    <a:pt x="119" y="101"/>
                  </a:lnTo>
                  <a:lnTo>
                    <a:pt x="122" y="95"/>
                  </a:lnTo>
                  <a:lnTo>
                    <a:pt x="125" y="90"/>
                  </a:lnTo>
                  <a:lnTo>
                    <a:pt x="127" y="84"/>
                  </a:lnTo>
                  <a:lnTo>
                    <a:pt x="128" y="78"/>
                  </a:lnTo>
                  <a:lnTo>
                    <a:pt x="129" y="71"/>
                  </a:lnTo>
                  <a:lnTo>
                    <a:pt x="130" y="65"/>
                  </a:lnTo>
                  <a:lnTo>
                    <a:pt x="130" y="65"/>
                  </a:lnTo>
                  <a:lnTo>
                    <a:pt x="129" y="57"/>
                  </a:lnTo>
                  <a:lnTo>
                    <a:pt x="128" y="51"/>
                  </a:lnTo>
                  <a:lnTo>
                    <a:pt x="127" y="45"/>
                  </a:lnTo>
                  <a:lnTo>
                    <a:pt x="125" y="39"/>
                  </a:lnTo>
                  <a:lnTo>
                    <a:pt x="119" y="29"/>
                  </a:lnTo>
                  <a:lnTo>
                    <a:pt x="110" y="19"/>
                  </a:lnTo>
                  <a:lnTo>
                    <a:pt x="101" y="11"/>
                  </a:lnTo>
                  <a:lnTo>
                    <a:pt x="90" y="5"/>
                  </a:lnTo>
                  <a:lnTo>
                    <a:pt x="84" y="2"/>
                  </a:lnTo>
                  <a:lnTo>
                    <a:pt x="78" y="1"/>
                  </a:lnTo>
                  <a:lnTo>
                    <a:pt x="72" y="0"/>
                  </a:lnTo>
                  <a:lnTo>
                    <a:pt x="65" y="0"/>
                  </a:lnTo>
                  <a:lnTo>
                    <a:pt x="65" y="0"/>
                  </a:lnTo>
                  <a:close/>
                </a:path>
              </a:pathLst>
            </a:custGeom>
            <a:solidFill>
              <a:srgbClr val="FFFFFF"/>
            </a:solidFill>
            <a:ln w="6350">
              <a:noFill/>
              <a:round/>
              <a:headEnd/>
              <a:tailEnd/>
            </a:ln>
            <a:extLst/>
          </p:spPr>
          <p:txBody>
            <a:bodyPr vert="horz" wrap="square" lIns="68544" tIns="34272" rIns="68544" bIns="34272" numCol="1" anchor="t" anchorCtr="0" compatLnSpc="1">
              <a:prstTxWarp prst="textNoShape">
                <a:avLst/>
              </a:prstTxWarp>
            </a:bodyPr>
            <a:lstStyle/>
            <a:p>
              <a:pPr defTabSz="514067">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0" name="Rectangle 239"/>
            <p:cNvSpPr/>
            <p:nvPr/>
          </p:nvSpPr>
          <p:spPr>
            <a:xfrm>
              <a:off x="3308348" y="1844446"/>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1" name="Rectangle 240"/>
            <p:cNvSpPr/>
            <p:nvPr/>
          </p:nvSpPr>
          <p:spPr>
            <a:xfrm>
              <a:off x="3430680" y="1844446"/>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2" name="Rectangle 241"/>
            <p:cNvSpPr/>
            <p:nvPr/>
          </p:nvSpPr>
          <p:spPr>
            <a:xfrm>
              <a:off x="3307826" y="1873330"/>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3" name="Rectangle 242"/>
            <p:cNvSpPr/>
            <p:nvPr/>
          </p:nvSpPr>
          <p:spPr>
            <a:xfrm>
              <a:off x="3369253" y="1873330"/>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4" name="Rectangle 243"/>
            <p:cNvSpPr/>
            <p:nvPr/>
          </p:nvSpPr>
          <p:spPr>
            <a:xfrm>
              <a:off x="3345484" y="1844446"/>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5" name="Rectangle 244"/>
            <p:cNvSpPr/>
            <p:nvPr/>
          </p:nvSpPr>
          <p:spPr>
            <a:xfrm>
              <a:off x="3373883" y="1844446"/>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6" name="Rectangle 245"/>
            <p:cNvSpPr/>
            <p:nvPr/>
          </p:nvSpPr>
          <p:spPr>
            <a:xfrm>
              <a:off x="3402282" y="1844442"/>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7" name="Rectangle 246"/>
            <p:cNvSpPr/>
            <p:nvPr/>
          </p:nvSpPr>
          <p:spPr>
            <a:xfrm>
              <a:off x="3307828" y="190238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8" name="Rectangle 247"/>
            <p:cNvSpPr/>
            <p:nvPr/>
          </p:nvSpPr>
          <p:spPr>
            <a:xfrm>
              <a:off x="3430158" y="190238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49" name="Rectangle 248"/>
            <p:cNvSpPr/>
            <p:nvPr/>
          </p:nvSpPr>
          <p:spPr>
            <a:xfrm>
              <a:off x="3344962" y="190238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0" name="Rectangle 249"/>
            <p:cNvSpPr/>
            <p:nvPr/>
          </p:nvSpPr>
          <p:spPr>
            <a:xfrm>
              <a:off x="3373361" y="190238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1" name="Rectangle 250"/>
            <p:cNvSpPr/>
            <p:nvPr/>
          </p:nvSpPr>
          <p:spPr>
            <a:xfrm>
              <a:off x="3401760" y="190238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2" name="Rectangle 251"/>
            <p:cNvSpPr/>
            <p:nvPr/>
          </p:nvSpPr>
          <p:spPr>
            <a:xfrm>
              <a:off x="3307828" y="1960894"/>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3" name="Rectangle 252"/>
            <p:cNvSpPr/>
            <p:nvPr/>
          </p:nvSpPr>
          <p:spPr>
            <a:xfrm>
              <a:off x="3430159" y="1960894"/>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4" name="Rectangle 253"/>
            <p:cNvSpPr/>
            <p:nvPr/>
          </p:nvSpPr>
          <p:spPr>
            <a:xfrm>
              <a:off x="3344964" y="1960894"/>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5" name="Rectangle 254"/>
            <p:cNvSpPr/>
            <p:nvPr/>
          </p:nvSpPr>
          <p:spPr>
            <a:xfrm>
              <a:off x="3373361" y="1960892"/>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6" name="Rectangle 255"/>
            <p:cNvSpPr/>
            <p:nvPr/>
          </p:nvSpPr>
          <p:spPr>
            <a:xfrm>
              <a:off x="3401760" y="1960892"/>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7" name="Rectangle 256"/>
            <p:cNvSpPr/>
            <p:nvPr/>
          </p:nvSpPr>
          <p:spPr>
            <a:xfrm>
              <a:off x="3430681" y="1873344"/>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8" name="Rectangle 257"/>
            <p:cNvSpPr/>
            <p:nvPr/>
          </p:nvSpPr>
          <p:spPr>
            <a:xfrm>
              <a:off x="3307824" y="1926843"/>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59" name="Rectangle 258"/>
            <p:cNvSpPr/>
            <p:nvPr/>
          </p:nvSpPr>
          <p:spPr>
            <a:xfrm>
              <a:off x="3369246" y="1926837"/>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0" name="Rectangle 259"/>
            <p:cNvSpPr/>
            <p:nvPr/>
          </p:nvSpPr>
          <p:spPr>
            <a:xfrm>
              <a:off x="3430679" y="1926851"/>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1" name="Rectangle 260"/>
            <p:cNvSpPr/>
            <p:nvPr/>
          </p:nvSpPr>
          <p:spPr>
            <a:xfrm>
              <a:off x="3482934" y="2008479"/>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2" name="Rectangle 261"/>
            <p:cNvSpPr/>
            <p:nvPr/>
          </p:nvSpPr>
          <p:spPr>
            <a:xfrm>
              <a:off x="3605267" y="2008479"/>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3" name="Rectangle 262"/>
            <p:cNvSpPr/>
            <p:nvPr/>
          </p:nvSpPr>
          <p:spPr>
            <a:xfrm>
              <a:off x="3482414" y="2037363"/>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4" name="Rectangle 263"/>
            <p:cNvSpPr/>
            <p:nvPr/>
          </p:nvSpPr>
          <p:spPr>
            <a:xfrm>
              <a:off x="3543840" y="2037363"/>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5" name="Rectangle 264"/>
            <p:cNvSpPr/>
            <p:nvPr/>
          </p:nvSpPr>
          <p:spPr>
            <a:xfrm>
              <a:off x="3520070" y="2008479"/>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6" name="Rectangle 265"/>
            <p:cNvSpPr/>
            <p:nvPr/>
          </p:nvSpPr>
          <p:spPr>
            <a:xfrm>
              <a:off x="3548469" y="2008479"/>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7" name="Rectangle 266"/>
            <p:cNvSpPr/>
            <p:nvPr/>
          </p:nvSpPr>
          <p:spPr>
            <a:xfrm>
              <a:off x="3576868" y="2008473"/>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8" name="Rectangle 267"/>
            <p:cNvSpPr/>
            <p:nvPr/>
          </p:nvSpPr>
          <p:spPr>
            <a:xfrm>
              <a:off x="3482414" y="206641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69" name="Rectangle 268"/>
            <p:cNvSpPr/>
            <p:nvPr/>
          </p:nvSpPr>
          <p:spPr>
            <a:xfrm>
              <a:off x="3604745" y="206641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0" name="Rectangle 269"/>
            <p:cNvSpPr/>
            <p:nvPr/>
          </p:nvSpPr>
          <p:spPr>
            <a:xfrm>
              <a:off x="3519550" y="206641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1" name="Rectangle 270"/>
            <p:cNvSpPr/>
            <p:nvPr/>
          </p:nvSpPr>
          <p:spPr>
            <a:xfrm>
              <a:off x="3547948" y="206641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2" name="Rectangle 271"/>
            <p:cNvSpPr/>
            <p:nvPr/>
          </p:nvSpPr>
          <p:spPr>
            <a:xfrm>
              <a:off x="3576347" y="2066417"/>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3" name="Rectangle 272"/>
            <p:cNvSpPr/>
            <p:nvPr/>
          </p:nvSpPr>
          <p:spPr>
            <a:xfrm>
              <a:off x="3482410" y="2124923"/>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4" name="Rectangle 273"/>
            <p:cNvSpPr/>
            <p:nvPr/>
          </p:nvSpPr>
          <p:spPr>
            <a:xfrm>
              <a:off x="3604743" y="2124926"/>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5" name="Rectangle 274"/>
            <p:cNvSpPr/>
            <p:nvPr/>
          </p:nvSpPr>
          <p:spPr>
            <a:xfrm>
              <a:off x="3519547" y="2124926"/>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6" name="Rectangle 275"/>
            <p:cNvSpPr/>
            <p:nvPr/>
          </p:nvSpPr>
          <p:spPr>
            <a:xfrm>
              <a:off x="3547945" y="2124926"/>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7" name="Rectangle 276"/>
            <p:cNvSpPr/>
            <p:nvPr/>
          </p:nvSpPr>
          <p:spPr>
            <a:xfrm>
              <a:off x="3576344" y="2124931"/>
              <a:ext cx="13679" cy="13676"/>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8" name="Rectangle 277"/>
            <p:cNvSpPr/>
            <p:nvPr/>
          </p:nvSpPr>
          <p:spPr>
            <a:xfrm>
              <a:off x="3605263" y="2037387"/>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79" name="Rectangle 278"/>
            <p:cNvSpPr/>
            <p:nvPr/>
          </p:nvSpPr>
          <p:spPr>
            <a:xfrm>
              <a:off x="3482420" y="2090886"/>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80" name="Rectangle 279"/>
            <p:cNvSpPr/>
            <p:nvPr/>
          </p:nvSpPr>
          <p:spPr>
            <a:xfrm>
              <a:off x="3543829" y="2090902"/>
              <a:ext cx="51339" cy="14089"/>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sp>
          <p:nvSpPr>
            <p:cNvPr id="281" name="Rectangle 280"/>
            <p:cNvSpPr/>
            <p:nvPr/>
          </p:nvSpPr>
          <p:spPr>
            <a:xfrm>
              <a:off x="3605268" y="2090849"/>
              <a:ext cx="22416" cy="14072"/>
            </a:xfrm>
            <a:prstGeom prst="rect">
              <a:avLst/>
            </a:prstGeom>
            <a:solidFill>
              <a:srgbClr val="FFFFFF"/>
            </a:solidFill>
            <a:ln w="6350" cap="flat" cmpd="sng" algn="ctr">
              <a:noFill/>
              <a:prstDash val="solid"/>
            </a:ln>
            <a:effectLst/>
          </p:spPr>
          <p:txBody>
            <a:bodyPr rtlCol="0" anchor="ctr"/>
            <a:lstStyle/>
            <a:p>
              <a:pPr algn="ctr" defTabSz="685628">
                <a:defRPr/>
              </a:pPr>
              <a:endParaRPr lang="en-US" sz="825" kern="0" dirty="0">
                <a:solidFill>
                  <a:srgbClr val="57B74E"/>
                </a:solidFill>
                <a:latin typeface="CiscoSans ExtraLight" panose="020B0303020201020303" pitchFamily="34" charset="0"/>
                <a:ea typeface="ＭＳ Ｐゴシック" pitchFamily="34" charset="-128"/>
              </a:endParaRPr>
            </a:p>
          </p:txBody>
        </p:sp>
      </p:grpSp>
      <p:sp>
        <p:nvSpPr>
          <p:cNvPr id="282" name="Freeform 411"/>
          <p:cNvSpPr>
            <a:spLocks noChangeAspect="1" noEditPoints="1"/>
          </p:cNvSpPr>
          <p:nvPr/>
        </p:nvSpPr>
        <p:spPr bwMode="auto">
          <a:xfrm>
            <a:off x="473470" y="2430392"/>
            <a:ext cx="491389" cy="491389"/>
          </a:xfrm>
          <a:custGeom>
            <a:avLst/>
            <a:gdLst>
              <a:gd name="T0" fmla="*/ 1717 w 1741"/>
              <a:gd name="T1" fmla="*/ 292 h 1847"/>
              <a:gd name="T2" fmla="*/ 1604 w 1741"/>
              <a:gd name="T3" fmla="*/ 299 h 1847"/>
              <a:gd name="T4" fmla="*/ 1491 w 1741"/>
              <a:gd name="T5" fmla="*/ 294 h 1847"/>
              <a:gd name="T6" fmla="*/ 1393 w 1741"/>
              <a:gd name="T7" fmla="*/ 282 h 1847"/>
              <a:gd name="T8" fmla="*/ 1288 w 1741"/>
              <a:gd name="T9" fmla="*/ 259 h 1847"/>
              <a:gd name="T10" fmla="*/ 1179 w 1741"/>
              <a:gd name="T11" fmla="*/ 222 h 1847"/>
              <a:gd name="T12" fmla="*/ 1072 w 1741"/>
              <a:gd name="T13" fmla="*/ 169 h 1847"/>
              <a:gd name="T14" fmla="*/ 968 w 1741"/>
              <a:gd name="T15" fmla="*/ 97 h 1847"/>
              <a:gd name="T16" fmla="*/ 919 w 1741"/>
              <a:gd name="T17" fmla="*/ 53 h 1847"/>
              <a:gd name="T18" fmla="*/ 872 w 1741"/>
              <a:gd name="T19" fmla="*/ 3 h 1847"/>
              <a:gd name="T20" fmla="*/ 871 w 1741"/>
              <a:gd name="T21" fmla="*/ 1 h 1847"/>
              <a:gd name="T22" fmla="*/ 869 w 1741"/>
              <a:gd name="T23" fmla="*/ 3 h 1847"/>
              <a:gd name="T24" fmla="*/ 839 w 1741"/>
              <a:gd name="T25" fmla="*/ 36 h 1847"/>
              <a:gd name="T26" fmla="*/ 791 w 1741"/>
              <a:gd name="T27" fmla="*/ 83 h 1847"/>
              <a:gd name="T28" fmla="*/ 705 w 1741"/>
              <a:gd name="T29" fmla="*/ 148 h 1847"/>
              <a:gd name="T30" fmla="*/ 599 w 1741"/>
              <a:gd name="T31" fmla="*/ 207 h 1847"/>
              <a:gd name="T32" fmla="*/ 490 w 1741"/>
              <a:gd name="T33" fmla="*/ 249 h 1847"/>
              <a:gd name="T34" fmla="*/ 383 w 1741"/>
              <a:gd name="T35" fmla="*/ 276 h 1847"/>
              <a:gd name="T36" fmla="*/ 282 w 1741"/>
              <a:gd name="T37" fmla="*/ 291 h 1847"/>
              <a:gd name="T38" fmla="*/ 191 w 1741"/>
              <a:gd name="T39" fmla="*/ 299 h 1847"/>
              <a:gd name="T40" fmla="*/ 53 w 1741"/>
              <a:gd name="T41" fmla="*/ 295 h 1847"/>
              <a:gd name="T42" fmla="*/ 0 w 1741"/>
              <a:gd name="T43" fmla="*/ 289 h 1847"/>
              <a:gd name="T44" fmla="*/ 2 w 1741"/>
              <a:gd name="T45" fmla="*/ 413 h 1847"/>
              <a:gd name="T46" fmla="*/ 13 w 1741"/>
              <a:gd name="T47" fmla="*/ 548 h 1847"/>
              <a:gd name="T48" fmla="*/ 35 w 1741"/>
              <a:gd name="T49" fmla="*/ 719 h 1847"/>
              <a:gd name="T50" fmla="*/ 75 w 1741"/>
              <a:gd name="T51" fmla="*/ 911 h 1847"/>
              <a:gd name="T52" fmla="*/ 113 w 1741"/>
              <a:gd name="T53" fmla="*/ 1045 h 1847"/>
              <a:gd name="T54" fmla="*/ 149 w 1741"/>
              <a:gd name="T55" fmla="*/ 1147 h 1847"/>
              <a:gd name="T56" fmla="*/ 193 w 1741"/>
              <a:gd name="T57" fmla="*/ 1248 h 1847"/>
              <a:gd name="T58" fmla="*/ 244 w 1741"/>
              <a:gd name="T59" fmla="*/ 1346 h 1847"/>
              <a:gd name="T60" fmla="*/ 303 w 1741"/>
              <a:gd name="T61" fmla="*/ 1441 h 1847"/>
              <a:gd name="T62" fmla="*/ 372 w 1741"/>
              <a:gd name="T63" fmla="*/ 1531 h 1847"/>
              <a:gd name="T64" fmla="*/ 450 w 1741"/>
              <a:gd name="T65" fmla="*/ 1613 h 1847"/>
              <a:gd name="T66" fmla="*/ 538 w 1741"/>
              <a:gd name="T67" fmla="*/ 1688 h 1847"/>
              <a:gd name="T68" fmla="*/ 637 w 1741"/>
              <a:gd name="T69" fmla="*/ 1752 h 1847"/>
              <a:gd name="T70" fmla="*/ 747 w 1741"/>
              <a:gd name="T71" fmla="*/ 1805 h 1847"/>
              <a:gd name="T72" fmla="*/ 869 w 1741"/>
              <a:gd name="T73" fmla="*/ 1846 h 1847"/>
              <a:gd name="T74" fmla="*/ 871 w 1741"/>
              <a:gd name="T75" fmla="*/ 1847 h 1847"/>
              <a:gd name="T76" fmla="*/ 872 w 1741"/>
              <a:gd name="T77" fmla="*/ 1846 h 1847"/>
              <a:gd name="T78" fmla="*/ 956 w 1741"/>
              <a:gd name="T79" fmla="*/ 1820 h 1847"/>
              <a:gd name="T80" fmla="*/ 1070 w 1741"/>
              <a:gd name="T81" fmla="*/ 1771 h 1847"/>
              <a:gd name="T82" fmla="*/ 1172 w 1741"/>
              <a:gd name="T83" fmla="*/ 1710 h 1847"/>
              <a:gd name="T84" fmla="*/ 1264 w 1741"/>
              <a:gd name="T85" fmla="*/ 1639 h 1847"/>
              <a:gd name="T86" fmla="*/ 1345 w 1741"/>
              <a:gd name="T87" fmla="*/ 1559 h 1847"/>
              <a:gd name="T88" fmla="*/ 1417 w 1741"/>
              <a:gd name="T89" fmla="*/ 1472 h 1847"/>
              <a:gd name="T90" fmla="*/ 1479 w 1741"/>
              <a:gd name="T91" fmla="*/ 1379 h 1847"/>
              <a:gd name="T92" fmla="*/ 1533 w 1741"/>
              <a:gd name="T93" fmla="*/ 1281 h 1847"/>
              <a:gd name="T94" fmla="*/ 1579 w 1741"/>
              <a:gd name="T95" fmla="*/ 1181 h 1847"/>
              <a:gd name="T96" fmla="*/ 1618 w 1741"/>
              <a:gd name="T97" fmla="*/ 1079 h 1847"/>
              <a:gd name="T98" fmla="*/ 1649 w 1741"/>
              <a:gd name="T99" fmla="*/ 978 h 1847"/>
              <a:gd name="T100" fmla="*/ 1696 w 1741"/>
              <a:gd name="T101" fmla="*/ 781 h 1847"/>
              <a:gd name="T102" fmla="*/ 1724 w 1741"/>
              <a:gd name="T103" fmla="*/ 602 h 1847"/>
              <a:gd name="T104" fmla="*/ 1737 w 1741"/>
              <a:gd name="T105" fmla="*/ 454 h 1847"/>
              <a:gd name="T106" fmla="*/ 1741 w 1741"/>
              <a:gd name="T107" fmla="*/ 305 h 1847"/>
              <a:gd name="T108" fmla="*/ 1128 w 1741"/>
              <a:gd name="T109" fmla="*/ 1219 h 1847"/>
              <a:gd name="T110" fmla="*/ 682 w 1741"/>
              <a:gd name="T111" fmla="*/ 962 h 1847"/>
              <a:gd name="T112" fmla="*/ 864 w 1741"/>
              <a:gd name="T113" fmla="*/ 479 h 1847"/>
              <a:gd name="T114" fmla="*/ 1074 w 1741"/>
              <a:gd name="T115" fmla="*/ 950 h 1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1" h="1847">
                <a:moveTo>
                  <a:pt x="1741" y="289"/>
                </a:moveTo>
                <a:lnTo>
                  <a:pt x="1741" y="289"/>
                </a:lnTo>
                <a:lnTo>
                  <a:pt x="1717" y="292"/>
                </a:lnTo>
                <a:lnTo>
                  <a:pt x="1688" y="295"/>
                </a:lnTo>
                <a:lnTo>
                  <a:pt x="1650" y="297"/>
                </a:lnTo>
                <a:lnTo>
                  <a:pt x="1604" y="299"/>
                </a:lnTo>
                <a:lnTo>
                  <a:pt x="1550" y="299"/>
                </a:lnTo>
                <a:lnTo>
                  <a:pt x="1522" y="296"/>
                </a:lnTo>
                <a:lnTo>
                  <a:pt x="1491" y="294"/>
                </a:lnTo>
                <a:lnTo>
                  <a:pt x="1460" y="291"/>
                </a:lnTo>
                <a:lnTo>
                  <a:pt x="1427" y="287"/>
                </a:lnTo>
                <a:lnTo>
                  <a:pt x="1393" y="282"/>
                </a:lnTo>
                <a:lnTo>
                  <a:pt x="1359" y="276"/>
                </a:lnTo>
                <a:lnTo>
                  <a:pt x="1324" y="268"/>
                </a:lnTo>
                <a:lnTo>
                  <a:pt x="1288" y="259"/>
                </a:lnTo>
                <a:lnTo>
                  <a:pt x="1253" y="249"/>
                </a:lnTo>
                <a:lnTo>
                  <a:pt x="1216" y="236"/>
                </a:lnTo>
                <a:lnTo>
                  <a:pt x="1179" y="222"/>
                </a:lnTo>
                <a:lnTo>
                  <a:pt x="1143" y="207"/>
                </a:lnTo>
                <a:lnTo>
                  <a:pt x="1108" y="188"/>
                </a:lnTo>
                <a:lnTo>
                  <a:pt x="1072" y="169"/>
                </a:lnTo>
                <a:lnTo>
                  <a:pt x="1036" y="148"/>
                </a:lnTo>
                <a:lnTo>
                  <a:pt x="1002" y="123"/>
                </a:lnTo>
                <a:lnTo>
                  <a:pt x="968" y="97"/>
                </a:lnTo>
                <a:lnTo>
                  <a:pt x="952" y="83"/>
                </a:lnTo>
                <a:lnTo>
                  <a:pt x="935" y="68"/>
                </a:lnTo>
                <a:lnTo>
                  <a:pt x="919" y="53"/>
                </a:lnTo>
                <a:lnTo>
                  <a:pt x="903" y="36"/>
                </a:lnTo>
                <a:lnTo>
                  <a:pt x="888" y="20"/>
                </a:lnTo>
                <a:lnTo>
                  <a:pt x="872" y="3"/>
                </a:lnTo>
                <a:lnTo>
                  <a:pt x="872" y="0"/>
                </a:lnTo>
                <a:lnTo>
                  <a:pt x="872" y="0"/>
                </a:lnTo>
                <a:lnTo>
                  <a:pt x="871" y="1"/>
                </a:lnTo>
                <a:lnTo>
                  <a:pt x="871" y="1"/>
                </a:lnTo>
                <a:lnTo>
                  <a:pt x="869" y="0"/>
                </a:lnTo>
                <a:lnTo>
                  <a:pt x="869" y="3"/>
                </a:lnTo>
                <a:lnTo>
                  <a:pt x="869" y="3"/>
                </a:lnTo>
                <a:lnTo>
                  <a:pt x="854" y="20"/>
                </a:lnTo>
                <a:lnTo>
                  <a:pt x="839" y="36"/>
                </a:lnTo>
                <a:lnTo>
                  <a:pt x="823" y="53"/>
                </a:lnTo>
                <a:lnTo>
                  <a:pt x="807" y="68"/>
                </a:lnTo>
                <a:lnTo>
                  <a:pt x="791" y="83"/>
                </a:lnTo>
                <a:lnTo>
                  <a:pt x="774" y="97"/>
                </a:lnTo>
                <a:lnTo>
                  <a:pt x="740" y="123"/>
                </a:lnTo>
                <a:lnTo>
                  <a:pt x="705" y="148"/>
                </a:lnTo>
                <a:lnTo>
                  <a:pt x="670" y="169"/>
                </a:lnTo>
                <a:lnTo>
                  <a:pt x="635" y="188"/>
                </a:lnTo>
                <a:lnTo>
                  <a:pt x="599" y="207"/>
                </a:lnTo>
                <a:lnTo>
                  <a:pt x="562" y="222"/>
                </a:lnTo>
                <a:lnTo>
                  <a:pt x="525" y="236"/>
                </a:lnTo>
                <a:lnTo>
                  <a:pt x="490" y="249"/>
                </a:lnTo>
                <a:lnTo>
                  <a:pt x="454" y="259"/>
                </a:lnTo>
                <a:lnTo>
                  <a:pt x="418" y="268"/>
                </a:lnTo>
                <a:lnTo>
                  <a:pt x="383" y="276"/>
                </a:lnTo>
                <a:lnTo>
                  <a:pt x="349" y="282"/>
                </a:lnTo>
                <a:lnTo>
                  <a:pt x="315" y="287"/>
                </a:lnTo>
                <a:lnTo>
                  <a:pt x="282" y="291"/>
                </a:lnTo>
                <a:lnTo>
                  <a:pt x="250" y="294"/>
                </a:lnTo>
                <a:lnTo>
                  <a:pt x="221" y="296"/>
                </a:lnTo>
                <a:lnTo>
                  <a:pt x="191" y="299"/>
                </a:lnTo>
                <a:lnTo>
                  <a:pt x="138" y="299"/>
                </a:lnTo>
                <a:lnTo>
                  <a:pt x="91" y="297"/>
                </a:lnTo>
                <a:lnTo>
                  <a:pt x="53" y="295"/>
                </a:lnTo>
                <a:lnTo>
                  <a:pt x="25" y="292"/>
                </a:lnTo>
                <a:lnTo>
                  <a:pt x="0" y="289"/>
                </a:lnTo>
                <a:lnTo>
                  <a:pt x="0" y="289"/>
                </a:lnTo>
                <a:lnTo>
                  <a:pt x="0" y="305"/>
                </a:lnTo>
                <a:lnTo>
                  <a:pt x="0" y="346"/>
                </a:lnTo>
                <a:lnTo>
                  <a:pt x="2" y="413"/>
                </a:lnTo>
                <a:lnTo>
                  <a:pt x="4" y="454"/>
                </a:lnTo>
                <a:lnTo>
                  <a:pt x="8" y="498"/>
                </a:lnTo>
                <a:lnTo>
                  <a:pt x="13" y="548"/>
                </a:lnTo>
                <a:lnTo>
                  <a:pt x="19" y="602"/>
                </a:lnTo>
                <a:lnTo>
                  <a:pt x="26" y="659"/>
                </a:lnTo>
                <a:lnTo>
                  <a:pt x="35" y="719"/>
                </a:lnTo>
                <a:lnTo>
                  <a:pt x="46" y="781"/>
                </a:lnTo>
                <a:lnTo>
                  <a:pt x="58" y="845"/>
                </a:lnTo>
                <a:lnTo>
                  <a:pt x="75" y="911"/>
                </a:lnTo>
                <a:lnTo>
                  <a:pt x="92" y="978"/>
                </a:lnTo>
                <a:lnTo>
                  <a:pt x="102" y="1012"/>
                </a:lnTo>
                <a:lnTo>
                  <a:pt x="113" y="1045"/>
                </a:lnTo>
                <a:lnTo>
                  <a:pt x="125" y="1079"/>
                </a:lnTo>
                <a:lnTo>
                  <a:pt x="137" y="1114"/>
                </a:lnTo>
                <a:lnTo>
                  <a:pt x="149" y="1147"/>
                </a:lnTo>
                <a:lnTo>
                  <a:pt x="163" y="1181"/>
                </a:lnTo>
                <a:lnTo>
                  <a:pt x="178" y="1214"/>
                </a:lnTo>
                <a:lnTo>
                  <a:pt x="193" y="1248"/>
                </a:lnTo>
                <a:lnTo>
                  <a:pt x="209" y="1281"/>
                </a:lnTo>
                <a:lnTo>
                  <a:pt x="226" y="1314"/>
                </a:lnTo>
                <a:lnTo>
                  <a:pt x="244" y="1346"/>
                </a:lnTo>
                <a:lnTo>
                  <a:pt x="263" y="1379"/>
                </a:lnTo>
                <a:lnTo>
                  <a:pt x="283" y="1410"/>
                </a:lnTo>
                <a:lnTo>
                  <a:pt x="303" y="1441"/>
                </a:lnTo>
                <a:lnTo>
                  <a:pt x="326" y="1472"/>
                </a:lnTo>
                <a:lnTo>
                  <a:pt x="348" y="1501"/>
                </a:lnTo>
                <a:lnTo>
                  <a:pt x="372" y="1531"/>
                </a:lnTo>
                <a:lnTo>
                  <a:pt x="397" y="1559"/>
                </a:lnTo>
                <a:lnTo>
                  <a:pt x="422" y="1587"/>
                </a:lnTo>
                <a:lnTo>
                  <a:pt x="450" y="1613"/>
                </a:lnTo>
                <a:lnTo>
                  <a:pt x="478" y="1639"/>
                </a:lnTo>
                <a:lnTo>
                  <a:pt x="507" y="1663"/>
                </a:lnTo>
                <a:lnTo>
                  <a:pt x="538" y="1688"/>
                </a:lnTo>
                <a:lnTo>
                  <a:pt x="569" y="1710"/>
                </a:lnTo>
                <a:lnTo>
                  <a:pt x="603" y="1732"/>
                </a:lnTo>
                <a:lnTo>
                  <a:pt x="637" y="1752"/>
                </a:lnTo>
                <a:lnTo>
                  <a:pt x="672" y="1771"/>
                </a:lnTo>
                <a:lnTo>
                  <a:pt x="709" y="1789"/>
                </a:lnTo>
                <a:lnTo>
                  <a:pt x="747" y="1805"/>
                </a:lnTo>
                <a:lnTo>
                  <a:pt x="787" y="1820"/>
                </a:lnTo>
                <a:lnTo>
                  <a:pt x="827" y="1834"/>
                </a:lnTo>
                <a:lnTo>
                  <a:pt x="869" y="1846"/>
                </a:lnTo>
                <a:lnTo>
                  <a:pt x="869" y="1847"/>
                </a:lnTo>
                <a:lnTo>
                  <a:pt x="869" y="1847"/>
                </a:lnTo>
                <a:lnTo>
                  <a:pt x="871" y="1847"/>
                </a:lnTo>
                <a:lnTo>
                  <a:pt x="871" y="1847"/>
                </a:lnTo>
                <a:lnTo>
                  <a:pt x="872" y="1847"/>
                </a:lnTo>
                <a:lnTo>
                  <a:pt x="872" y="1846"/>
                </a:lnTo>
                <a:lnTo>
                  <a:pt x="872" y="1846"/>
                </a:lnTo>
                <a:lnTo>
                  <a:pt x="915" y="1834"/>
                </a:lnTo>
                <a:lnTo>
                  <a:pt x="956" y="1820"/>
                </a:lnTo>
                <a:lnTo>
                  <a:pt x="995" y="1805"/>
                </a:lnTo>
                <a:lnTo>
                  <a:pt x="1033" y="1789"/>
                </a:lnTo>
                <a:lnTo>
                  <a:pt x="1070" y="1771"/>
                </a:lnTo>
                <a:lnTo>
                  <a:pt x="1105" y="1752"/>
                </a:lnTo>
                <a:lnTo>
                  <a:pt x="1139" y="1732"/>
                </a:lnTo>
                <a:lnTo>
                  <a:pt x="1172" y="1710"/>
                </a:lnTo>
                <a:lnTo>
                  <a:pt x="1204" y="1688"/>
                </a:lnTo>
                <a:lnTo>
                  <a:pt x="1234" y="1663"/>
                </a:lnTo>
                <a:lnTo>
                  <a:pt x="1264" y="1639"/>
                </a:lnTo>
                <a:lnTo>
                  <a:pt x="1292" y="1613"/>
                </a:lnTo>
                <a:lnTo>
                  <a:pt x="1319" y="1587"/>
                </a:lnTo>
                <a:lnTo>
                  <a:pt x="1345" y="1559"/>
                </a:lnTo>
                <a:lnTo>
                  <a:pt x="1370" y="1531"/>
                </a:lnTo>
                <a:lnTo>
                  <a:pt x="1393" y="1501"/>
                </a:lnTo>
                <a:lnTo>
                  <a:pt x="1417" y="1472"/>
                </a:lnTo>
                <a:lnTo>
                  <a:pt x="1438" y="1441"/>
                </a:lnTo>
                <a:lnTo>
                  <a:pt x="1459" y="1410"/>
                </a:lnTo>
                <a:lnTo>
                  <a:pt x="1479" y="1379"/>
                </a:lnTo>
                <a:lnTo>
                  <a:pt x="1497" y="1346"/>
                </a:lnTo>
                <a:lnTo>
                  <a:pt x="1516" y="1314"/>
                </a:lnTo>
                <a:lnTo>
                  <a:pt x="1533" y="1281"/>
                </a:lnTo>
                <a:lnTo>
                  <a:pt x="1549" y="1248"/>
                </a:lnTo>
                <a:lnTo>
                  <a:pt x="1565" y="1214"/>
                </a:lnTo>
                <a:lnTo>
                  <a:pt x="1579" y="1181"/>
                </a:lnTo>
                <a:lnTo>
                  <a:pt x="1592" y="1147"/>
                </a:lnTo>
                <a:lnTo>
                  <a:pt x="1605" y="1114"/>
                </a:lnTo>
                <a:lnTo>
                  <a:pt x="1618" y="1079"/>
                </a:lnTo>
                <a:lnTo>
                  <a:pt x="1629" y="1045"/>
                </a:lnTo>
                <a:lnTo>
                  <a:pt x="1639" y="1012"/>
                </a:lnTo>
                <a:lnTo>
                  <a:pt x="1649" y="978"/>
                </a:lnTo>
                <a:lnTo>
                  <a:pt x="1668" y="911"/>
                </a:lnTo>
                <a:lnTo>
                  <a:pt x="1683" y="845"/>
                </a:lnTo>
                <a:lnTo>
                  <a:pt x="1696" y="781"/>
                </a:lnTo>
                <a:lnTo>
                  <a:pt x="1707" y="719"/>
                </a:lnTo>
                <a:lnTo>
                  <a:pt x="1717" y="659"/>
                </a:lnTo>
                <a:lnTo>
                  <a:pt x="1724" y="602"/>
                </a:lnTo>
                <a:lnTo>
                  <a:pt x="1730" y="548"/>
                </a:lnTo>
                <a:lnTo>
                  <a:pt x="1734" y="498"/>
                </a:lnTo>
                <a:lnTo>
                  <a:pt x="1737" y="454"/>
                </a:lnTo>
                <a:lnTo>
                  <a:pt x="1739" y="413"/>
                </a:lnTo>
                <a:lnTo>
                  <a:pt x="1741" y="346"/>
                </a:lnTo>
                <a:lnTo>
                  <a:pt x="1741" y="305"/>
                </a:lnTo>
                <a:lnTo>
                  <a:pt x="1741" y="289"/>
                </a:lnTo>
                <a:lnTo>
                  <a:pt x="1741" y="289"/>
                </a:lnTo>
                <a:close/>
                <a:moveTo>
                  <a:pt x="1128" y="1219"/>
                </a:moveTo>
                <a:lnTo>
                  <a:pt x="881" y="1098"/>
                </a:lnTo>
                <a:lnTo>
                  <a:pt x="643" y="1233"/>
                </a:lnTo>
                <a:lnTo>
                  <a:pt x="682" y="962"/>
                </a:lnTo>
                <a:lnTo>
                  <a:pt x="480" y="775"/>
                </a:lnTo>
                <a:lnTo>
                  <a:pt x="750" y="728"/>
                </a:lnTo>
                <a:lnTo>
                  <a:pt x="864" y="479"/>
                </a:lnTo>
                <a:lnTo>
                  <a:pt x="993" y="721"/>
                </a:lnTo>
                <a:lnTo>
                  <a:pt x="1265" y="752"/>
                </a:lnTo>
                <a:lnTo>
                  <a:pt x="1074" y="950"/>
                </a:lnTo>
                <a:lnTo>
                  <a:pt x="1128" y="1219"/>
                </a:lnTo>
                <a:close/>
              </a:path>
            </a:pathLst>
          </a:custGeom>
          <a:solidFill>
            <a:srgbClr val="FFFFFF"/>
          </a:solidFill>
          <a:ln>
            <a:noFill/>
          </a:ln>
        </p:spPr>
        <p:txBody>
          <a:bodyPr vert="horz" wrap="square" lIns="68562" tIns="34281" rIns="68562" bIns="34281" numCol="1" anchor="t" anchorCtr="0" compatLnSpc="1">
            <a:prstTxWarp prst="textNoShape">
              <a:avLst/>
            </a:prstTxWarp>
          </a:bodyPr>
          <a:lstStyle/>
          <a:p>
            <a:pPr defTabSz="514289">
              <a:defRPr/>
            </a:pPr>
            <a:endParaRPr lang="en-US" sz="1350" kern="0" dirty="0">
              <a:solidFill>
                <a:srgbClr val="676767"/>
              </a:solidFill>
              <a:latin typeface="CiscoSans ExtraLight" panose="020B0303020201020303" pitchFamily="34" charset="0"/>
              <a:ea typeface="ＭＳ Ｐゴシック" pitchFamily="34" charset="-128"/>
            </a:endParaRPr>
          </a:p>
        </p:txBody>
      </p:sp>
      <p:sp>
        <p:nvSpPr>
          <p:cNvPr id="79" name="Rectangle 78"/>
          <p:cNvSpPr/>
          <p:nvPr/>
        </p:nvSpPr>
        <p:spPr>
          <a:xfrm>
            <a:off x="4744940" y="3577449"/>
            <a:ext cx="4205837" cy="76904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2000" dirty="0">
              <a:solidFill>
                <a:srgbClr val="2968AF"/>
              </a:solidFill>
              <a:latin typeface="CiscoSans ExtraLight" panose="020B0303020201020303" pitchFamily="34" charset="0"/>
            </a:endParaRPr>
          </a:p>
        </p:txBody>
      </p:sp>
      <p:sp>
        <p:nvSpPr>
          <p:cNvPr id="84" name="Rectangle 83"/>
          <p:cNvSpPr/>
          <p:nvPr/>
        </p:nvSpPr>
        <p:spPr>
          <a:xfrm rot="5400000">
            <a:off x="4751440" y="3563053"/>
            <a:ext cx="769041" cy="805073"/>
          </a:xfrm>
          <a:prstGeom prst="rect">
            <a:avLst/>
          </a:prstGeom>
          <a:solidFill>
            <a:srgbClr val="555558"/>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sp>
        <p:nvSpPr>
          <p:cNvPr id="91" name="Freeform 116"/>
          <p:cNvSpPr>
            <a:spLocks noEditPoints="1"/>
          </p:cNvSpPr>
          <p:nvPr/>
        </p:nvSpPr>
        <p:spPr bwMode="auto">
          <a:xfrm>
            <a:off x="4878379" y="3688601"/>
            <a:ext cx="470246" cy="496979"/>
          </a:xfrm>
          <a:custGeom>
            <a:avLst/>
            <a:gdLst>
              <a:gd name="T0" fmla="*/ 656 w 846"/>
              <a:gd name="T1" fmla="*/ 748 h 849"/>
              <a:gd name="T2" fmla="*/ 622 w 846"/>
              <a:gd name="T3" fmla="*/ 678 h 849"/>
              <a:gd name="T4" fmla="*/ 695 w 846"/>
              <a:gd name="T5" fmla="*/ 597 h 849"/>
              <a:gd name="T6" fmla="*/ 768 w 846"/>
              <a:gd name="T7" fmla="*/ 621 h 849"/>
              <a:gd name="T8" fmla="*/ 813 w 846"/>
              <a:gd name="T9" fmla="*/ 600 h 849"/>
              <a:gd name="T10" fmla="*/ 836 w 846"/>
              <a:gd name="T11" fmla="*/ 533 h 849"/>
              <a:gd name="T12" fmla="*/ 815 w 846"/>
              <a:gd name="T13" fmla="*/ 487 h 849"/>
              <a:gd name="T14" fmla="*/ 739 w 846"/>
              <a:gd name="T15" fmla="*/ 460 h 849"/>
              <a:gd name="T16" fmla="*/ 734 w 846"/>
              <a:gd name="T17" fmla="*/ 354 h 849"/>
              <a:gd name="T18" fmla="*/ 807 w 846"/>
              <a:gd name="T19" fmla="*/ 318 h 849"/>
              <a:gd name="T20" fmla="*/ 823 w 846"/>
              <a:gd name="T21" fmla="*/ 272 h 849"/>
              <a:gd name="T22" fmla="*/ 792 w 846"/>
              <a:gd name="T23" fmla="*/ 206 h 849"/>
              <a:gd name="T24" fmla="*/ 744 w 846"/>
              <a:gd name="T25" fmla="*/ 192 h 849"/>
              <a:gd name="T26" fmla="*/ 675 w 846"/>
              <a:gd name="T27" fmla="*/ 225 h 849"/>
              <a:gd name="T28" fmla="*/ 594 w 846"/>
              <a:gd name="T29" fmla="*/ 152 h 849"/>
              <a:gd name="T30" fmla="*/ 622 w 846"/>
              <a:gd name="T31" fmla="*/ 77 h 849"/>
              <a:gd name="T32" fmla="*/ 601 w 846"/>
              <a:gd name="T33" fmla="*/ 31 h 849"/>
              <a:gd name="T34" fmla="*/ 534 w 846"/>
              <a:gd name="T35" fmla="*/ 7 h 849"/>
              <a:gd name="T36" fmla="*/ 485 w 846"/>
              <a:gd name="T37" fmla="*/ 31 h 849"/>
              <a:gd name="T38" fmla="*/ 461 w 846"/>
              <a:gd name="T39" fmla="*/ 104 h 849"/>
              <a:gd name="T40" fmla="*/ 352 w 846"/>
              <a:gd name="T41" fmla="*/ 113 h 849"/>
              <a:gd name="T42" fmla="*/ 318 w 846"/>
              <a:gd name="T43" fmla="*/ 36 h 849"/>
              <a:gd name="T44" fmla="*/ 270 w 846"/>
              <a:gd name="T45" fmla="*/ 23 h 849"/>
              <a:gd name="T46" fmla="*/ 208 w 846"/>
              <a:gd name="T47" fmla="*/ 51 h 849"/>
              <a:gd name="T48" fmla="*/ 188 w 846"/>
              <a:gd name="T49" fmla="*/ 98 h 849"/>
              <a:gd name="T50" fmla="*/ 224 w 846"/>
              <a:gd name="T51" fmla="*/ 171 h 849"/>
              <a:gd name="T52" fmla="*/ 151 w 846"/>
              <a:gd name="T53" fmla="*/ 253 h 849"/>
              <a:gd name="T54" fmla="*/ 75 w 846"/>
              <a:gd name="T55" fmla="*/ 225 h 849"/>
              <a:gd name="T56" fmla="*/ 31 w 846"/>
              <a:gd name="T57" fmla="*/ 246 h 849"/>
              <a:gd name="T58" fmla="*/ 7 w 846"/>
              <a:gd name="T59" fmla="*/ 313 h 849"/>
              <a:gd name="T60" fmla="*/ 29 w 846"/>
              <a:gd name="T61" fmla="*/ 359 h 849"/>
              <a:gd name="T62" fmla="*/ 104 w 846"/>
              <a:gd name="T63" fmla="*/ 386 h 849"/>
              <a:gd name="T64" fmla="*/ 109 w 846"/>
              <a:gd name="T65" fmla="*/ 492 h 849"/>
              <a:gd name="T66" fmla="*/ 36 w 846"/>
              <a:gd name="T67" fmla="*/ 528 h 849"/>
              <a:gd name="T68" fmla="*/ 23 w 846"/>
              <a:gd name="T69" fmla="*/ 577 h 849"/>
              <a:gd name="T70" fmla="*/ 50 w 846"/>
              <a:gd name="T71" fmla="*/ 641 h 849"/>
              <a:gd name="T72" fmla="*/ 102 w 846"/>
              <a:gd name="T73" fmla="*/ 659 h 849"/>
              <a:gd name="T74" fmla="*/ 171 w 846"/>
              <a:gd name="T75" fmla="*/ 624 h 849"/>
              <a:gd name="T76" fmla="*/ 248 w 846"/>
              <a:gd name="T77" fmla="*/ 694 h 849"/>
              <a:gd name="T78" fmla="*/ 227 w 846"/>
              <a:gd name="T79" fmla="*/ 771 h 849"/>
              <a:gd name="T80" fmla="*/ 245 w 846"/>
              <a:gd name="T81" fmla="*/ 818 h 849"/>
              <a:gd name="T82" fmla="*/ 315 w 846"/>
              <a:gd name="T83" fmla="*/ 839 h 849"/>
              <a:gd name="T84" fmla="*/ 360 w 846"/>
              <a:gd name="T85" fmla="*/ 818 h 849"/>
              <a:gd name="T86" fmla="*/ 385 w 846"/>
              <a:gd name="T87" fmla="*/ 745 h 849"/>
              <a:gd name="T88" fmla="*/ 494 w 846"/>
              <a:gd name="T89" fmla="*/ 737 h 849"/>
              <a:gd name="T90" fmla="*/ 524 w 846"/>
              <a:gd name="T91" fmla="*/ 810 h 849"/>
              <a:gd name="T92" fmla="*/ 575 w 846"/>
              <a:gd name="T93" fmla="*/ 828 h 849"/>
              <a:gd name="T94" fmla="*/ 641 w 846"/>
              <a:gd name="T95" fmla="*/ 797 h 849"/>
              <a:gd name="T96" fmla="*/ 656 w 846"/>
              <a:gd name="T97" fmla="*/ 748 h 849"/>
              <a:gd name="T98" fmla="*/ 226 w 846"/>
              <a:gd name="T99" fmla="*/ 518 h 849"/>
              <a:gd name="T100" fmla="*/ 330 w 846"/>
              <a:gd name="T101" fmla="*/ 227 h 849"/>
              <a:gd name="T102" fmla="*/ 620 w 846"/>
              <a:gd name="T103" fmla="*/ 331 h 849"/>
              <a:gd name="T104" fmla="*/ 516 w 846"/>
              <a:gd name="T105" fmla="*/ 623 h 849"/>
              <a:gd name="T106" fmla="*/ 226 w 846"/>
              <a:gd name="T107" fmla="*/ 518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6" h="849">
                <a:moveTo>
                  <a:pt x="656" y="748"/>
                </a:moveTo>
                <a:cubicBezTo>
                  <a:pt x="622" y="678"/>
                  <a:pt x="622" y="678"/>
                  <a:pt x="622" y="678"/>
                </a:cubicBezTo>
                <a:cubicBezTo>
                  <a:pt x="648" y="654"/>
                  <a:pt x="674" y="629"/>
                  <a:pt x="695" y="597"/>
                </a:cubicBezTo>
                <a:cubicBezTo>
                  <a:pt x="768" y="621"/>
                  <a:pt x="768" y="621"/>
                  <a:pt x="768" y="621"/>
                </a:cubicBezTo>
                <a:cubicBezTo>
                  <a:pt x="786" y="631"/>
                  <a:pt x="807" y="621"/>
                  <a:pt x="813" y="600"/>
                </a:cubicBezTo>
                <a:cubicBezTo>
                  <a:pt x="836" y="533"/>
                  <a:pt x="836" y="533"/>
                  <a:pt x="836" y="533"/>
                </a:cubicBezTo>
                <a:cubicBezTo>
                  <a:pt x="846" y="515"/>
                  <a:pt x="836" y="496"/>
                  <a:pt x="815" y="487"/>
                </a:cubicBezTo>
                <a:cubicBezTo>
                  <a:pt x="739" y="460"/>
                  <a:pt x="739" y="460"/>
                  <a:pt x="739" y="460"/>
                </a:cubicBezTo>
                <a:cubicBezTo>
                  <a:pt x="745" y="429"/>
                  <a:pt x="744" y="390"/>
                  <a:pt x="734" y="354"/>
                </a:cubicBezTo>
                <a:cubicBezTo>
                  <a:pt x="807" y="318"/>
                  <a:pt x="807" y="318"/>
                  <a:pt x="807" y="318"/>
                </a:cubicBezTo>
                <a:cubicBezTo>
                  <a:pt x="823" y="310"/>
                  <a:pt x="831" y="289"/>
                  <a:pt x="823" y="272"/>
                </a:cubicBezTo>
                <a:cubicBezTo>
                  <a:pt x="792" y="206"/>
                  <a:pt x="792" y="206"/>
                  <a:pt x="792" y="206"/>
                </a:cubicBezTo>
                <a:cubicBezTo>
                  <a:pt x="786" y="189"/>
                  <a:pt x="765" y="183"/>
                  <a:pt x="744" y="192"/>
                </a:cubicBezTo>
                <a:cubicBezTo>
                  <a:pt x="675" y="225"/>
                  <a:pt x="675" y="225"/>
                  <a:pt x="675" y="225"/>
                </a:cubicBezTo>
                <a:cubicBezTo>
                  <a:pt x="654" y="196"/>
                  <a:pt x="625" y="173"/>
                  <a:pt x="594" y="152"/>
                </a:cubicBezTo>
                <a:cubicBezTo>
                  <a:pt x="622" y="77"/>
                  <a:pt x="622" y="77"/>
                  <a:pt x="622" y="77"/>
                </a:cubicBezTo>
                <a:cubicBezTo>
                  <a:pt x="625" y="57"/>
                  <a:pt x="619" y="41"/>
                  <a:pt x="601" y="31"/>
                </a:cubicBezTo>
                <a:cubicBezTo>
                  <a:pt x="534" y="7"/>
                  <a:pt x="534" y="7"/>
                  <a:pt x="534" y="7"/>
                </a:cubicBezTo>
                <a:cubicBezTo>
                  <a:pt x="513" y="0"/>
                  <a:pt x="492" y="10"/>
                  <a:pt x="485" y="31"/>
                </a:cubicBezTo>
                <a:cubicBezTo>
                  <a:pt x="461" y="104"/>
                  <a:pt x="461" y="104"/>
                  <a:pt x="461" y="104"/>
                </a:cubicBezTo>
                <a:cubicBezTo>
                  <a:pt x="424" y="98"/>
                  <a:pt x="388" y="103"/>
                  <a:pt x="352" y="113"/>
                </a:cubicBezTo>
                <a:cubicBezTo>
                  <a:pt x="318" y="36"/>
                  <a:pt x="318" y="36"/>
                  <a:pt x="318" y="36"/>
                </a:cubicBezTo>
                <a:cubicBezTo>
                  <a:pt x="309" y="21"/>
                  <a:pt x="291" y="13"/>
                  <a:pt x="270" y="23"/>
                </a:cubicBezTo>
                <a:cubicBezTo>
                  <a:pt x="208" y="51"/>
                  <a:pt x="208" y="51"/>
                  <a:pt x="208" y="51"/>
                </a:cubicBezTo>
                <a:cubicBezTo>
                  <a:pt x="188" y="60"/>
                  <a:pt x="180" y="82"/>
                  <a:pt x="188" y="98"/>
                </a:cubicBezTo>
                <a:cubicBezTo>
                  <a:pt x="224" y="171"/>
                  <a:pt x="224" y="171"/>
                  <a:pt x="224" y="171"/>
                </a:cubicBezTo>
                <a:cubicBezTo>
                  <a:pt x="195" y="192"/>
                  <a:pt x="172" y="220"/>
                  <a:pt x="151" y="253"/>
                </a:cubicBezTo>
                <a:cubicBezTo>
                  <a:pt x="75" y="225"/>
                  <a:pt x="75" y="225"/>
                  <a:pt x="75" y="225"/>
                </a:cubicBezTo>
                <a:cubicBezTo>
                  <a:pt x="60" y="219"/>
                  <a:pt x="39" y="228"/>
                  <a:pt x="31" y="246"/>
                </a:cubicBezTo>
                <a:cubicBezTo>
                  <a:pt x="7" y="313"/>
                  <a:pt x="7" y="313"/>
                  <a:pt x="7" y="313"/>
                </a:cubicBezTo>
                <a:cubicBezTo>
                  <a:pt x="0" y="334"/>
                  <a:pt x="10" y="355"/>
                  <a:pt x="29" y="359"/>
                </a:cubicBezTo>
                <a:cubicBezTo>
                  <a:pt x="104" y="386"/>
                  <a:pt x="104" y="386"/>
                  <a:pt x="104" y="386"/>
                </a:cubicBezTo>
                <a:cubicBezTo>
                  <a:pt x="101" y="421"/>
                  <a:pt x="102" y="460"/>
                  <a:pt x="109" y="492"/>
                </a:cubicBezTo>
                <a:cubicBezTo>
                  <a:pt x="36" y="528"/>
                  <a:pt x="36" y="528"/>
                  <a:pt x="36" y="528"/>
                </a:cubicBezTo>
                <a:cubicBezTo>
                  <a:pt x="20" y="536"/>
                  <a:pt x="13" y="558"/>
                  <a:pt x="23" y="577"/>
                </a:cubicBezTo>
                <a:cubicBezTo>
                  <a:pt x="50" y="641"/>
                  <a:pt x="50" y="641"/>
                  <a:pt x="50" y="641"/>
                </a:cubicBezTo>
                <a:cubicBezTo>
                  <a:pt x="60" y="660"/>
                  <a:pt x="81" y="667"/>
                  <a:pt x="102" y="659"/>
                </a:cubicBezTo>
                <a:cubicBezTo>
                  <a:pt x="171" y="624"/>
                  <a:pt x="171" y="624"/>
                  <a:pt x="171" y="624"/>
                </a:cubicBezTo>
                <a:cubicBezTo>
                  <a:pt x="192" y="654"/>
                  <a:pt x="219" y="676"/>
                  <a:pt x="248" y="694"/>
                </a:cubicBezTo>
                <a:cubicBezTo>
                  <a:pt x="227" y="771"/>
                  <a:pt x="227" y="771"/>
                  <a:pt x="227" y="771"/>
                </a:cubicBezTo>
                <a:cubicBezTo>
                  <a:pt x="218" y="789"/>
                  <a:pt x="227" y="810"/>
                  <a:pt x="245" y="818"/>
                </a:cubicBezTo>
                <a:cubicBezTo>
                  <a:pt x="315" y="839"/>
                  <a:pt x="315" y="839"/>
                  <a:pt x="315" y="839"/>
                </a:cubicBezTo>
                <a:cubicBezTo>
                  <a:pt x="333" y="849"/>
                  <a:pt x="351" y="836"/>
                  <a:pt x="360" y="818"/>
                </a:cubicBezTo>
                <a:cubicBezTo>
                  <a:pt x="385" y="745"/>
                  <a:pt x="385" y="745"/>
                  <a:pt x="385" y="745"/>
                </a:cubicBezTo>
                <a:cubicBezTo>
                  <a:pt x="419" y="748"/>
                  <a:pt x="458" y="748"/>
                  <a:pt x="494" y="737"/>
                </a:cubicBezTo>
                <a:cubicBezTo>
                  <a:pt x="524" y="810"/>
                  <a:pt x="524" y="810"/>
                  <a:pt x="524" y="810"/>
                </a:cubicBezTo>
                <a:cubicBezTo>
                  <a:pt x="537" y="828"/>
                  <a:pt x="555" y="836"/>
                  <a:pt x="575" y="828"/>
                </a:cubicBezTo>
                <a:cubicBezTo>
                  <a:pt x="641" y="797"/>
                  <a:pt x="641" y="797"/>
                  <a:pt x="641" y="797"/>
                </a:cubicBezTo>
                <a:cubicBezTo>
                  <a:pt x="656" y="786"/>
                  <a:pt x="664" y="768"/>
                  <a:pt x="656" y="748"/>
                </a:cubicBezTo>
                <a:moveTo>
                  <a:pt x="226" y="518"/>
                </a:moveTo>
                <a:cubicBezTo>
                  <a:pt x="174" y="408"/>
                  <a:pt x="219" y="280"/>
                  <a:pt x="330" y="227"/>
                </a:cubicBezTo>
                <a:cubicBezTo>
                  <a:pt x="438" y="171"/>
                  <a:pt x="567" y="220"/>
                  <a:pt x="620" y="331"/>
                </a:cubicBezTo>
                <a:cubicBezTo>
                  <a:pt x="669" y="439"/>
                  <a:pt x="627" y="571"/>
                  <a:pt x="516" y="623"/>
                </a:cubicBezTo>
                <a:cubicBezTo>
                  <a:pt x="409" y="673"/>
                  <a:pt x="279" y="629"/>
                  <a:pt x="226" y="5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96" name="Freeform 121"/>
          <p:cNvSpPr>
            <a:spLocks noEditPoints="1"/>
          </p:cNvSpPr>
          <p:nvPr/>
        </p:nvSpPr>
        <p:spPr bwMode="auto">
          <a:xfrm>
            <a:off x="5314082" y="3833183"/>
            <a:ext cx="201110" cy="192152"/>
          </a:xfrm>
          <a:custGeom>
            <a:avLst/>
            <a:gdLst>
              <a:gd name="T0" fmla="*/ 177 w 301"/>
              <a:gd name="T1" fmla="*/ 202 h 301"/>
              <a:gd name="T2" fmla="*/ 201 w 301"/>
              <a:gd name="T3" fmla="*/ 124 h 301"/>
              <a:gd name="T4" fmla="*/ 123 w 301"/>
              <a:gd name="T5" fmla="*/ 99 h 301"/>
              <a:gd name="T6" fmla="*/ 99 w 301"/>
              <a:gd name="T7" fmla="*/ 177 h 301"/>
              <a:gd name="T8" fmla="*/ 177 w 301"/>
              <a:gd name="T9" fmla="*/ 202 h 301"/>
              <a:gd name="T10" fmla="*/ 301 w 301"/>
              <a:gd name="T11" fmla="*/ 120 h 301"/>
              <a:gd name="T12" fmla="*/ 297 w 301"/>
              <a:gd name="T13" fmla="*/ 194 h 301"/>
              <a:gd name="T14" fmla="*/ 291 w 301"/>
              <a:gd name="T15" fmla="*/ 200 h 301"/>
              <a:gd name="T16" fmla="*/ 237 w 301"/>
              <a:gd name="T17" fmla="*/ 197 h 301"/>
              <a:gd name="T18" fmla="*/ 229 w 301"/>
              <a:gd name="T19" fmla="*/ 208 h 301"/>
              <a:gd name="T20" fmla="*/ 255 w 301"/>
              <a:gd name="T21" fmla="*/ 257 h 301"/>
              <a:gd name="T22" fmla="*/ 252 w 301"/>
              <a:gd name="T23" fmla="*/ 266 h 301"/>
              <a:gd name="T24" fmla="*/ 187 w 301"/>
              <a:gd name="T25" fmla="*/ 300 h 301"/>
              <a:gd name="T26" fmla="*/ 179 w 301"/>
              <a:gd name="T27" fmla="*/ 297 h 301"/>
              <a:gd name="T28" fmla="*/ 153 w 301"/>
              <a:gd name="T29" fmla="*/ 249 h 301"/>
              <a:gd name="T30" fmla="*/ 140 w 301"/>
              <a:gd name="T31" fmla="*/ 249 h 301"/>
              <a:gd name="T32" fmla="*/ 110 w 301"/>
              <a:gd name="T33" fmla="*/ 295 h 301"/>
              <a:gd name="T34" fmla="*/ 101 w 301"/>
              <a:gd name="T35" fmla="*/ 297 h 301"/>
              <a:gd name="T36" fmla="*/ 41 w 301"/>
              <a:gd name="T37" fmla="*/ 257 h 301"/>
              <a:gd name="T38" fmla="*/ 37 w 301"/>
              <a:gd name="T39" fmla="*/ 248 h 301"/>
              <a:gd name="T40" fmla="*/ 67 w 301"/>
              <a:gd name="T41" fmla="*/ 202 h 301"/>
              <a:gd name="T42" fmla="*/ 63 w 301"/>
              <a:gd name="T43" fmla="*/ 197 h 301"/>
              <a:gd name="T44" fmla="*/ 60 w 301"/>
              <a:gd name="T45" fmla="*/ 191 h 301"/>
              <a:gd name="T46" fmla="*/ 6 w 301"/>
              <a:gd name="T47" fmla="*/ 187 h 301"/>
              <a:gd name="T48" fmla="*/ 0 w 301"/>
              <a:gd name="T49" fmla="*/ 181 h 301"/>
              <a:gd name="T50" fmla="*/ 3 w 301"/>
              <a:gd name="T51" fmla="*/ 107 h 301"/>
              <a:gd name="T52" fmla="*/ 10 w 301"/>
              <a:gd name="T53" fmla="*/ 101 h 301"/>
              <a:gd name="T54" fmla="*/ 63 w 301"/>
              <a:gd name="T55" fmla="*/ 104 h 301"/>
              <a:gd name="T56" fmla="*/ 71 w 301"/>
              <a:gd name="T57" fmla="*/ 93 h 301"/>
              <a:gd name="T58" fmla="*/ 45 w 301"/>
              <a:gd name="T59" fmla="*/ 44 h 301"/>
              <a:gd name="T60" fmla="*/ 49 w 301"/>
              <a:gd name="T61" fmla="*/ 36 h 301"/>
              <a:gd name="T62" fmla="*/ 114 w 301"/>
              <a:gd name="T63" fmla="*/ 1 h 301"/>
              <a:gd name="T64" fmla="*/ 123 w 301"/>
              <a:gd name="T65" fmla="*/ 5 h 301"/>
              <a:gd name="T66" fmla="*/ 148 w 301"/>
              <a:gd name="T67" fmla="*/ 52 h 301"/>
              <a:gd name="T68" fmla="*/ 161 w 301"/>
              <a:gd name="T69" fmla="*/ 54 h 301"/>
              <a:gd name="T70" fmla="*/ 190 w 301"/>
              <a:gd name="T71" fmla="*/ 6 h 301"/>
              <a:gd name="T72" fmla="*/ 200 w 301"/>
              <a:gd name="T73" fmla="*/ 5 h 301"/>
              <a:gd name="T74" fmla="*/ 262 w 301"/>
              <a:gd name="T75" fmla="*/ 44 h 301"/>
              <a:gd name="T76" fmla="*/ 263 w 301"/>
              <a:gd name="T77" fmla="*/ 54 h 301"/>
              <a:gd name="T78" fmla="*/ 234 w 301"/>
              <a:gd name="T79" fmla="*/ 99 h 301"/>
              <a:gd name="T80" fmla="*/ 237 w 301"/>
              <a:gd name="T81" fmla="*/ 106 h 301"/>
              <a:gd name="T82" fmla="*/ 240 w 301"/>
              <a:gd name="T83" fmla="*/ 111 h 301"/>
              <a:gd name="T84" fmla="*/ 294 w 301"/>
              <a:gd name="T85" fmla="*/ 114 h 301"/>
              <a:gd name="T86" fmla="*/ 301 w 301"/>
              <a:gd name="T87"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1" h="301">
                <a:moveTo>
                  <a:pt x="177" y="202"/>
                </a:moveTo>
                <a:cubicBezTo>
                  <a:pt x="206" y="187"/>
                  <a:pt x="216" y="153"/>
                  <a:pt x="201" y="124"/>
                </a:cubicBezTo>
                <a:cubicBezTo>
                  <a:pt x="187" y="96"/>
                  <a:pt x="151" y="84"/>
                  <a:pt x="123" y="99"/>
                </a:cubicBezTo>
                <a:cubicBezTo>
                  <a:pt x="96" y="114"/>
                  <a:pt x="84" y="150"/>
                  <a:pt x="99" y="177"/>
                </a:cubicBezTo>
                <a:cubicBezTo>
                  <a:pt x="114" y="207"/>
                  <a:pt x="149" y="217"/>
                  <a:pt x="177" y="202"/>
                </a:cubicBezTo>
                <a:moveTo>
                  <a:pt x="301" y="120"/>
                </a:moveTo>
                <a:cubicBezTo>
                  <a:pt x="297" y="194"/>
                  <a:pt x="297" y="194"/>
                  <a:pt x="297" y="194"/>
                </a:cubicBezTo>
                <a:cubicBezTo>
                  <a:pt x="297" y="197"/>
                  <a:pt x="294" y="200"/>
                  <a:pt x="291" y="200"/>
                </a:cubicBezTo>
                <a:cubicBezTo>
                  <a:pt x="237" y="197"/>
                  <a:pt x="237" y="197"/>
                  <a:pt x="237" y="197"/>
                </a:cubicBezTo>
                <a:cubicBezTo>
                  <a:pt x="234" y="202"/>
                  <a:pt x="232" y="205"/>
                  <a:pt x="229" y="208"/>
                </a:cubicBezTo>
                <a:cubicBezTo>
                  <a:pt x="255" y="257"/>
                  <a:pt x="255" y="257"/>
                  <a:pt x="255" y="257"/>
                </a:cubicBezTo>
                <a:cubicBezTo>
                  <a:pt x="257" y="261"/>
                  <a:pt x="255" y="264"/>
                  <a:pt x="252" y="266"/>
                </a:cubicBezTo>
                <a:cubicBezTo>
                  <a:pt x="187" y="300"/>
                  <a:pt x="187" y="300"/>
                  <a:pt x="187" y="300"/>
                </a:cubicBezTo>
                <a:cubicBezTo>
                  <a:pt x="184" y="301"/>
                  <a:pt x="180" y="300"/>
                  <a:pt x="179" y="297"/>
                </a:cubicBezTo>
                <a:cubicBezTo>
                  <a:pt x="153" y="249"/>
                  <a:pt x="153" y="249"/>
                  <a:pt x="153" y="249"/>
                </a:cubicBezTo>
                <a:cubicBezTo>
                  <a:pt x="140" y="249"/>
                  <a:pt x="140" y="249"/>
                  <a:pt x="140" y="249"/>
                </a:cubicBezTo>
                <a:cubicBezTo>
                  <a:pt x="110" y="295"/>
                  <a:pt x="110" y="295"/>
                  <a:pt x="110" y="295"/>
                </a:cubicBezTo>
                <a:cubicBezTo>
                  <a:pt x="109" y="298"/>
                  <a:pt x="104" y="298"/>
                  <a:pt x="101" y="297"/>
                </a:cubicBezTo>
                <a:cubicBezTo>
                  <a:pt x="41" y="257"/>
                  <a:pt x="41" y="257"/>
                  <a:pt x="41" y="257"/>
                </a:cubicBezTo>
                <a:cubicBezTo>
                  <a:pt x="37" y="256"/>
                  <a:pt x="36" y="251"/>
                  <a:pt x="37" y="248"/>
                </a:cubicBezTo>
                <a:cubicBezTo>
                  <a:pt x="67" y="202"/>
                  <a:pt x="67" y="202"/>
                  <a:pt x="67" y="202"/>
                </a:cubicBezTo>
                <a:cubicBezTo>
                  <a:pt x="65" y="200"/>
                  <a:pt x="65" y="199"/>
                  <a:pt x="63" y="197"/>
                </a:cubicBezTo>
                <a:cubicBezTo>
                  <a:pt x="62" y="194"/>
                  <a:pt x="62" y="192"/>
                  <a:pt x="60" y="191"/>
                </a:cubicBezTo>
                <a:cubicBezTo>
                  <a:pt x="6" y="187"/>
                  <a:pt x="6" y="187"/>
                  <a:pt x="6" y="187"/>
                </a:cubicBezTo>
                <a:cubicBezTo>
                  <a:pt x="3" y="187"/>
                  <a:pt x="0" y="184"/>
                  <a:pt x="0" y="181"/>
                </a:cubicBezTo>
                <a:cubicBezTo>
                  <a:pt x="3" y="107"/>
                  <a:pt x="3" y="107"/>
                  <a:pt x="3" y="107"/>
                </a:cubicBezTo>
                <a:cubicBezTo>
                  <a:pt x="3" y="104"/>
                  <a:pt x="6" y="101"/>
                  <a:pt x="10" y="101"/>
                </a:cubicBezTo>
                <a:cubicBezTo>
                  <a:pt x="63" y="104"/>
                  <a:pt x="63" y="104"/>
                  <a:pt x="63" y="104"/>
                </a:cubicBezTo>
                <a:cubicBezTo>
                  <a:pt x="67" y="99"/>
                  <a:pt x="68" y="96"/>
                  <a:pt x="71" y="93"/>
                </a:cubicBezTo>
                <a:cubicBezTo>
                  <a:pt x="45" y="44"/>
                  <a:pt x="45" y="44"/>
                  <a:pt x="45" y="44"/>
                </a:cubicBezTo>
                <a:cubicBezTo>
                  <a:pt x="44" y="40"/>
                  <a:pt x="45" y="37"/>
                  <a:pt x="49" y="36"/>
                </a:cubicBezTo>
                <a:cubicBezTo>
                  <a:pt x="114" y="1"/>
                  <a:pt x="114" y="1"/>
                  <a:pt x="114" y="1"/>
                </a:cubicBezTo>
                <a:cubicBezTo>
                  <a:pt x="117" y="0"/>
                  <a:pt x="120" y="1"/>
                  <a:pt x="123" y="5"/>
                </a:cubicBezTo>
                <a:cubicBezTo>
                  <a:pt x="148" y="52"/>
                  <a:pt x="148" y="52"/>
                  <a:pt x="148" y="52"/>
                </a:cubicBezTo>
                <a:cubicBezTo>
                  <a:pt x="153" y="52"/>
                  <a:pt x="156" y="52"/>
                  <a:pt x="161" y="54"/>
                </a:cubicBezTo>
                <a:cubicBezTo>
                  <a:pt x="190" y="6"/>
                  <a:pt x="190" y="6"/>
                  <a:pt x="190" y="6"/>
                </a:cubicBezTo>
                <a:cubicBezTo>
                  <a:pt x="192" y="5"/>
                  <a:pt x="197" y="3"/>
                  <a:pt x="200" y="5"/>
                </a:cubicBezTo>
                <a:cubicBezTo>
                  <a:pt x="262" y="44"/>
                  <a:pt x="262" y="44"/>
                  <a:pt x="262" y="44"/>
                </a:cubicBezTo>
                <a:cubicBezTo>
                  <a:pt x="263" y="45"/>
                  <a:pt x="265" y="50"/>
                  <a:pt x="263" y="54"/>
                </a:cubicBezTo>
                <a:cubicBezTo>
                  <a:pt x="234" y="99"/>
                  <a:pt x="234" y="99"/>
                  <a:pt x="234" y="99"/>
                </a:cubicBezTo>
                <a:cubicBezTo>
                  <a:pt x="236" y="101"/>
                  <a:pt x="236" y="102"/>
                  <a:pt x="237" y="106"/>
                </a:cubicBezTo>
                <a:cubicBezTo>
                  <a:pt x="239" y="107"/>
                  <a:pt x="239" y="109"/>
                  <a:pt x="240" y="111"/>
                </a:cubicBezTo>
                <a:cubicBezTo>
                  <a:pt x="294" y="114"/>
                  <a:pt x="294" y="114"/>
                  <a:pt x="294" y="114"/>
                </a:cubicBezTo>
                <a:cubicBezTo>
                  <a:pt x="297" y="114"/>
                  <a:pt x="301" y="117"/>
                  <a:pt x="301" y="1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97" name="Freeform 122"/>
          <p:cNvSpPr>
            <a:spLocks noEditPoints="1"/>
          </p:cNvSpPr>
          <p:nvPr/>
        </p:nvSpPr>
        <p:spPr bwMode="auto">
          <a:xfrm>
            <a:off x="4763874" y="4072283"/>
            <a:ext cx="243802" cy="226593"/>
          </a:xfrm>
          <a:custGeom>
            <a:avLst/>
            <a:gdLst>
              <a:gd name="T0" fmla="*/ 192 w 337"/>
              <a:gd name="T1" fmla="*/ 228 h 338"/>
              <a:gd name="T2" fmla="*/ 228 w 337"/>
              <a:gd name="T3" fmla="*/ 146 h 338"/>
              <a:gd name="T4" fmla="*/ 146 w 337"/>
              <a:gd name="T5" fmla="*/ 109 h 338"/>
              <a:gd name="T6" fmla="*/ 110 w 337"/>
              <a:gd name="T7" fmla="*/ 191 h 338"/>
              <a:gd name="T8" fmla="*/ 192 w 337"/>
              <a:gd name="T9" fmla="*/ 228 h 338"/>
              <a:gd name="T10" fmla="*/ 337 w 337"/>
              <a:gd name="T11" fmla="*/ 153 h 338"/>
              <a:gd name="T12" fmla="*/ 325 w 337"/>
              <a:gd name="T13" fmla="*/ 232 h 338"/>
              <a:gd name="T14" fmla="*/ 317 w 337"/>
              <a:gd name="T15" fmla="*/ 238 h 338"/>
              <a:gd name="T16" fmla="*/ 258 w 337"/>
              <a:gd name="T17" fmla="*/ 230 h 338"/>
              <a:gd name="T18" fmla="*/ 248 w 337"/>
              <a:gd name="T19" fmla="*/ 242 h 338"/>
              <a:gd name="T20" fmla="*/ 269 w 337"/>
              <a:gd name="T21" fmla="*/ 297 h 338"/>
              <a:gd name="T22" fmla="*/ 265 w 337"/>
              <a:gd name="T23" fmla="*/ 307 h 338"/>
              <a:gd name="T24" fmla="*/ 191 w 337"/>
              <a:gd name="T25" fmla="*/ 336 h 338"/>
              <a:gd name="T26" fmla="*/ 181 w 337"/>
              <a:gd name="T27" fmla="*/ 331 h 338"/>
              <a:gd name="T28" fmla="*/ 160 w 337"/>
              <a:gd name="T29" fmla="*/ 276 h 338"/>
              <a:gd name="T30" fmla="*/ 145 w 337"/>
              <a:gd name="T31" fmla="*/ 274 h 338"/>
              <a:gd name="T32" fmla="*/ 108 w 337"/>
              <a:gd name="T33" fmla="*/ 321 h 338"/>
              <a:gd name="T34" fmla="*/ 98 w 337"/>
              <a:gd name="T35" fmla="*/ 322 h 338"/>
              <a:gd name="T36" fmla="*/ 35 w 337"/>
              <a:gd name="T37" fmla="*/ 271 h 338"/>
              <a:gd name="T38" fmla="*/ 33 w 337"/>
              <a:gd name="T39" fmla="*/ 261 h 338"/>
              <a:gd name="T40" fmla="*/ 71 w 337"/>
              <a:gd name="T41" fmla="*/ 214 h 338"/>
              <a:gd name="T42" fmla="*/ 69 w 337"/>
              <a:gd name="T43" fmla="*/ 207 h 338"/>
              <a:gd name="T44" fmla="*/ 67 w 337"/>
              <a:gd name="T45" fmla="*/ 201 h 338"/>
              <a:gd name="T46" fmla="*/ 7 w 337"/>
              <a:gd name="T47" fmla="*/ 191 h 338"/>
              <a:gd name="T48" fmla="*/ 1 w 337"/>
              <a:gd name="T49" fmla="*/ 183 h 338"/>
              <a:gd name="T50" fmla="*/ 13 w 337"/>
              <a:gd name="T51" fmla="*/ 104 h 338"/>
              <a:gd name="T52" fmla="*/ 21 w 337"/>
              <a:gd name="T53" fmla="*/ 97 h 338"/>
              <a:gd name="T54" fmla="*/ 81 w 337"/>
              <a:gd name="T55" fmla="*/ 107 h 338"/>
              <a:gd name="T56" fmla="*/ 90 w 337"/>
              <a:gd name="T57" fmla="*/ 95 h 338"/>
              <a:gd name="T58" fmla="*/ 69 w 337"/>
              <a:gd name="T59" fmla="*/ 39 h 338"/>
              <a:gd name="T60" fmla="*/ 72 w 337"/>
              <a:gd name="T61" fmla="*/ 29 h 338"/>
              <a:gd name="T62" fmla="*/ 147 w 337"/>
              <a:gd name="T63" fmla="*/ 1 h 338"/>
              <a:gd name="T64" fmla="*/ 157 w 337"/>
              <a:gd name="T65" fmla="*/ 5 h 338"/>
              <a:gd name="T66" fmla="*/ 178 w 337"/>
              <a:gd name="T67" fmla="*/ 61 h 338"/>
              <a:gd name="T68" fmla="*/ 193 w 337"/>
              <a:gd name="T69" fmla="*/ 63 h 338"/>
              <a:gd name="T70" fmla="*/ 231 w 337"/>
              <a:gd name="T71" fmla="*/ 17 h 338"/>
              <a:gd name="T72" fmla="*/ 240 w 337"/>
              <a:gd name="T73" fmla="*/ 15 h 338"/>
              <a:gd name="T74" fmla="*/ 303 w 337"/>
              <a:gd name="T75" fmla="*/ 65 h 338"/>
              <a:gd name="T76" fmla="*/ 305 w 337"/>
              <a:gd name="T77" fmla="*/ 76 h 338"/>
              <a:gd name="T78" fmla="*/ 267 w 337"/>
              <a:gd name="T79" fmla="*/ 123 h 338"/>
              <a:gd name="T80" fmla="*/ 269 w 337"/>
              <a:gd name="T81" fmla="*/ 129 h 338"/>
              <a:gd name="T82" fmla="*/ 271 w 337"/>
              <a:gd name="T83" fmla="*/ 137 h 338"/>
              <a:gd name="T84" fmla="*/ 330 w 337"/>
              <a:gd name="T85" fmla="*/ 145 h 338"/>
              <a:gd name="T86" fmla="*/ 337 w 337"/>
              <a:gd name="T87"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7" h="338">
                <a:moveTo>
                  <a:pt x="192" y="228"/>
                </a:moveTo>
                <a:cubicBezTo>
                  <a:pt x="225" y="215"/>
                  <a:pt x="240" y="178"/>
                  <a:pt x="228" y="146"/>
                </a:cubicBezTo>
                <a:cubicBezTo>
                  <a:pt x="216" y="112"/>
                  <a:pt x="179" y="95"/>
                  <a:pt x="146" y="109"/>
                </a:cubicBezTo>
                <a:cubicBezTo>
                  <a:pt x="113" y="122"/>
                  <a:pt x="97" y="158"/>
                  <a:pt x="110" y="191"/>
                </a:cubicBezTo>
                <a:cubicBezTo>
                  <a:pt x="123" y="225"/>
                  <a:pt x="160" y="240"/>
                  <a:pt x="192" y="228"/>
                </a:cubicBezTo>
                <a:moveTo>
                  <a:pt x="337" y="153"/>
                </a:moveTo>
                <a:cubicBezTo>
                  <a:pt x="325" y="232"/>
                  <a:pt x="325" y="232"/>
                  <a:pt x="325" y="232"/>
                </a:cubicBezTo>
                <a:cubicBezTo>
                  <a:pt x="325" y="237"/>
                  <a:pt x="320" y="239"/>
                  <a:pt x="317" y="238"/>
                </a:cubicBezTo>
                <a:cubicBezTo>
                  <a:pt x="258" y="230"/>
                  <a:pt x="258" y="230"/>
                  <a:pt x="258" y="230"/>
                </a:cubicBezTo>
                <a:cubicBezTo>
                  <a:pt x="255" y="234"/>
                  <a:pt x="251" y="237"/>
                  <a:pt x="248" y="242"/>
                </a:cubicBezTo>
                <a:cubicBezTo>
                  <a:pt x="269" y="297"/>
                  <a:pt x="269" y="297"/>
                  <a:pt x="269" y="297"/>
                </a:cubicBezTo>
                <a:cubicBezTo>
                  <a:pt x="272" y="301"/>
                  <a:pt x="270" y="305"/>
                  <a:pt x="265" y="307"/>
                </a:cubicBezTo>
                <a:cubicBezTo>
                  <a:pt x="191" y="336"/>
                  <a:pt x="191" y="336"/>
                  <a:pt x="191" y="336"/>
                </a:cubicBezTo>
                <a:cubicBezTo>
                  <a:pt x="187" y="338"/>
                  <a:pt x="182" y="335"/>
                  <a:pt x="181" y="331"/>
                </a:cubicBezTo>
                <a:cubicBezTo>
                  <a:pt x="160" y="276"/>
                  <a:pt x="160" y="276"/>
                  <a:pt x="160" y="276"/>
                </a:cubicBezTo>
                <a:cubicBezTo>
                  <a:pt x="155" y="276"/>
                  <a:pt x="150" y="274"/>
                  <a:pt x="145" y="274"/>
                </a:cubicBezTo>
                <a:cubicBezTo>
                  <a:pt x="108" y="321"/>
                  <a:pt x="108" y="321"/>
                  <a:pt x="108" y="321"/>
                </a:cubicBezTo>
                <a:cubicBezTo>
                  <a:pt x="105" y="323"/>
                  <a:pt x="100" y="325"/>
                  <a:pt x="98" y="322"/>
                </a:cubicBezTo>
                <a:cubicBezTo>
                  <a:pt x="35" y="271"/>
                  <a:pt x="35" y="271"/>
                  <a:pt x="35" y="271"/>
                </a:cubicBezTo>
                <a:cubicBezTo>
                  <a:pt x="32" y="268"/>
                  <a:pt x="31" y="264"/>
                  <a:pt x="33" y="261"/>
                </a:cubicBezTo>
                <a:cubicBezTo>
                  <a:pt x="71" y="214"/>
                  <a:pt x="71" y="214"/>
                  <a:pt x="71" y="214"/>
                </a:cubicBezTo>
                <a:cubicBezTo>
                  <a:pt x="69" y="207"/>
                  <a:pt x="69" y="207"/>
                  <a:pt x="69" y="207"/>
                </a:cubicBezTo>
                <a:cubicBezTo>
                  <a:pt x="67" y="201"/>
                  <a:pt x="67" y="201"/>
                  <a:pt x="67" y="201"/>
                </a:cubicBezTo>
                <a:cubicBezTo>
                  <a:pt x="7" y="191"/>
                  <a:pt x="7" y="191"/>
                  <a:pt x="7" y="191"/>
                </a:cubicBezTo>
                <a:cubicBezTo>
                  <a:pt x="4" y="190"/>
                  <a:pt x="0" y="186"/>
                  <a:pt x="1" y="183"/>
                </a:cubicBezTo>
                <a:cubicBezTo>
                  <a:pt x="13" y="104"/>
                  <a:pt x="13" y="104"/>
                  <a:pt x="13" y="104"/>
                </a:cubicBezTo>
                <a:cubicBezTo>
                  <a:pt x="13" y="100"/>
                  <a:pt x="17" y="97"/>
                  <a:pt x="21" y="97"/>
                </a:cubicBezTo>
                <a:cubicBezTo>
                  <a:pt x="81" y="107"/>
                  <a:pt x="81" y="107"/>
                  <a:pt x="81" y="107"/>
                </a:cubicBezTo>
                <a:cubicBezTo>
                  <a:pt x="83" y="103"/>
                  <a:pt x="86" y="98"/>
                  <a:pt x="90" y="95"/>
                </a:cubicBezTo>
                <a:cubicBezTo>
                  <a:pt x="69" y="39"/>
                  <a:pt x="69" y="39"/>
                  <a:pt x="69" y="39"/>
                </a:cubicBezTo>
                <a:cubicBezTo>
                  <a:pt x="66" y="36"/>
                  <a:pt x="68" y="32"/>
                  <a:pt x="72" y="29"/>
                </a:cubicBezTo>
                <a:cubicBezTo>
                  <a:pt x="147" y="1"/>
                  <a:pt x="147" y="1"/>
                  <a:pt x="147" y="1"/>
                </a:cubicBezTo>
                <a:cubicBezTo>
                  <a:pt x="152" y="0"/>
                  <a:pt x="156" y="2"/>
                  <a:pt x="157" y="5"/>
                </a:cubicBezTo>
                <a:cubicBezTo>
                  <a:pt x="178" y="61"/>
                  <a:pt x="178" y="61"/>
                  <a:pt x="178" y="61"/>
                </a:cubicBezTo>
                <a:cubicBezTo>
                  <a:pt x="184" y="61"/>
                  <a:pt x="187" y="62"/>
                  <a:pt x="193" y="63"/>
                </a:cubicBezTo>
                <a:cubicBezTo>
                  <a:pt x="231" y="17"/>
                  <a:pt x="231" y="17"/>
                  <a:pt x="231" y="17"/>
                </a:cubicBezTo>
                <a:cubicBezTo>
                  <a:pt x="233" y="12"/>
                  <a:pt x="238" y="12"/>
                  <a:pt x="240" y="15"/>
                </a:cubicBezTo>
                <a:cubicBezTo>
                  <a:pt x="303" y="65"/>
                  <a:pt x="303" y="65"/>
                  <a:pt x="303" y="65"/>
                </a:cubicBezTo>
                <a:cubicBezTo>
                  <a:pt x="305" y="67"/>
                  <a:pt x="307" y="72"/>
                  <a:pt x="305" y="76"/>
                </a:cubicBezTo>
                <a:cubicBezTo>
                  <a:pt x="267" y="123"/>
                  <a:pt x="267" y="123"/>
                  <a:pt x="267" y="123"/>
                </a:cubicBezTo>
                <a:cubicBezTo>
                  <a:pt x="269" y="129"/>
                  <a:pt x="269" y="129"/>
                  <a:pt x="269" y="129"/>
                </a:cubicBezTo>
                <a:cubicBezTo>
                  <a:pt x="271" y="137"/>
                  <a:pt x="271" y="137"/>
                  <a:pt x="271" y="137"/>
                </a:cubicBezTo>
                <a:cubicBezTo>
                  <a:pt x="330" y="145"/>
                  <a:pt x="330" y="145"/>
                  <a:pt x="330" y="145"/>
                </a:cubicBezTo>
                <a:cubicBezTo>
                  <a:pt x="334" y="145"/>
                  <a:pt x="337" y="149"/>
                  <a:pt x="337" y="1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p>
        </p:txBody>
      </p:sp>
      <p:sp>
        <p:nvSpPr>
          <p:cNvPr id="85" name="TextBox 84"/>
          <p:cNvSpPr txBox="1"/>
          <p:nvPr/>
        </p:nvSpPr>
        <p:spPr>
          <a:xfrm>
            <a:off x="1283059" y="2100579"/>
            <a:ext cx="3248054" cy="553998"/>
          </a:xfrm>
          <a:prstGeom prst="rect">
            <a:avLst/>
          </a:prstGeom>
          <a:noFill/>
        </p:spPr>
        <p:txBody>
          <a:bodyPr wrap="square" rtlCol="0">
            <a:spAutoFit/>
          </a:bodyPr>
          <a:lstStyle/>
          <a:p>
            <a:pPr defTabSz="685628"/>
            <a:r>
              <a:rPr lang="en-US" dirty="0">
                <a:solidFill>
                  <a:schemeClr val="bg2"/>
                </a:solidFill>
                <a:latin typeface="CiscoSans ExtraLight" panose="020B0303020201020303" pitchFamily="34" charset="0"/>
              </a:rPr>
              <a:t>Sample Deletion (TGA)</a:t>
            </a:r>
            <a:endParaRPr lang="en-US" sz="1200" dirty="0">
              <a:solidFill>
                <a:schemeClr val="bg2"/>
              </a:solidFill>
              <a:latin typeface="CiscoSans ExtraLight" panose="020B0303020201020303" pitchFamily="34" charset="0"/>
            </a:endParaRPr>
          </a:p>
          <a:p>
            <a:pPr defTabSz="685628"/>
            <a:r>
              <a:rPr lang="en-US" sz="1200" dirty="0">
                <a:solidFill>
                  <a:schemeClr val="bg2"/>
                </a:solidFill>
                <a:latin typeface="CiscoSans ExtraLight" panose="020B0303020201020303" pitchFamily="34" charset="0"/>
              </a:rPr>
              <a:t>TGA</a:t>
            </a:r>
            <a:r>
              <a:rPr lang="ja-JP" altLang="en-US" sz="1200">
                <a:solidFill>
                  <a:schemeClr val="bg2"/>
                </a:solidFill>
                <a:latin typeface="CiscoSans ExtraLight" panose="020B0303020201020303" pitchFamily="34" charset="0"/>
              </a:rPr>
              <a:t>におけるサンプルの手動削除機能</a:t>
            </a:r>
            <a:endParaRPr lang="en-US" sz="900" dirty="0">
              <a:solidFill>
                <a:schemeClr val="bg2"/>
              </a:solidFill>
              <a:latin typeface="CiscoSans ExtraLight" panose="020B0303020201020303" pitchFamily="34" charset="0"/>
            </a:endParaRPr>
          </a:p>
        </p:txBody>
      </p:sp>
      <p:sp>
        <p:nvSpPr>
          <p:cNvPr id="86" name="TextBox 85"/>
          <p:cNvSpPr txBox="1"/>
          <p:nvPr/>
        </p:nvSpPr>
        <p:spPr>
          <a:xfrm>
            <a:off x="1272766" y="3506227"/>
            <a:ext cx="3248054" cy="553998"/>
          </a:xfrm>
          <a:prstGeom prst="rect">
            <a:avLst/>
          </a:prstGeom>
          <a:noFill/>
        </p:spPr>
        <p:txBody>
          <a:bodyPr wrap="square" rtlCol="0">
            <a:spAutoFit/>
          </a:bodyPr>
          <a:lstStyle/>
          <a:p>
            <a:pPr defTabSz="685628"/>
            <a:r>
              <a:rPr lang="en-US" dirty="0">
                <a:solidFill>
                  <a:schemeClr val="bg2"/>
                </a:solidFill>
                <a:latin typeface="CiscoSans ExtraLight" panose="020B0303020201020303" pitchFamily="34" charset="0"/>
              </a:rPr>
              <a:t>M5 UCS Hardware (TGA)</a:t>
            </a:r>
            <a:endParaRPr lang="en-US" sz="1200" dirty="0">
              <a:solidFill>
                <a:schemeClr val="bg2"/>
              </a:solidFill>
              <a:latin typeface="CiscoSans ExtraLight" panose="020B0303020201020303" pitchFamily="34" charset="0"/>
            </a:endParaRPr>
          </a:p>
          <a:p>
            <a:pPr defTabSz="685628"/>
            <a:r>
              <a:rPr lang="en-US" sz="1200" dirty="0">
                <a:solidFill>
                  <a:schemeClr val="bg2"/>
                </a:solidFill>
                <a:latin typeface="CiscoSans ExtraLight" panose="020B0303020201020303" pitchFamily="34" charset="0"/>
              </a:rPr>
              <a:t>UCS M5</a:t>
            </a:r>
            <a:r>
              <a:rPr lang="ja-JP" altLang="en-US" sz="1200">
                <a:solidFill>
                  <a:schemeClr val="bg2"/>
                </a:solidFill>
                <a:latin typeface="CiscoSans ExtraLight" panose="020B0303020201020303" pitchFamily="34" charset="0"/>
              </a:rPr>
              <a:t>シリーズのリリース</a:t>
            </a:r>
            <a:endParaRPr lang="en-US" sz="900" dirty="0">
              <a:solidFill>
                <a:schemeClr val="bg2"/>
              </a:solidFill>
              <a:latin typeface="CiscoSans ExtraLight" panose="020B0303020201020303" pitchFamily="34" charset="0"/>
            </a:endParaRPr>
          </a:p>
        </p:txBody>
      </p:sp>
      <p:sp>
        <p:nvSpPr>
          <p:cNvPr id="87" name="TextBox 86"/>
          <p:cNvSpPr txBox="1"/>
          <p:nvPr/>
        </p:nvSpPr>
        <p:spPr>
          <a:xfrm>
            <a:off x="5830529" y="780716"/>
            <a:ext cx="3120248" cy="1015663"/>
          </a:xfrm>
          <a:prstGeom prst="rect">
            <a:avLst/>
          </a:prstGeom>
          <a:noFill/>
        </p:spPr>
        <p:txBody>
          <a:bodyPr wrap="square" rtlCol="0">
            <a:spAutoFit/>
          </a:bodyPr>
          <a:lstStyle/>
          <a:p>
            <a:pPr defTabSz="685628"/>
            <a:r>
              <a:rPr lang="en-US" dirty="0">
                <a:solidFill>
                  <a:schemeClr val="bg2"/>
                </a:solidFill>
                <a:latin typeface="CiscoSans ExtraLight" panose="020B0303020201020303" pitchFamily="34" charset="0"/>
              </a:rPr>
              <a:t>License Enforcement (TGC)</a:t>
            </a:r>
          </a:p>
          <a:p>
            <a:pPr defTabSz="685628"/>
            <a:r>
              <a:rPr lang="ja-JP" altLang="en-US" sz="1200">
                <a:solidFill>
                  <a:schemeClr val="bg2"/>
                </a:solidFill>
                <a:latin typeface="CiscoSans ExtraLight" panose="020B0303020201020303" pitchFamily="34" charset="0"/>
              </a:rPr>
              <a:t>サブスクリプションの期間を自動的にトラックし通知する機能</a:t>
            </a:r>
            <a:endParaRPr lang="en-US" sz="1200" dirty="0">
              <a:solidFill>
                <a:schemeClr val="bg2"/>
              </a:solidFill>
              <a:latin typeface="CiscoSans ExtraLight" panose="020B0303020201020303" pitchFamily="34" charset="0"/>
            </a:endParaRPr>
          </a:p>
          <a:p>
            <a:pPr defTabSz="685628"/>
            <a:endParaRPr lang="en-US" sz="900" dirty="0">
              <a:solidFill>
                <a:schemeClr val="bg2"/>
              </a:solidFill>
              <a:latin typeface="CiscoSans ExtraLight" panose="020B0303020201020303" pitchFamily="34" charset="0"/>
            </a:endParaRPr>
          </a:p>
          <a:p>
            <a:pPr defTabSz="685628"/>
            <a:endParaRPr lang="en-US" sz="900" dirty="0">
              <a:solidFill>
                <a:schemeClr val="bg2"/>
              </a:solidFill>
              <a:latin typeface="CiscoSans ExtraLight" panose="020B0303020201020303" pitchFamily="34" charset="0"/>
            </a:endParaRPr>
          </a:p>
        </p:txBody>
      </p:sp>
      <p:sp>
        <p:nvSpPr>
          <p:cNvPr id="88" name="TextBox 87"/>
          <p:cNvSpPr txBox="1"/>
          <p:nvPr/>
        </p:nvSpPr>
        <p:spPr>
          <a:xfrm>
            <a:off x="5830529" y="2100579"/>
            <a:ext cx="3120248" cy="784830"/>
          </a:xfrm>
          <a:prstGeom prst="rect">
            <a:avLst/>
          </a:prstGeom>
          <a:noFill/>
        </p:spPr>
        <p:txBody>
          <a:bodyPr wrap="square" rtlCol="0">
            <a:spAutoFit/>
          </a:bodyPr>
          <a:lstStyle/>
          <a:p>
            <a:pPr defTabSz="685628"/>
            <a:r>
              <a:rPr lang="en-US" dirty="0">
                <a:solidFill>
                  <a:schemeClr val="bg2"/>
                </a:solidFill>
                <a:latin typeface="CiscoSans ExtraLight" panose="020B0303020201020303" pitchFamily="34" charset="0"/>
              </a:rPr>
              <a:t>Multiple Browsers (TGA)</a:t>
            </a:r>
            <a:endParaRPr lang="en-US" sz="1200" dirty="0">
              <a:solidFill>
                <a:schemeClr val="bg2"/>
              </a:solidFill>
              <a:latin typeface="CiscoSans ExtraLight" panose="020B0303020201020303" pitchFamily="34" charset="0"/>
            </a:endParaRPr>
          </a:p>
          <a:p>
            <a:pPr defTabSz="685628"/>
            <a:r>
              <a:rPr lang="en-US" sz="1200" dirty="0">
                <a:solidFill>
                  <a:schemeClr val="bg2"/>
                </a:solidFill>
                <a:latin typeface="CiscoSans ExtraLight" panose="020B0303020201020303" pitchFamily="34" charset="0"/>
              </a:rPr>
              <a:t>VM</a:t>
            </a:r>
            <a:r>
              <a:rPr lang="ja-JP" altLang="en-US" sz="1200">
                <a:solidFill>
                  <a:schemeClr val="bg2"/>
                </a:solidFill>
                <a:latin typeface="CiscoSans ExtraLight" panose="020B0303020201020303" pitchFamily="34" charset="0"/>
              </a:rPr>
              <a:t>内で複数のブラウザを使用可能に</a:t>
            </a:r>
            <a:r>
              <a:rPr lang="en-US" dirty="0">
                <a:solidFill>
                  <a:schemeClr val="bg2"/>
                </a:solidFill>
                <a:latin typeface="CiscoSans ExtraLight" panose="020B0303020201020303" pitchFamily="34" charset="0"/>
              </a:rPr>
              <a:t> </a:t>
            </a:r>
            <a:endParaRPr lang="en-US" sz="900" dirty="0">
              <a:solidFill>
                <a:schemeClr val="bg2"/>
              </a:solidFill>
              <a:latin typeface="CiscoSans ExtraLight" panose="020B0303020201020303" pitchFamily="34" charset="0"/>
            </a:endParaRPr>
          </a:p>
          <a:p>
            <a:pPr defTabSz="685628"/>
            <a:endParaRPr lang="en-US" sz="900" dirty="0">
              <a:solidFill>
                <a:schemeClr val="bg2"/>
              </a:solidFill>
              <a:latin typeface="CiscoSans ExtraLight" panose="020B0303020201020303" pitchFamily="34" charset="0"/>
            </a:endParaRPr>
          </a:p>
        </p:txBody>
      </p:sp>
      <p:sp>
        <p:nvSpPr>
          <p:cNvPr id="89" name="TextBox 88"/>
          <p:cNvSpPr txBox="1"/>
          <p:nvPr/>
        </p:nvSpPr>
        <p:spPr>
          <a:xfrm>
            <a:off x="5830529" y="3452342"/>
            <a:ext cx="3120248" cy="923330"/>
          </a:xfrm>
          <a:prstGeom prst="rect">
            <a:avLst/>
          </a:prstGeom>
          <a:noFill/>
        </p:spPr>
        <p:txBody>
          <a:bodyPr wrap="square" rtlCol="0">
            <a:spAutoFit/>
          </a:bodyPr>
          <a:lstStyle/>
          <a:p>
            <a:pPr defTabSz="685628"/>
            <a:r>
              <a:rPr lang="en-US" dirty="0">
                <a:solidFill>
                  <a:schemeClr val="bg2"/>
                </a:solidFill>
                <a:latin typeface="CiscoSans ExtraLight" panose="020B0303020201020303" pitchFamily="34" charset="0"/>
              </a:rPr>
              <a:t>Playbooks v2 (TGC)</a:t>
            </a:r>
            <a:endParaRPr lang="en-US" sz="1200" dirty="0">
              <a:solidFill>
                <a:schemeClr val="bg2"/>
              </a:solidFill>
              <a:latin typeface="CiscoSans ExtraLight" panose="020B0303020201020303" pitchFamily="34" charset="0"/>
            </a:endParaRPr>
          </a:p>
          <a:p>
            <a:pPr defTabSz="685628"/>
            <a:r>
              <a:rPr lang="ja-JP" altLang="en-US" sz="1200">
                <a:solidFill>
                  <a:schemeClr val="bg2"/>
                </a:solidFill>
                <a:latin typeface="CiscoSans ExtraLight" panose="020B0303020201020303" pitchFamily="34" charset="0"/>
              </a:rPr>
              <a:t>プレイブックの拡張</a:t>
            </a:r>
            <a:endParaRPr lang="en-US" altLang="ja-JP" sz="1200" dirty="0">
              <a:solidFill>
                <a:schemeClr val="bg2"/>
              </a:solidFill>
              <a:latin typeface="CiscoSans ExtraLight" panose="020B0303020201020303" pitchFamily="34" charset="0"/>
            </a:endParaRPr>
          </a:p>
          <a:p>
            <a:pPr defTabSz="685628"/>
            <a:r>
              <a:rPr lang="en-US" altLang="ja-JP" sz="1200" dirty="0">
                <a:solidFill>
                  <a:schemeClr val="bg2"/>
                </a:solidFill>
                <a:latin typeface="CiscoSans ExtraLight" panose="020B0303020201020303" pitchFamily="34" charset="0"/>
              </a:rPr>
              <a:t>※</a:t>
            </a:r>
            <a:r>
              <a:rPr lang="ja-JP" altLang="en-US" sz="1200">
                <a:solidFill>
                  <a:schemeClr val="bg2"/>
                </a:solidFill>
                <a:latin typeface="CiscoSans ExtraLight" panose="020B0303020201020303" pitchFamily="34" charset="0"/>
              </a:rPr>
              <a:t>プレイブックは</a:t>
            </a:r>
            <a:r>
              <a:rPr lang="en-US" altLang="ja-JP" sz="1200" dirty="0">
                <a:solidFill>
                  <a:schemeClr val="bg2"/>
                </a:solidFill>
                <a:latin typeface="CiscoSans ExtraLight" panose="020B0303020201020303" pitchFamily="34" charset="0"/>
              </a:rPr>
              <a:t>VM</a:t>
            </a:r>
            <a:r>
              <a:rPr lang="ja-JP" altLang="en-US" sz="1200">
                <a:solidFill>
                  <a:schemeClr val="bg2"/>
                </a:solidFill>
                <a:latin typeface="CiscoSans ExtraLight" panose="020B0303020201020303" pitchFamily="34" charset="0"/>
              </a:rPr>
              <a:t>内での実行する順序などを規定したルールで現在複数選択可能</a:t>
            </a:r>
            <a:endParaRPr lang="en-US" sz="900" dirty="0">
              <a:solidFill>
                <a:schemeClr val="bg2"/>
              </a:solidFill>
              <a:latin typeface="CiscoSans ExtraLight" panose="020B0303020201020303" pitchFamily="34" charset="0"/>
            </a:endParaRPr>
          </a:p>
        </p:txBody>
      </p:sp>
    </p:spTree>
    <p:extLst>
      <p:ext uri="{BB962C8B-B14F-4D97-AF65-F5344CB8AC3E}">
        <p14:creationId xmlns:p14="http://schemas.microsoft.com/office/powerpoint/2010/main" val="132934956"/>
      </p:ext>
    </p:extLst>
  </p:cSld>
  <p:clrMapOvr>
    <a:masterClrMapping/>
  </p:clrMapOvr>
  <p:transition spd="med">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111043" y="1280974"/>
            <a:ext cx="4371067" cy="127041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3" name="Title 2"/>
          <p:cNvSpPr>
            <a:spLocks noGrp="1"/>
          </p:cNvSpPr>
          <p:nvPr>
            <p:ph type="title"/>
          </p:nvPr>
        </p:nvSpPr>
        <p:spPr>
          <a:xfrm>
            <a:off x="168856" y="21282"/>
            <a:ext cx="8343315" cy="731647"/>
          </a:xfrm>
        </p:spPr>
        <p:txBody>
          <a:bodyPr vert="horz" wrap="square" lIns="82282" tIns="45712" rIns="82282" bIns="45712" numCol="1" rtlCol="0" anchor="b" anchorCtr="0" compatLnSpc="1">
            <a:prstTxWarp prst="textNoShape">
              <a:avLst/>
            </a:prstTxWarp>
            <a:noAutofit/>
          </a:bodyPr>
          <a:lstStyle/>
          <a:p>
            <a:r>
              <a:rPr lang="en-US" sz="3600" spc="-100" dirty="0"/>
              <a:t>AMP Attach/TG Planned Enhancements</a:t>
            </a:r>
          </a:p>
        </p:txBody>
      </p:sp>
      <p:sp>
        <p:nvSpPr>
          <p:cNvPr id="6" name="Rectangle 5"/>
          <p:cNvSpPr/>
          <p:nvPr/>
        </p:nvSpPr>
        <p:spPr>
          <a:xfrm>
            <a:off x="103112" y="2624464"/>
            <a:ext cx="4371068" cy="1231495"/>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69" name="Rectangle 68"/>
          <p:cNvSpPr/>
          <p:nvPr/>
        </p:nvSpPr>
        <p:spPr>
          <a:xfrm>
            <a:off x="4596616" y="1280974"/>
            <a:ext cx="4371067" cy="127041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76" name="Rectangle 75"/>
          <p:cNvSpPr/>
          <p:nvPr/>
        </p:nvSpPr>
        <p:spPr>
          <a:xfrm>
            <a:off x="4625192" y="2624464"/>
            <a:ext cx="4325585" cy="1178143"/>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1500" dirty="0">
              <a:solidFill>
                <a:srgbClr val="2968AF"/>
              </a:solidFill>
              <a:latin typeface="CiscoSans ExtraLight" panose="020B0303020201020303" pitchFamily="34" charset="0"/>
            </a:endParaRPr>
          </a:p>
        </p:txBody>
      </p:sp>
      <p:sp>
        <p:nvSpPr>
          <p:cNvPr id="220" name="Rectangle 219"/>
          <p:cNvSpPr/>
          <p:nvPr/>
        </p:nvSpPr>
        <p:spPr>
          <a:xfrm rot="5400000">
            <a:off x="335967" y="1463021"/>
            <a:ext cx="769153" cy="810463"/>
          </a:xfrm>
          <a:prstGeom prst="rect">
            <a:avLst/>
          </a:prstGeom>
          <a:solidFill>
            <a:srgbClr val="555558"/>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sp>
        <p:nvSpPr>
          <p:cNvPr id="223" name="Rectangle 222"/>
          <p:cNvSpPr/>
          <p:nvPr/>
        </p:nvSpPr>
        <p:spPr>
          <a:xfrm rot="5400000">
            <a:off x="4765290" y="1482921"/>
            <a:ext cx="766472" cy="805073"/>
          </a:xfrm>
          <a:prstGeom prst="rect">
            <a:avLst/>
          </a:prstGeom>
          <a:solidFill>
            <a:srgbClr val="0498D1"/>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sp>
        <p:nvSpPr>
          <p:cNvPr id="227" name="Freeform 246"/>
          <p:cNvSpPr>
            <a:spLocks noEditPoints="1"/>
          </p:cNvSpPr>
          <p:nvPr/>
        </p:nvSpPr>
        <p:spPr bwMode="auto">
          <a:xfrm>
            <a:off x="4978590" y="1715062"/>
            <a:ext cx="395485" cy="340790"/>
          </a:xfrm>
          <a:custGeom>
            <a:avLst/>
            <a:gdLst>
              <a:gd name="T0" fmla="*/ 947 w 1585"/>
              <a:gd name="T1" fmla="*/ 428 h 1236"/>
              <a:gd name="T2" fmla="*/ 482 w 1585"/>
              <a:gd name="T3" fmla="*/ 1085 h 1236"/>
              <a:gd name="T4" fmla="*/ 432 w 1585"/>
              <a:gd name="T5" fmla="*/ 1116 h 1236"/>
              <a:gd name="T6" fmla="*/ 92 w 1585"/>
              <a:gd name="T7" fmla="*/ 1118 h 1236"/>
              <a:gd name="T8" fmla="*/ 45 w 1585"/>
              <a:gd name="T9" fmla="*/ 1099 h 1236"/>
              <a:gd name="T10" fmla="*/ 12 w 1585"/>
              <a:gd name="T11" fmla="*/ 1058 h 1236"/>
              <a:gd name="T12" fmla="*/ 0 w 1585"/>
              <a:gd name="T13" fmla="*/ 1004 h 1236"/>
              <a:gd name="T14" fmla="*/ 8 w 1585"/>
              <a:gd name="T15" fmla="*/ 959 h 1236"/>
              <a:gd name="T16" fmla="*/ 38 w 1585"/>
              <a:gd name="T17" fmla="*/ 914 h 1236"/>
              <a:gd name="T18" fmla="*/ 82 w 1585"/>
              <a:gd name="T19" fmla="*/ 890 h 1236"/>
              <a:gd name="T20" fmla="*/ 225 w 1585"/>
              <a:gd name="T21" fmla="*/ 894 h 1236"/>
              <a:gd name="T22" fmla="*/ 357 w 1585"/>
              <a:gd name="T23" fmla="*/ 890 h 1236"/>
              <a:gd name="T24" fmla="*/ 424 w 1585"/>
              <a:gd name="T25" fmla="*/ 808 h 1236"/>
              <a:gd name="T26" fmla="*/ 881 w 1585"/>
              <a:gd name="T27" fmla="*/ 159 h 1236"/>
              <a:gd name="T28" fmla="*/ 927 w 1585"/>
              <a:gd name="T29" fmla="*/ 123 h 1236"/>
              <a:gd name="T30" fmla="*/ 1217 w 1585"/>
              <a:gd name="T31" fmla="*/ 117 h 1236"/>
              <a:gd name="T32" fmla="*/ 1231 w 1585"/>
              <a:gd name="T33" fmla="*/ 7 h 1236"/>
              <a:gd name="T34" fmla="*/ 1252 w 1585"/>
              <a:gd name="T35" fmla="*/ 2 h 1236"/>
              <a:gd name="T36" fmla="*/ 1427 w 1585"/>
              <a:gd name="T37" fmla="*/ 103 h 1236"/>
              <a:gd name="T38" fmla="*/ 1572 w 1585"/>
              <a:gd name="T39" fmla="*/ 213 h 1236"/>
              <a:gd name="T40" fmla="*/ 1585 w 1585"/>
              <a:gd name="T41" fmla="*/ 234 h 1236"/>
              <a:gd name="T42" fmla="*/ 1570 w 1585"/>
              <a:gd name="T43" fmla="*/ 260 h 1236"/>
              <a:gd name="T44" fmla="*/ 1400 w 1585"/>
              <a:gd name="T45" fmla="*/ 384 h 1236"/>
              <a:gd name="T46" fmla="*/ 1252 w 1585"/>
              <a:gd name="T47" fmla="*/ 465 h 1236"/>
              <a:gd name="T48" fmla="*/ 1232 w 1585"/>
              <a:gd name="T49" fmla="*/ 463 h 1236"/>
              <a:gd name="T50" fmla="*/ 1221 w 1585"/>
              <a:gd name="T51" fmla="*/ 431 h 1236"/>
              <a:gd name="T52" fmla="*/ 1150 w 1585"/>
              <a:gd name="T53" fmla="*/ 344 h 1236"/>
              <a:gd name="T54" fmla="*/ 1013 w 1585"/>
              <a:gd name="T55" fmla="*/ 345 h 1236"/>
              <a:gd name="T56" fmla="*/ 168 w 1585"/>
              <a:gd name="T57" fmla="*/ 346 h 1236"/>
              <a:gd name="T58" fmla="*/ 347 w 1585"/>
              <a:gd name="T59" fmla="*/ 345 h 1236"/>
              <a:gd name="T60" fmla="*/ 419 w 1585"/>
              <a:gd name="T61" fmla="*/ 423 h 1236"/>
              <a:gd name="T62" fmla="*/ 489 w 1585"/>
              <a:gd name="T63" fmla="*/ 159 h 1236"/>
              <a:gd name="T64" fmla="*/ 454 w 1585"/>
              <a:gd name="T65" fmla="*/ 128 h 1236"/>
              <a:gd name="T66" fmla="*/ 103 w 1585"/>
              <a:gd name="T67" fmla="*/ 117 h 1236"/>
              <a:gd name="T68" fmla="*/ 63 w 1585"/>
              <a:gd name="T69" fmla="*/ 125 h 1236"/>
              <a:gd name="T70" fmla="*/ 24 w 1585"/>
              <a:gd name="T71" fmla="*/ 158 h 1236"/>
              <a:gd name="T72" fmla="*/ 2 w 1585"/>
              <a:gd name="T73" fmla="*/ 209 h 1236"/>
              <a:gd name="T74" fmla="*/ 2 w 1585"/>
              <a:gd name="T75" fmla="*/ 255 h 1236"/>
              <a:gd name="T76" fmla="*/ 24 w 1585"/>
              <a:gd name="T77" fmla="*/ 306 h 1236"/>
              <a:gd name="T78" fmla="*/ 63 w 1585"/>
              <a:gd name="T79" fmla="*/ 339 h 1236"/>
              <a:gd name="T80" fmla="*/ 103 w 1585"/>
              <a:gd name="T81" fmla="*/ 347 h 1236"/>
              <a:gd name="T82" fmla="*/ 1577 w 1585"/>
              <a:gd name="T83" fmla="*/ 1022 h 1236"/>
              <a:gd name="T84" fmla="*/ 1501 w 1585"/>
              <a:gd name="T85" fmla="*/ 1085 h 1236"/>
              <a:gd name="T86" fmla="*/ 1283 w 1585"/>
              <a:gd name="T87" fmla="*/ 1222 h 1236"/>
              <a:gd name="T88" fmla="*/ 1234 w 1585"/>
              <a:gd name="T89" fmla="*/ 1235 h 1236"/>
              <a:gd name="T90" fmla="*/ 1225 w 1585"/>
              <a:gd name="T91" fmla="*/ 1221 h 1236"/>
              <a:gd name="T92" fmla="*/ 1215 w 1585"/>
              <a:gd name="T93" fmla="*/ 1118 h 1236"/>
              <a:gd name="T94" fmla="*/ 927 w 1585"/>
              <a:gd name="T95" fmla="*/ 1112 h 1236"/>
              <a:gd name="T96" fmla="*/ 881 w 1585"/>
              <a:gd name="T97" fmla="*/ 1076 h 1236"/>
              <a:gd name="T98" fmla="*/ 904 w 1585"/>
              <a:gd name="T99" fmla="*/ 744 h 1236"/>
              <a:gd name="T100" fmla="*/ 1006 w 1585"/>
              <a:gd name="T101" fmla="*/ 886 h 1236"/>
              <a:gd name="T102" fmla="*/ 1044 w 1585"/>
              <a:gd name="T103" fmla="*/ 892 h 1236"/>
              <a:gd name="T104" fmla="*/ 1217 w 1585"/>
              <a:gd name="T105" fmla="*/ 889 h 1236"/>
              <a:gd name="T106" fmla="*/ 1231 w 1585"/>
              <a:gd name="T107" fmla="*/ 777 h 1236"/>
              <a:gd name="T108" fmla="*/ 1252 w 1585"/>
              <a:gd name="T109" fmla="*/ 772 h 1236"/>
              <a:gd name="T110" fmla="*/ 1427 w 1585"/>
              <a:gd name="T111" fmla="*/ 873 h 1236"/>
              <a:gd name="T112" fmla="*/ 1572 w 1585"/>
              <a:gd name="T113" fmla="*/ 983 h 1236"/>
              <a:gd name="T114" fmla="*/ 1585 w 1585"/>
              <a:gd name="T115" fmla="*/ 1004 h 1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5" h="1236">
                <a:moveTo>
                  <a:pt x="1010" y="346"/>
                </a:moveTo>
                <a:lnTo>
                  <a:pt x="1010" y="346"/>
                </a:lnTo>
                <a:lnTo>
                  <a:pt x="1003" y="354"/>
                </a:lnTo>
                <a:lnTo>
                  <a:pt x="990" y="371"/>
                </a:lnTo>
                <a:lnTo>
                  <a:pt x="947" y="428"/>
                </a:lnTo>
                <a:lnTo>
                  <a:pt x="816" y="612"/>
                </a:lnTo>
                <a:lnTo>
                  <a:pt x="651" y="844"/>
                </a:lnTo>
                <a:lnTo>
                  <a:pt x="489" y="1076"/>
                </a:lnTo>
                <a:lnTo>
                  <a:pt x="489" y="1076"/>
                </a:lnTo>
                <a:lnTo>
                  <a:pt x="482" y="1085"/>
                </a:lnTo>
                <a:lnTo>
                  <a:pt x="473" y="1095"/>
                </a:lnTo>
                <a:lnTo>
                  <a:pt x="463" y="1102"/>
                </a:lnTo>
                <a:lnTo>
                  <a:pt x="454" y="1108"/>
                </a:lnTo>
                <a:lnTo>
                  <a:pt x="443" y="1112"/>
                </a:lnTo>
                <a:lnTo>
                  <a:pt x="432" y="1116"/>
                </a:lnTo>
                <a:lnTo>
                  <a:pt x="421" y="1118"/>
                </a:lnTo>
                <a:lnTo>
                  <a:pt x="409" y="1118"/>
                </a:lnTo>
                <a:lnTo>
                  <a:pt x="103" y="1118"/>
                </a:lnTo>
                <a:lnTo>
                  <a:pt x="103" y="1118"/>
                </a:lnTo>
                <a:lnTo>
                  <a:pt x="92" y="1118"/>
                </a:lnTo>
                <a:lnTo>
                  <a:pt x="82" y="1116"/>
                </a:lnTo>
                <a:lnTo>
                  <a:pt x="72" y="1114"/>
                </a:lnTo>
                <a:lnTo>
                  <a:pt x="63" y="1110"/>
                </a:lnTo>
                <a:lnTo>
                  <a:pt x="53" y="1105"/>
                </a:lnTo>
                <a:lnTo>
                  <a:pt x="45" y="1099"/>
                </a:lnTo>
                <a:lnTo>
                  <a:pt x="38" y="1092"/>
                </a:lnTo>
                <a:lnTo>
                  <a:pt x="30" y="1085"/>
                </a:lnTo>
                <a:lnTo>
                  <a:pt x="24" y="1077"/>
                </a:lnTo>
                <a:lnTo>
                  <a:pt x="18" y="1068"/>
                </a:lnTo>
                <a:lnTo>
                  <a:pt x="12" y="1058"/>
                </a:lnTo>
                <a:lnTo>
                  <a:pt x="8" y="1049"/>
                </a:lnTo>
                <a:lnTo>
                  <a:pt x="5" y="1038"/>
                </a:lnTo>
                <a:lnTo>
                  <a:pt x="2" y="1026"/>
                </a:lnTo>
                <a:lnTo>
                  <a:pt x="0" y="1016"/>
                </a:lnTo>
                <a:lnTo>
                  <a:pt x="0" y="1004"/>
                </a:lnTo>
                <a:lnTo>
                  <a:pt x="0" y="1004"/>
                </a:lnTo>
                <a:lnTo>
                  <a:pt x="0" y="992"/>
                </a:lnTo>
                <a:lnTo>
                  <a:pt x="2" y="980"/>
                </a:lnTo>
                <a:lnTo>
                  <a:pt x="5" y="970"/>
                </a:lnTo>
                <a:lnTo>
                  <a:pt x="8" y="959"/>
                </a:lnTo>
                <a:lnTo>
                  <a:pt x="12" y="948"/>
                </a:lnTo>
                <a:lnTo>
                  <a:pt x="18" y="939"/>
                </a:lnTo>
                <a:lnTo>
                  <a:pt x="24" y="929"/>
                </a:lnTo>
                <a:lnTo>
                  <a:pt x="30" y="921"/>
                </a:lnTo>
                <a:lnTo>
                  <a:pt x="38" y="914"/>
                </a:lnTo>
                <a:lnTo>
                  <a:pt x="45" y="907"/>
                </a:lnTo>
                <a:lnTo>
                  <a:pt x="53" y="902"/>
                </a:lnTo>
                <a:lnTo>
                  <a:pt x="63" y="896"/>
                </a:lnTo>
                <a:lnTo>
                  <a:pt x="72" y="893"/>
                </a:lnTo>
                <a:lnTo>
                  <a:pt x="82" y="890"/>
                </a:lnTo>
                <a:lnTo>
                  <a:pt x="92" y="888"/>
                </a:lnTo>
                <a:lnTo>
                  <a:pt x="103" y="888"/>
                </a:lnTo>
                <a:lnTo>
                  <a:pt x="103" y="888"/>
                </a:lnTo>
                <a:lnTo>
                  <a:pt x="167" y="892"/>
                </a:lnTo>
                <a:lnTo>
                  <a:pt x="225" y="894"/>
                </a:lnTo>
                <a:lnTo>
                  <a:pt x="286" y="894"/>
                </a:lnTo>
                <a:lnTo>
                  <a:pt x="286" y="894"/>
                </a:lnTo>
                <a:lnTo>
                  <a:pt x="324" y="894"/>
                </a:lnTo>
                <a:lnTo>
                  <a:pt x="346" y="892"/>
                </a:lnTo>
                <a:lnTo>
                  <a:pt x="357" y="890"/>
                </a:lnTo>
                <a:lnTo>
                  <a:pt x="360" y="889"/>
                </a:lnTo>
                <a:lnTo>
                  <a:pt x="360" y="889"/>
                </a:lnTo>
                <a:lnTo>
                  <a:pt x="367" y="881"/>
                </a:lnTo>
                <a:lnTo>
                  <a:pt x="382" y="864"/>
                </a:lnTo>
                <a:lnTo>
                  <a:pt x="424" y="808"/>
                </a:lnTo>
                <a:lnTo>
                  <a:pt x="483" y="725"/>
                </a:lnTo>
                <a:lnTo>
                  <a:pt x="556" y="624"/>
                </a:lnTo>
                <a:lnTo>
                  <a:pt x="721" y="391"/>
                </a:lnTo>
                <a:lnTo>
                  <a:pt x="881" y="159"/>
                </a:lnTo>
                <a:lnTo>
                  <a:pt x="881" y="159"/>
                </a:lnTo>
                <a:lnTo>
                  <a:pt x="889" y="150"/>
                </a:lnTo>
                <a:lnTo>
                  <a:pt x="898" y="141"/>
                </a:lnTo>
                <a:lnTo>
                  <a:pt x="907" y="133"/>
                </a:lnTo>
                <a:lnTo>
                  <a:pt x="917" y="128"/>
                </a:lnTo>
                <a:lnTo>
                  <a:pt x="927" y="123"/>
                </a:lnTo>
                <a:lnTo>
                  <a:pt x="938" y="119"/>
                </a:lnTo>
                <a:lnTo>
                  <a:pt x="950" y="117"/>
                </a:lnTo>
                <a:lnTo>
                  <a:pt x="962" y="117"/>
                </a:lnTo>
                <a:lnTo>
                  <a:pt x="1217" y="117"/>
                </a:lnTo>
                <a:lnTo>
                  <a:pt x="1217" y="117"/>
                </a:lnTo>
                <a:lnTo>
                  <a:pt x="1219" y="74"/>
                </a:lnTo>
                <a:lnTo>
                  <a:pt x="1223" y="39"/>
                </a:lnTo>
                <a:lnTo>
                  <a:pt x="1225" y="26"/>
                </a:lnTo>
                <a:lnTo>
                  <a:pt x="1227" y="15"/>
                </a:lnTo>
                <a:lnTo>
                  <a:pt x="1231" y="7"/>
                </a:lnTo>
                <a:lnTo>
                  <a:pt x="1233" y="4"/>
                </a:lnTo>
                <a:lnTo>
                  <a:pt x="1243" y="0"/>
                </a:lnTo>
                <a:lnTo>
                  <a:pt x="1243" y="0"/>
                </a:lnTo>
                <a:lnTo>
                  <a:pt x="1246" y="1"/>
                </a:lnTo>
                <a:lnTo>
                  <a:pt x="1252" y="2"/>
                </a:lnTo>
                <a:lnTo>
                  <a:pt x="1267" y="9"/>
                </a:lnTo>
                <a:lnTo>
                  <a:pt x="1288" y="19"/>
                </a:lnTo>
                <a:lnTo>
                  <a:pt x="1311" y="32"/>
                </a:lnTo>
                <a:lnTo>
                  <a:pt x="1367" y="64"/>
                </a:lnTo>
                <a:lnTo>
                  <a:pt x="1427" y="103"/>
                </a:lnTo>
                <a:lnTo>
                  <a:pt x="1486" y="143"/>
                </a:lnTo>
                <a:lnTo>
                  <a:pt x="1513" y="162"/>
                </a:lnTo>
                <a:lnTo>
                  <a:pt x="1537" y="181"/>
                </a:lnTo>
                <a:lnTo>
                  <a:pt x="1557" y="197"/>
                </a:lnTo>
                <a:lnTo>
                  <a:pt x="1572" y="213"/>
                </a:lnTo>
                <a:lnTo>
                  <a:pt x="1578" y="218"/>
                </a:lnTo>
                <a:lnTo>
                  <a:pt x="1582" y="224"/>
                </a:lnTo>
                <a:lnTo>
                  <a:pt x="1585" y="229"/>
                </a:lnTo>
                <a:lnTo>
                  <a:pt x="1585" y="234"/>
                </a:lnTo>
                <a:lnTo>
                  <a:pt x="1585" y="234"/>
                </a:lnTo>
                <a:lnTo>
                  <a:pt x="1585" y="239"/>
                </a:lnTo>
                <a:lnTo>
                  <a:pt x="1582" y="244"/>
                </a:lnTo>
                <a:lnTo>
                  <a:pt x="1577" y="252"/>
                </a:lnTo>
                <a:lnTo>
                  <a:pt x="1570" y="260"/>
                </a:lnTo>
                <a:lnTo>
                  <a:pt x="1570" y="260"/>
                </a:lnTo>
                <a:lnTo>
                  <a:pt x="1558" y="272"/>
                </a:lnTo>
                <a:lnTo>
                  <a:pt x="1541" y="285"/>
                </a:lnTo>
                <a:lnTo>
                  <a:pt x="1501" y="315"/>
                </a:lnTo>
                <a:lnTo>
                  <a:pt x="1453" y="350"/>
                </a:lnTo>
                <a:lnTo>
                  <a:pt x="1400" y="384"/>
                </a:lnTo>
                <a:lnTo>
                  <a:pt x="1349" y="416"/>
                </a:lnTo>
                <a:lnTo>
                  <a:pt x="1303" y="442"/>
                </a:lnTo>
                <a:lnTo>
                  <a:pt x="1283" y="452"/>
                </a:lnTo>
                <a:lnTo>
                  <a:pt x="1266" y="461"/>
                </a:lnTo>
                <a:lnTo>
                  <a:pt x="1252" y="465"/>
                </a:lnTo>
                <a:lnTo>
                  <a:pt x="1243" y="466"/>
                </a:lnTo>
                <a:lnTo>
                  <a:pt x="1243" y="466"/>
                </a:lnTo>
                <a:lnTo>
                  <a:pt x="1234" y="465"/>
                </a:lnTo>
                <a:lnTo>
                  <a:pt x="1234" y="465"/>
                </a:lnTo>
                <a:lnTo>
                  <a:pt x="1232" y="463"/>
                </a:lnTo>
                <a:lnTo>
                  <a:pt x="1230" y="461"/>
                </a:lnTo>
                <a:lnTo>
                  <a:pt x="1227" y="457"/>
                </a:lnTo>
                <a:lnTo>
                  <a:pt x="1225" y="451"/>
                </a:lnTo>
                <a:lnTo>
                  <a:pt x="1223" y="442"/>
                </a:lnTo>
                <a:lnTo>
                  <a:pt x="1221" y="431"/>
                </a:lnTo>
                <a:lnTo>
                  <a:pt x="1218" y="396"/>
                </a:lnTo>
                <a:lnTo>
                  <a:pt x="1218" y="396"/>
                </a:lnTo>
                <a:lnTo>
                  <a:pt x="1215" y="346"/>
                </a:lnTo>
                <a:lnTo>
                  <a:pt x="1215" y="346"/>
                </a:lnTo>
                <a:lnTo>
                  <a:pt x="1150" y="344"/>
                </a:lnTo>
                <a:lnTo>
                  <a:pt x="1080" y="342"/>
                </a:lnTo>
                <a:lnTo>
                  <a:pt x="1080" y="342"/>
                </a:lnTo>
                <a:lnTo>
                  <a:pt x="1044" y="342"/>
                </a:lnTo>
                <a:lnTo>
                  <a:pt x="1024" y="344"/>
                </a:lnTo>
                <a:lnTo>
                  <a:pt x="1013" y="345"/>
                </a:lnTo>
                <a:lnTo>
                  <a:pt x="1010" y="346"/>
                </a:lnTo>
                <a:lnTo>
                  <a:pt x="1010" y="346"/>
                </a:lnTo>
                <a:close/>
                <a:moveTo>
                  <a:pt x="103" y="347"/>
                </a:moveTo>
                <a:lnTo>
                  <a:pt x="103" y="347"/>
                </a:lnTo>
                <a:lnTo>
                  <a:pt x="168" y="346"/>
                </a:lnTo>
                <a:lnTo>
                  <a:pt x="228" y="345"/>
                </a:lnTo>
                <a:lnTo>
                  <a:pt x="289" y="344"/>
                </a:lnTo>
                <a:lnTo>
                  <a:pt x="289" y="344"/>
                </a:lnTo>
                <a:lnTo>
                  <a:pt x="326" y="345"/>
                </a:lnTo>
                <a:lnTo>
                  <a:pt x="347" y="345"/>
                </a:lnTo>
                <a:lnTo>
                  <a:pt x="362" y="346"/>
                </a:lnTo>
                <a:lnTo>
                  <a:pt x="362" y="346"/>
                </a:lnTo>
                <a:lnTo>
                  <a:pt x="369" y="354"/>
                </a:lnTo>
                <a:lnTo>
                  <a:pt x="382" y="371"/>
                </a:lnTo>
                <a:lnTo>
                  <a:pt x="419" y="423"/>
                </a:lnTo>
                <a:lnTo>
                  <a:pt x="468" y="492"/>
                </a:lnTo>
                <a:lnTo>
                  <a:pt x="517" y="568"/>
                </a:lnTo>
                <a:lnTo>
                  <a:pt x="527" y="581"/>
                </a:lnTo>
                <a:lnTo>
                  <a:pt x="659" y="396"/>
                </a:lnTo>
                <a:lnTo>
                  <a:pt x="489" y="159"/>
                </a:lnTo>
                <a:lnTo>
                  <a:pt x="489" y="159"/>
                </a:lnTo>
                <a:lnTo>
                  <a:pt x="482" y="150"/>
                </a:lnTo>
                <a:lnTo>
                  <a:pt x="473" y="141"/>
                </a:lnTo>
                <a:lnTo>
                  <a:pt x="463" y="133"/>
                </a:lnTo>
                <a:lnTo>
                  <a:pt x="454" y="128"/>
                </a:lnTo>
                <a:lnTo>
                  <a:pt x="443" y="123"/>
                </a:lnTo>
                <a:lnTo>
                  <a:pt x="432" y="119"/>
                </a:lnTo>
                <a:lnTo>
                  <a:pt x="421" y="117"/>
                </a:lnTo>
                <a:lnTo>
                  <a:pt x="410" y="117"/>
                </a:lnTo>
                <a:lnTo>
                  <a:pt x="103" y="117"/>
                </a:lnTo>
                <a:lnTo>
                  <a:pt x="103" y="117"/>
                </a:lnTo>
                <a:lnTo>
                  <a:pt x="92" y="117"/>
                </a:lnTo>
                <a:lnTo>
                  <a:pt x="82" y="119"/>
                </a:lnTo>
                <a:lnTo>
                  <a:pt x="72" y="122"/>
                </a:lnTo>
                <a:lnTo>
                  <a:pt x="63" y="125"/>
                </a:lnTo>
                <a:lnTo>
                  <a:pt x="53" y="130"/>
                </a:lnTo>
                <a:lnTo>
                  <a:pt x="45" y="136"/>
                </a:lnTo>
                <a:lnTo>
                  <a:pt x="38" y="143"/>
                </a:lnTo>
                <a:lnTo>
                  <a:pt x="30" y="150"/>
                </a:lnTo>
                <a:lnTo>
                  <a:pt x="24" y="158"/>
                </a:lnTo>
                <a:lnTo>
                  <a:pt x="18" y="168"/>
                </a:lnTo>
                <a:lnTo>
                  <a:pt x="12" y="177"/>
                </a:lnTo>
                <a:lnTo>
                  <a:pt x="8" y="187"/>
                </a:lnTo>
                <a:lnTo>
                  <a:pt x="5" y="197"/>
                </a:lnTo>
                <a:lnTo>
                  <a:pt x="2" y="209"/>
                </a:lnTo>
                <a:lnTo>
                  <a:pt x="0" y="220"/>
                </a:lnTo>
                <a:lnTo>
                  <a:pt x="0" y="231"/>
                </a:lnTo>
                <a:lnTo>
                  <a:pt x="0" y="231"/>
                </a:lnTo>
                <a:lnTo>
                  <a:pt x="0" y="243"/>
                </a:lnTo>
                <a:lnTo>
                  <a:pt x="2" y="255"/>
                </a:lnTo>
                <a:lnTo>
                  <a:pt x="5" y="267"/>
                </a:lnTo>
                <a:lnTo>
                  <a:pt x="8" y="278"/>
                </a:lnTo>
                <a:lnTo>
                  <a:pt x="12" y="287"/>
                </a:lnTo>
                <a:lnTo>
                  <a:pt x="18" y="296"/>
                </a:lnTo>
                <a:lnTo>
                  <a:pt x="24" y="306"/>
                </a:lnTo>
                <a:lnTo>
                  <a:pt x="30" y="314"/>
                </a:lnTo>
                <a:lnTo>
                  <a:pt x="38" y="321"/>
                </a:lnTo>
                <a:lnTo>
                  <a:pt x="45" y="328"/>
                </a:lnTo>
                <a:lnTo>
                  <a:pt x="54" y="334"/>
                </a:lnTo>
                <a:lnTo>
                  <a:pt x="63" y="339"/>
                </a:lnTo>
                <a:lnTo>
                  <a:pt x="72" y="342"/>
                </a:lnTo>
                <a:lnTo>
                  <a:pt x="83" y="345"/>
                </a:lnTo>
                <a:lnTo>
                  <a:pt x="92" y="347"/>
                </a:lnTo>
                <a:lnTo>
                  <a:pt x="103" y="347"/>
                </a:lnTo>
                <a:lnTo>
                  <a:pt x="103" y="347"/>
                </a:lnTo>
                <a:close/>
                <a:moveTo>
                  <a:pt x="1585" y="1004"/>
                </a:moveTo>
                <a:lnTo>
                  <a:pt x="1585" y="1004"/>
                </a:lnTo>
                <a:lnTo>
                  <a:pt x="1585" y="1009"/>
                </a:lnTo>
                <a:lnTo>
                  <a:pt x="1582" y="1016"/>
                </a:lnTo>
                <a:lnTo>
                  <a:pt x="1577" y="1022"/>
                </a:lnTo>
                <a:lnTo>
                  <a:pt x="1570" y="1030"/>
                </a:lnTo>
                <a:lnTo>
                  <a:pt x="1570" y="1030"/>
                </a:lnTo>
                <a:lnTo>
                  <a:pt x="1558" y="1042"/>
                </a:lnTo>
                <a:lnTo>
                  <a:pt x="1541" y="1055"/>
                </a:lnTo>
                <a:lnTo>
                  <a:pt x="1501" y="1085"/>
                </a:lnTo>
                <a:lnTo>
                  <a:pt x="1452" y="1120"/>
                </a:lnTo>
                <a:lnTo>
                  <a:pt x="1400" y="1155"/>
                </a:lnTo>
                <a:lnTo>
                  <a:pt x="1349" y="1186"/>
                </a:lnTo>
                <a:lnTo>
                  <a:pt x="1303" y="1213"/>
                </a:lnTo>
                <a:lnTo>
                  <a:pt x="1283" y="1222"/>
                </a:lnTo>
                <a:lnTo>
                  <a:pt x="1265" y="1231"/>
                </a:lnTo>
                <a:lnTo>
                  <a:pt x="1252" y="1235"/>
                </a:lnTo>
                <a:lnTo>
                  <a:pt x="1243" y="1236"/>
                </a:lnTo>
                <a:lnTo>
                  <a:pt x="1243" y="1236"/>
                </a:lnTo>
                <a:lnTo>
                  <a:pt x="1234" y="1235"/>
                </a:lnTo>
                <a:lnTo>
                  <a:pt x="1234" y="1235"/>
                </a:lnTo>
                <a:lnTo>
                  <a:pt x="1232" y="1234"/>
                </a:lnTo>
                <a:lnTo>
                  <a:pt x="1230" y="1231"/>
                </a:lnTo>
                <a:lnTo>
                  <a:pt x="1227" y="1227"/>
                </a:lnTo>
                <a:lnTo>
                  <a:pt x="1225" y="1221"/>
                </a:lnTo>
                <a:lnTo>
                  <a:pt x="1223" y="1213"/>
                </a:lnTo>
                <a:lnTo>
                  <a:pt x="1221" y="1201"/>
                </a:lnTo>
                <a:lnTo>
                  <a:pt x="1218" y="1166"/>
                </a:lnTo>
                <a:lnTo>
                  <a:pt x="1218" y="1166"/>
                </a:lnTo>
                <a:lnTo>
                  <a:pt x="1215" y="1118"/>
                </a:lnTo>
                <a:lnTo>
                  <a:pt x="962" y="1118"/>
                </a:lnTo>
                <a:lnTo>
                  <a:pt x="962" y="1118"/>
                </a:lnTo>
                <a:lnTo>
                  <a:pt x="950" y="1118"/>
                </a:lnTo>
                <a:lnTo>
                  <a:pt x="938" y="1116"/>
                </a:lnTo>
                <a:lnTo>
                  <a:pt x="927" y="1112"/>
                </a:lnTo>
                <a:lnTo>
                  <a:pt x="917" y="1108"/>
                </a:lnTo>
                <a:lnTo>
                  <a:pt x="907" y="1102"/>
                </a:lnTo>
                <a:lnTo>
                  <a:pt x="898" y="1095"/>
                </a:lnTo>
                <a:lnTo>
                  <a:pt x="889" y="1085"/>
                </a:lnTo>
                <a:lnTo>
                  <a:pt x="881" y="1076"/>
                </a:lnTo>
                <a:lnTo>
                  <a:pt x="712" y="840"/>
                </a:lnTo>
                <a:lnTo>
                  <a:pt x="845" y="654"/>
                </a:lnTo>
                <a:lnTo>
                  <a:pt x="853" y="667"/>
                </a:lnTo>
                <a:lnTo>
                  <a:pt x="853" y="667"/>
                </a:lnTo>
                <a:lnTo>
                  <a:pt x="904" y="744"/>
                </a:lnTo>
                <a:lnTo>
                  <a:pt x="951" y="814"/>
                </a:lnTo>
                <a:lnTo>
                  <a:pt x="971" y="842"/>
                </a:lnTo>
                <a:lnTo>
                  <a:pt x="989" y="866"/>
                </a:lnTo>
                <a:lnTo>
                  <a:pt x="1002" y="881"/>
                </a:lnTo>
                <a:lnTo>
                  <a:pt x="1006" y="886"/>
                </a:lnTo>
                <a:lnTo>
                  <a:pt x="1010" y="889"/>
                </a:lnTo>
                <a:lnTo>
                  <a:pt x="1010" y="889"/>
                </a:lnTo>
                <a:lnTo>
                  <a:pt x="1012" y="889"/>
                </a:lnTo>
                <a:lnTo>
                  <a:pt x="1023" y="890"/>
                </a:lnTo>
                <a:lnTo>
                  <a:pt x="1044" y="892"/>
                </a:lnTo>
                <a:lnTo>
                  <a:pt x="1078" y="893"/>
                </a:lnTo>
                <a:lnTo>
                  <a:pt x="1078" y="893"/>
                </a:lnTo>
                <a:lnTo>
                  <a:pt x="1152" y="892"/>
                </a:lnTo>
                <a:lnTo>
                  <a:pt x="1217" y="889"/>
                </a:lnTo>
                <a:lnTo>
                  <a:pt x="1217" y="889"/>
                </a:lnTo>
                <a:lnTo>
                  <a:pt x="1219" y="846"/>
                </a:lnTo>
                <a:lnTo>
                  <a:pt x="1223" y="810"/>
                </a:lnTo>
                <a:lnTo>
                  <a:pt x="1225" y="797"/>
                </a:lnTo>
                <a:lnTo>
                  <a:pt x="1227" y="785"/>
                </a:lnTo>
                <a:lnTo>
                  <a:pt x="1231" y="777"/>
                </a:lnTo>
                <a:lnTo>
                  <a:pt x="1233" y="774"/>
                </a:lnTo>
                <a:lnTo>
                  <a:pt x="1243" y="771"/>
                </a:lnTo>
                <a:lnTo>
                  <a:pt x="1243" y="771"/>
                </a:lnTo>
                <a:lnTo>
                  <a:pt x="1246" y="771"/>
                </a:lnTo>
                <a:lnTo>
                  <a:pt x="1252" y="772"/>
                </a:lnTo>
                <a:lnTo>
                  <a:pt x="1267" y="779"/>
                </a:lnTo>
                <a:lnTo>
                  <a:pt x="1288" y="789"/>
                </a:lnTo>
                <a:lnTo>
                  <a:pt x="1311" y="802"/>
                </a:lnTo>
                <a:lnTo>
                  <a:pt x="1367" y="834"/>
                </a:lnTo>
                <a:lnTo>
                  <a:pt x="1427" y="873"/>
                </a:lnTo>
                <a:lnTo>
                  <a:pt x="1486" y="913"/>
                </a:lnTo>
                <a:lnTo>
                  <a:pt x="1513" y="932"/>
                </a:lnTo>
                <a:lnTo>
                  <a:pt x="1537" y="951"/>
                </a:lnTo>
                <a:lnTo>
                  <a:pt x="1557" y="967"/>
                </a:lnTo>
                <a:lnTo>
                  <a:pt x="1572" y="983"/>
                </a:lnTo>
                <a:lnTo>
                  <a:pt x="1578" y="988"/>
                </a:lnTo>
                <a:lnTo>
                  <a:pt x="1582" y="994"/>
                </a:lnTo>
                <a:lnTo>
                  <a:pt x="1585" y="999"/>
                </a:lnTo>
                <a:lnTo>
                  <a:pt x="1585" y="1004"/>
                </a:lnTo>
                <a:lnTo>
                  <a:pt x="1585" y="1004"/>
                </a:lnTo>
                <a:close/>
              </a:path>
            </a:pathLst>
          </a:custGeom>
          <a:solidFill>
            <a:srgbClr val="FFFFFF"/>
          </a:solidFill>
          <a:ln>
            <a:noFill/>
          </a:ln>
        </p:spPr>
        <p:txBody>
          <a:bodyPr vert="horz" wrap="square" lIns="51395" tIns="25697" rIns="51395" bIns="25697" numCol="1" anchor="t" anchorCtr="0" compatLnSpc="1">
            <a:prstTxWarp prst="textNoShape">
              <a:avLst/>
            </a:prstTxWarp>
          </a:bodyPr>
          <a:lstStyle/>
          <a:p>
            <a:pPr defTabSz="385718">
              <a:defRPr/>
            </a:pPr>
            <a:endParaRPr lang="en-US" sz="825" kern="0" dirty="0">
              <a:solidFill>
                <a:srgbClr val="FFFFFF"/>
              </a:solidFill>
              <a:latin typeface="CiscoSans ExtraLight" panose="020B0303020201020303" pitchFamily="34" charset="0"/>
              <a:ea typeface="ＭＳ Ｐゴシック" pitchFamily="34" charset="-128"/>
            </a:endParaRPr>
          </a:p>
        </p:txBody>
      </p:sp>
      <p:sp>
        <p:nvSpPr>
          <p:cNvPr id="282" name="Freeform 411"/>
          <p:cNvSpPr>
            <a:spLocks noChangeAspect="1" noEditPoints="1"/>
          </p:cNvSpPr>
          <p:nvPr/>
        </p:nvSpPr>
        <p:spPr bwMode="auto">
          <a:xfrm>
            <a:off x="473470" y="1629011"/>
            <a:ext cx="491389" cy="491389"/>
          </a:xfrm>
          <a:custGeom>
            <a:avLst/>
            <a:gdLst>
              <a:gd name="T0" fmla="*/ 1717 w 1741"/>
              <a:gd name="T1" fmla="*/ 292 h 1847"/>
              <a:gd name="T2" fmla="*/ 1604 w 1741"/>
              <a:gd name="T3" fmla="*/ 299 h 1847"/>
              <a:gd name="T4" fmla="*/ 1491 w 1741"/>
              <a:gd name="T5" fmla="*/ 294 h 1847"/>
              <a:gd name="T6" fmla="*/ 1393 w 1741"/>
              <a:gd name="T7" fmla="*/ 282 h 1847"/>
              <a:gd name="T8" fmla="*/ 1288 w 1741"/>
              <a:gd name="T9" fmla="*/ 259 h 1847"/>
              <a:gd name="T10" fmla="*/ 1179 w 1741"/>
              <a:gd name="T11" fmla="*/ 222 h 1847"/>
              <a:gd name="T12" fmla="*/ 1072 w 1741"/>
              <a:gd name="T13" fmla="*/ 169 h 1847"/>
              <a:gd name="T14" fmla="*/ 968 w 1741"/>
              <a:gd name="T15" fmla="*/ 97 h 1847"/>
              <a:gd name="T16" fmla="*/ 919 w 1741"/>
              <a:gd name="T17" fmla="*/ 53 h 1847"/>
              <a:gd name="T18" fmla="*/ 872 w 1741"/>
              <a:gd name="T19" fmla="*/ 3 h 1847"/>
              <a:gd name="T20" fmla="*/ 871 w 1741"/>
              <a:gd name="T21" fmla="*/ 1 h 1847"/>
              <a:gd name="T22" fmla="*/ 869 w 1741"/>
              <a:gd name="T23" fmla="*/ 3 h 1847"/>
              <a:gd name="T24" fmla="*/ 839 w 1741"/>
              <a:gd name="T25" fmla="*/ 36 h 1847"/>
              <a:gd name="T26" fmla="*/ 791 w 1741"/>
              <a:gd name="T27" fmla="*/ 83 h 1847"/>
              <a:gd name="T28" fmla="*/ 705 w 1741"/>
              <a:gd name="T29" fmla="*/ 148 h 1847"/>
              <a:gd name="T30" fmla="*/ 599 w 1741"/>
              <a:gd name="T31" fmla="*/ 207 h 1847"/>
              <a:gd name="T32" fmla="*/ 490 w 1741"/>
              <a:gd name="T33" fmla="*/ 249 h 1847"/>
              <a:gd name="T34" fmla="*/ 383 w 1741"/>
              <a:gd name="T35" fmla="*/ 276 h 1847"/>
              <a:gd name="T36" fmla="*/ 282 w 1741"/>
              <a:gd name="T37" fmla="*/ 291 h 1847"/>
              <a:gd name="T38" fmla="*/ 191 w 1741"/>
              <a:gd name="T39" fmla="*/ 299 h 1847"/>
              <a:gd name="T40" fmla="*/ 53 w 1741"/>
              <a:gd name="T41" fmla="*/ 295 h 1847"/>
              <a:gd name="T42" fmla="*/ 0 w 1741"/>
              <a:gd name="T43" fmla="*/ 289 h 1847"/>
              <a:gd name="T44" fmla="*/ 2 w 1741"/>
              <a:gd name="T45" fmla="*/ 413 h 1847"/>
              <a:gd name="T46" fmla="*/ 13 w 1741"/>
              <a:gd name="T47" fmla="*/ 548 h 1847"/>
              <a:gd name="T48" fmla="*/ 35 w 1741"/>
              <a:gd name="T49" fmla="*/ 719 h 1847"/>
              <a:gd name="T50" fmla="*/ 75 w 1741"/>
              <a:gd name="T51" fmla="*/ 911 h 1847"/>
              <a:gd name="T52" fmla="*/ 113 w 1741"/>
              <a:gd name="T53" fmla="*/ 1045 h 1847"/>
              <a:gd name="T54" fmla="*/ 149 w 1741"/>
              <a:gd name="T55" fmla="*/ 1147 h 1847"/>
              <a:gd name="T56" fmla="*/ 193 w 1741"/>
              <a:gd name="T57" fmla="*/ 1248 h 1847"/>
              <a:gd name="T58" fmla="*/ 244 w 1741"/>
              <a:gd name="T59" fmla="*/ 1346 h 1847"/>
              <a:gd name="T60" fmla="*/ 303 w 1741"/>
              <a:gd name="T61" fmla="*/ 1441 h 1847"/>
              <a:gd name="T62" fmla="*/ 372 w 1741"/>
              <a:gd name="T63" fmla="*/ 1531 h 1847"/>
              <a:gd name="T64" fmla="*/ 450 w 1741"/>
              <a:gd name="T65" fmla="*/ 1613 h 1847"/>
              <a:gd name="T66" fmla="*/ 538 w 1741"/>
              <a:gd name="T67" fmla="*/ 1688 h 1847"/>
              <a:gd name="T68" fmla="*/ 637 w 1741"/>
              <a:gd name="T69" fmla="*/ 1752 h 1847"/>
              <a:gd name="T70" fmla="*/ 747 w 1741"/>
              <a:gd name="T71" fmla="*/ 1805 h 1847"/>
              <a:gd name="T72" fmla="*/ 869 w 1741"/>
              <a:gd name="T73" fmla="*/ 1846 h 1847"/>
              <a:gd name="T74" fmla="*/ 871 w 1741"/>
              <a:gd name="T75" fmla="*/ 1847 h 1847"/>
              <a:gd name="T76" fmla="*/ 872 w 1741"/>
              <a:gd name="T77" fmla="*/ 1846 h 1847"/>
              <a:gd name="T78" fmla="*/ 956 w 1741"/>
              <a:gd name="T79" fmla="*/ 1820 h 1847"/>
              <a:gd name="T80" fmla="*/ 1070 w 1741"/>
              <a:gd name="T81" fmla="*/ 1771 h 1847"/>
              <a:gd name="T82" fmla="*/ 1172 w 1741"/>
              <a:gd name="T83" fmla="*/ 1710 h 1847"/>
              <a:gd name="T84" fmla="*/ 1264 w 1741"/>
              <a:gd name="T85" fmla="*/ 1639 h 1847"/>
              <a:gd name="T86" fmla="*/ 1345 w 1741"/>
              <a:gd name="T87" fmla="*/ 1559 h 1847"/>
              <a:gd name="T88" fmla="*/ 1417 w 1741"/>
              <a:gd name="T89" fmla="*/ 1472 h 1847"/>
              <a:gd name="T90" fmla="*/ 1479 w 1741"/>
              <a:gd name="T91" fmla="*/ 1379 h 1847"/>
              <a:gd name="T92" fmla="*/ 1533 w 1741"/>
              <a:gd name="T93" fmla="*/ 1281 h 1847"/>
              <a:gd name="T94" fmla="*/ 1579 w 1741"/>
              <a:gd name="T95" fmla="*/ 1181 h 1847"/>
              <a:gd name="T96" fmla="*/ 1618 w 1741"/>
              <a:gd name="T97" fmla="*/ 1079 h 1847"/>
              <a:gd name="T98" fmla="*/ 1649 w 1741"/>
              <a:gd name="T99" fmla="*/ 978 h 1847"/>
              <a:gd name="T100" fmla="*/ 1696 w 1741"/>
              <a:gd name="T101" fmla="*/ 781 h 1847"/>
              <a:gd name="T102" fmla="*/ 1724 w 1741"/>
              <a:gd name="T103" fmla="*/ 602 h 1847"/>
              <a:gd name="T104" fmla="*/ 1737 w 1741"/>
              <a:gd name="T105" fmla="*/ 454 h 1847"/>
              <a:gd name="T106" fmla="*/ 1741 w 1741"/>
              <a:gd name="T107" fmla="*/ 305 h 1847"/>
              <a:gd name="T108" fmla="*/ 1128 w 1741"/>
              <a:gd name="T109" fmla="*/ 1219 h 1847"/>
              <a:gd name="T110" fmla="*/ 682 w 1741"/>
              <a:gd name="T111" fmla="*/ 962 h 1847"/>
              <a:gd name="T112" fmla="*/ 864 w 1741"/>
              <a:gd name="T113" fmla="*/ 479 h 1847"/>
              <a:gd name="T114" fmla="*/ 1074 w 1741"/>
              <a:gd name="T115" fmla="*/ 950 h 18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1" h="1847">
                <a:moveTo>
                  <a:pt x="1741" y="289"/>
                </a:moveTo>
                <a:lnTo>
                  <a:pt x="1741" y="289"/>
                </a:lnTo>
                <a:lnTo>
                  <a:pt x="1717" y="292"/>
                </a:lnTo>
                <a:lnTo>
                  <a:pt x="1688" y="295"/>
                </a:lnTo>
                <a:lnTo>
                  <a:pt x="1650" y="297"/>
                </a:lnTo>
                <a:lnTo>
                  <a:pt x="1604" y="299"/>
                </a:lnTo>
                <a:lnTo>
                  <a:pt x="1550" y="299"/>
                </a:lnTo>
                <a:lnTo>
                  <a:pt x="1522" y="296"/>
                </a:lnTo>
                <a:lnTo>
                  <a:pt x="1491" y="294"/>
                </a:lnTo>
                <a:lnTo>
                  <a:pt x="1460" y="291"/>
                </a:lnTo>
                <a:lnTo>
                  <a:pt x="1427" y="287"/>
                </a:lnTo>
                <a:lnTo>
                  <a:pt x="1393" y="282"/>
                </a:lnTo>
                <a:lnTo>
                  <a:pt x="1359" y="276"/>
                </a:lnTo>
                <a:lnTo>
                  <a:pt x="1324" y="268"/>
                </a:lnTo>
                <a:lnTo>
                  <a:pt x="1288" y="259"/>
                </a:lnTo>
                <a:lnTo>
                  <a:pt x="1253" y="249"/>
                </a:lnTo>
                <a:lnTo>
                  <a:pt x="1216" y="236"/>
                </a:lnTo>
                <a:lnTo>
                  <a:pt x="1179" y="222"/>
                </a:lnTo>
                <a:lnTo>
                  <a:pt x="1143" y="207"/>
                </a:lnTo>
                <a:lnTo>
                  <a:pt x="1108" y="188"/>
                </a:lnTo>
                <a:lnTo>
                  <a:pt x="1072" y="169"/>
                </a:lnTo>
                <a:lnTo>
                  <a:pt x="1036" y="148"/>
                </a:lnTo>
                <a:lnTo>
                  <a:pt x="1002" y="123"/>
                </a:lnTo>
                <a:lnTo>
                  <a:pt x="968" y="97"/>
                </a:lnTo>
                <a:lnTo>
                  <a:pt x="952" y="83"/>
                </a:lnTo>
                <a:lnTo>
                  <a:pt x="935" y="68"/>
                </a:lnTo>
                <a:lnTo>
                  <a:pt x="919" y="53"/>
                </a:lnTo>
                <a:lnTo>
                  <a:pt x="903" y="36"/>
                </a:lnTo>
                <a:lnTo>
                  <a:pt x="888" y="20"/>
                </a:lnTo>
                <a:lnTo>
                  <a:pt x="872" y="3"/>
                </a:lnTo>
                <a:lnTo>
                  <a:pt x="872" y="0"/>
                </a:lnTo>
                <a:lnTo>
                  <a:pt x="872" y="0"/>
                </a:lnTo>
                <a:lnTo>
                  <a:pt x="871" y="1"/>
                </a:lnTo>
                <a:lnTo>
                  <a:pt x="871" y="1"/>
                </a:lnTo>
                <a:lnTo>
                  <a:pt x="869" y="0"/>
                </a:lnTo>
                <a:lnTo>
                  <a:pt x="869" y="3"/>
                </a:lnTo>
                <a:lnTo>
                  <a:pt x="869" y="3"/>
                </a:lnTo>
                <a:lnTo>
                  <a:pt x="854" y="20"/>
                </a:lnTo>
                <a:lnTo>
                  <a:pt x="839" y="36"/>
                </a:lnTo>
                <a:lnTo>
                  <a:pt x="823" y="53"/>
                </a:lnTo>
                <a:lnTo>
                  <a:pt x="807" y="68"/>
                </a:lnTo>
                <a:lnTo>
                  <a:pt x="791" y="83"/>
                </a:lnTo>
                <a:lnTo>
                  <a:pt x="774" y="97"/>
                </a:lnTo>
                <a:lnTo>
                  <a:pt x="740" y="123"/>
                </a:lnTo>
                <a:lnTo>
                  <a:pt x="705" y="148"/>
                </a:lnTo>
                <a:lnTo>
                  <a:pt x="670" y="169"/>
                </a:lnTo>
                <a:lnTo>
                  <a:pt x="635" y="188"/>
                </a:lnTo>
                <a:lnTo>
                  <a:pt x="599" y="207"/>
                </a:lnTo>
                <a:lnTo>
                  <a:pt x="562" y="222"/>
                </a:lnTo>
                <a:lnTo>
                  <a:pt x="525" y="236"/>
                </a:lnTo>
                <a:lnTo>
                  <a:pt x="490" y="249"/>
                </a:lnTo>
                <a:lnTo>
                  <a:pt x="454" y="259"/>
                </a:lnTo>
                <a:lnTo>
                  <a:pt x="418" y="268"/>
                </a:lnTo>
                <a:lnTo>
                  <a:pt x="383" y="276"/>
                </a:lnTo>
                <a:lnTo>
                  <a:pt x="349" y="282"/>
                </a:lnTo>
                <a:lnTo>
                  <a:pt x="315" y="287"/>
                </a:lnTo>
                <a:lnTo>
                  <a:pt x="282" y="291"/>
                </a:lnTo>
                <a:lnTo>
                  <a:pt x="250" y="294"/>
                </a:lnTo>
                <a:lnTo>
                  <a:pt x="221" y="296"/>
                </a:lnTo>
                <a:lnTo>
                  <a:pt x="191" y="299"/>
                </a:lnTo>
                <a:lnTo>
                  <a:pt x="138" y="299"/>
                </a:lnTo>
                <a:lnTo>
                  <a:pt x="91" y="297"/>
                </a:lnTo>
                <a:lnTo>
                  <a:pt x="53" y="295"/>
                </a:lnTo>
                <a:lnTo>
                  <a:pt x="25" y="292"/>
                </a:lnTo>
                <a:lnTo>
                  <a:pt x="0" y="289"/>
                </a:lnTo>
                <a:lnTo>
                  <a:pt x="0" y="289"/>
                </a:lnTo>
                <a:lnTo>
                  <a:pt x="0" y="305"/>
                </a:lnTo>
                <a:lnTo>
                  <a:pt x="0" y="346"/>
                </a:lnTo>
                <a:lnTo>
                  <a:pt x="2" y="413"/>
                </a:lnTo>
                <a:lnTo>
                  <a:pt x="4" y="454"/>
                </a:lnTo>
                <a:lnTo>
                  <a:pt x="8" y="498"/>
                </a:lnTo>
                <a:lnTo>
                  <a:pt x="13" y="548"/>
                </a:lnTo>
                <a:lnTo>
                  <a:pt x="19" y="602"/>
                </a:lnTo>
                <a:lnTo>
                  <a:pt x="26" y="659"/>
                </a:lnTo>
                <a:lnTo>
                  <a:pt x="35" y="719"/>
                </a:lnTo>
                <a:lnTo>
                  <a:pt x="46" y="781"/>
                </a:lnTo>
                <a:lnTo>
                  <a:pt x="58" y="845"/>
                </a:lnTo>
                <a:lnTo>
                  <a:pt x="75" y="911"/>
                </a:lnTo>
                <a:lnTo>
                  <a:pt x="92" y="978"/>
                </a:lnTo>
                <a:lnTo>
                  <a:pt x="102" y="1012"/>
                </a:lnTo>
                <a:lnTo>
                  <a:pt x="113" y="1045"/>
                </a:lnTo>
                <a:lnTo>
                  <a:pt x="125" y="1079"/>
                </a:lnTo>
                <a:lnTo>
                  <a:pt x="137" y="1114"/>
                </a:lnTo>
                <a:lnTo>
                  <a:pt x="149" y="1147"/>
                </a:lnTo>
                <a:lnTo>
                  <a:pt x="163" y="1181"/>
                </a:lnTo>
                <a:lnTo>
                  <a:pt x="178" y="1214"/>
                </a:lnTo>
                <a:lnTo>
                  <a:pt x="193" y="1248"/>
                </a:lnTo>
                <a:lnTo>
                  <a:pt x="209" y="1281"/>
                </a:lnTo>
                <a:lnTo>
                  <a:pt x="226" y="1314"/>
                </a:lnTo>
                <a:lnTo>
                  <a:pt x="244" y="1346"/>
                </a:lnTo>
                <a:lnTo>
                  <a:pt x="263" y="1379"/>
                </a:lnTo>
                <a:lnTo>
                  <a:pt x="283" y="1410"/>
                </a:lnTo>
                <a:lnTo>
                  <a:pt x="303" y="1441"/>
                </a:lnTo>
                <a:lnTo>
                  <a:pt x="326" y="1472"/>
                </a:lnTo>
                <a:lnTo>
                  <a:pt x="348" y="1501"/>
                </a:lnTo>
                <a:lnTo>
                  <a:pt x="372" y="1531"/>
                </a:lnTo>
                <a:lnTo>
                  <a:pt x="397" y="1559"/>
                </a:lnTo>
                <a:lnTo>
                  <a:pt x="422" y="1587"/>
                </a:lnTo>
                <a:lnTo>
                  <a:pt x="450" y="1613"/>
                </a:lnTo>
                <a:lnTo>
                  <a:pt x="478" y="1639"/>
                </a:lnTo>
                <a:lnTo>
                  <a:pt x="507" y="1663"/>
                </a:lnTo>
                <a:lnTo>
                  <a:pt x="538" y="1688"/>
                </a:lnTo>
                <a:lnTo>
                  <a:pt x="569" y="1710"/>
                </a:lnTo>
                <a:lnTo>
                  <a:pt x="603" y="1732"/>
                </a:lnTo>
                <a:lnTo>
                  <a:pt x="637" y="1752"/>
                </a:lnTo>
                <a:lnTo>
                  <a:pt x="672" y="1771"/>
                </a:lnTo>
                <a:lnTo>
                  <a:pt x="709" y="1789"/>
                </a:lnTo>
                <a:lnTo>
                  <a:pt x="747" y="1805"/>
                </a:lnTo>
                <a:lnTo>
                  <a:pt x="787" y="1820"/>
                </a:lnTo>
                <a:lnTo>
                  <a:pt x="827" y="1834"/>
                </a:lnTo>
                <a:lnTo>
                  <a:pt x="869" y="1846"/>
                </a:lnTo>
                <a:lnTo>
                  <a:pt x="869" y="1847"/>
                </a:lnTo>
                <a:lnTo>
                  <a:pt x="869" y="1847"/>
                </a:lnTo>
                <a:lnTo>
                  <a:pt x="871" y="1847"/>
                </a:lnTo>
                <a:lnTo>
                  <a:pt x="871" y="1847"/>
                </a:lnTo>
                <a:lnTo>
                  <a:pt x="872" y="1847"/>
                </a:lnTo>
                <a:lnTo>
                  <a:pt x="872" y="1846"/>
                </a:lnTo>
                <a:lnTo>
                  <a:pt x="872" y="1846"/>
                </a:lnTo>
                <a:lnTo>
                  <a:pt x="915" y="1834"/>
                </a:lnTo>
                <a:lnTo>
                  <a:pt x="956" y="1820"/>
                </a:lnTo>
                <a:lnTo>
                  <a:pt x="995" y="1805"/>
                </a:lnTo>
                <a:lnTo>
                  <a:pt x="1033" y="1789"/>
                </a:lnTo>
                <a:lnTo>
                  <a:pt x="1070" y="1771"/>
                </a:lnTo>
                <a:lnTo>
                  <a:pt x="1105" y="1752"/>
                </a:lnTo>
                <a:lnTo>
                  <a:pt x="1139" y="1732"/>
                </a:lnTo>
                <a:lnTo>
                  <a:pt x="1172" y="1710"/>
                </a:lnTo>
                <a:lnTo>
                  <a:pt x="1204" y="1688"/>
                </a:lnTo>
                <a:lnTo>
                  <a:pt x="1234" y="1663"/>
                </a:lnTo>
                <a:lnTo>
                  <a:pt x="1264" y="1639"/>
                </a:lnTo>
                <a:lnTo>
                  <a:pt x="1292" y="1613"/>
                </a:lnTo>
                <a:lnTo>
                  <a:pt x="1319" y="1587"/>
                </a:lnTo>
                <a:lnTo>
                  <a:pt x="1345" y="1559"/>
                </a:lnTo>
                <a:lnTo>
                  <a:pt x="1370" y="1531"/>
                </a:lnTo>
                <a:lnTo>
                  <a:pt x="1393" y="1501"/>
                </a:lnTo>
                <a:lnTo>
                  <a:pt x="1417" y="1472"/>
                </a:lnTo>
                <a:lnTo>
                  <a:pt x="1438" y="1441"/>
                </a:lnTo>
                <a:lnTo>
                  <a:pt x="1459" y="1410"/>
                </a:lnTo>
                <a:lnTo>
                  <a:pt x="1479" y="1379"/>
                </a:lnTo>
                <a:lnTo>
                  <a:pt x="1497" y="1346"/>
                </a:lnTo>
                <a:lnTo>
                  <a:pt x="1516" y="1314"/>
                </a:lnTo>
                <a:lnTo>
                  <a:pt x="1533" y="1281"/>
                </a:lnTo>
                <a:lnTo>
                  <a:pt x="1549" y="1248"/>
                </a:lnTo>
                <a:lnTo>
                  <a:pt x="1565" y="1214"/>
                </a:lnTo>
                <a:lnTo>
                  <a:pt x="1579" y="1181"/>
                </a:lnTo>
                <a:lnTo>
                  <a:pt x="1592" y="1147"/>
                </a:lnTo>
                <a:lnTo>
                  <a:pt x="1605" y="1114"/>
                </a:lnTo>
                <a:lnTo>
                  <a:pt x="1618" y="1079"/>
                </a:lnTo>
                <a:lnTo>
                  <a:pt x="1629" y="1045"/>
                </a:lnTo>
                <a:lnTo>
                  <a:pt x="1639" y="1012"/>
                </a:lnTo>
                <a:lnTo>
                  <a:pt x="1649" y="978"/>
                </a:lnTo>
                <a:lnTo>
                  <a:pt x="1668" y="911"/>
                </a:lnTo>
                <a:lnTo>
                  <a:pt x="1683" y="845"/>
                </a:lnTo>
                <a:lnTo>
                  <a:pt x="1696" y="781"/>
                </a:lnTo>
                <a:lnTo>
                  <a:pt x="1707" y="719"/>
                </a:lnTo>
                <a:lnTo>
                  <a:pt x="1717" y="659"/>
                </a:lnTo>
                <a:lnTo>
                  <a:pt x="1724" y="602"/>
                </a:lnTo>
                <a:lnTo>
                  <a:pt x="1730" y="548"/>
                </a:lnTo>
                <a:lnTo>
                  <a:pt x="1734" y="498"/>
                </a:lnTo>
                <a:lnTo>
                  <a:pt x="1737" y="454"/>
                </a:lnTo>
                <a:lnTo>
                  <a:pt x="1739" y="413"/>
                </a:lnTo>
                <a:lnTo>
                  <a:pt x="1741" y="346"/>
                </a:lnTo>
                <a:lnTo>
                  <a:pt x="1741" y="305"/>
                </a:lnTo>
                <a:lnTo>
                  <a:pt x="1741" y="289"/>
                </a:lnTo>
                <a:lnTo>
                  <a:pt x="1741" y="289"/>
                </a:lnTo>
                <a:close/>
                <a:moveTo>
                  <a:pt x="1128" y="1219"/>
                </a:moveTo>
                <a:lnTo>
                  <a:pt x="881" y="1098"/>
                </a:lnTo>
                <a:lnTo>
                  <a:pt x="643" y="1233"/>
                </a:lnTo>
                <a:lnTo>
                  <a:pt x="682" y="962"/>
                </a:lnTo>
                <a:lnTo>
                  <a:pt x="480" y="775"/>
                </a:lnTo>
                <a:lnTo>
                  <a:pt x="750" y="728"/>
                </a:lnTo>
                <a:lnTo>
                  <a:pt x="864" y="479"/>
                </a:lnTo>
                <a:lnTo>
                  <a:pt x="993" y="721"/>
                </a:lnTo>
                <a:lnTo>
                  <a:pt x="1265" y="752"/>
                </a:lnTo>
                <a:lnTo>
                  <a:pt x="1074" y="950"/>
                </a:lnTo>
                <a:lnTo>
                  <a:pt x="1128" y="1219"/>
                </a:lnTo>
                <a:close/>
              </a:path>
            </a:pathLst>
          </a:custGeom>
          <a:solidFill>
            <a:srgbClr val="FFFFFF"/>
          </a:solidFill>
          <a:ln>
            <a:noFill/>
          </a:ln>
        </p:spPr>
        <p:txBody>
          <a:bodyPr vert="horz" wrap="square" lIns="68562" tIns="34281" rIns="68562" bIns="34281" numCol="1" anchor="t" anchorCtr="0" compatLnSpc="1">
            <a:prstTxWarp prst="textNoShape">
              <a:avLst/>
            </a:prstTxWarp>
          </a:bodyPr>
          <a:lstStyle/>
          <a:p>
            <a:pPr defTabSz="514289">
              <a:defRPr/>
            </a:pPr>
            <a:endParaRPr lang="en-US" sz="1350" kern="0" dirty="0">
              <a:solidFill>
                <a:srgbClr val="676767"/>
              </a:solidFill>
              <a:latin typeface="CiscoSans ExtraLight" panose="020B0303020201020303" pitchFamily="34" charset="0"/>
              <a:ea typeface="ＭＳ Ｐゴシック" pitchFamily="34" charset="-128"/>
            </a:endParaRPr>
          </a:p>
        </p:txBody>
      </p:sp>
      <p:sp>
        <p:nvSpPr>
          <p:cNvPr id="79" name="Rectangle 78"/>
          <p:cNvSpPr/>
          <p:nvPr/>
        </p:nvSpPr>
        <p:spPr>
          <a:xfrm>
            <a:off x="4744940" y="2776068"/>
            <a:ext cx="4205837" cy="769042"/>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502728" tIns="91406" rIns="91406" bIns="91406" rtlCol="0" anchor="ctr"/>
          <a:lstStyle/>
          <a:p>
            <a:pPr defTabSz="685618"/>
            <a:endParaRPr lang="en-US" sz="2000" dirty="0">
              <a:solidFill>
                <a:srgbClr val="2968AF"/>
              </a:solidFill>
              <a:latin typeface="CiscoSans ExtraLight" panose="020B0303020201020303" pitchFamily="34" charset="0"/>
            </a:endParaRPr>
          </a:p>
        </p:txBody>
      </p:sp>
      <p:sp>
        <p:nvSpPr>
          <p:cNvPr id="84" name="Rectangle 83"/>
          <p:cNvSpPr/>
          <p:nvPr/>
        </p:nvSpPr>
        <p:spPr>
          <a:xfrm rot="5400000">
            <a:off x="4751440" y="2761672"/>
            <a:ext cx="769041" cy="805073"/>
          </a:xfrm>
          <a:prstGeom prst="rect">
            <a:avLst/>
          </a:prstGeom>
          <a:solidFill>
            <a:srgbClr val="555558"/>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sp>
        <p:nvSpPr>
          <p:cNvPr id="91" name="Freeform 116"/>
          <p:cNvSpPr>
            <a:spLocks noEditPoints="1"/>
          </p:cNvSpPr>
          <p:nvPr/>
        </p:nvSpPr>
        <p:spPr bwMode="auto">
          <a:xfrm>
            <a:off x="4878379" y="2887220"/>
            <a:ext cx="470246" cy="496979"/>
          </a:xfrm>
          <a:custGeom>
            <a:avLst/>
            <a:gdLst>
              <a:gd name="T0" fmla="*/ 656 w 846"/>
              <a:gd name="T1" fmla="*/ 748 h 849"/>
              <a:gd name="T2" fmla="*/ 622 w 846"/>
              <a:gd name="T3" fmla="*/ 678 h 849"/>
              <a:gd name="T4" fmla="*/ 695 w 846"/>
              <a:gd name="T5" fmla="*/ 597 h 849"/>
              <a:gd name="T6" fmla="*/ 768 w 846"/>
              <a:gd name="T7" fmla="*/ 621 h 849"/>
              <a:gd name="T8" fmla="*/ 813 w 846"/>
              <a:gd name="T9" fmla="*/ 600 h 849"/>
              <a:gd name="T10" fmla="*/ 836 w 846"/>
              <a:gd name="T11" fmla="*/ 533 h 849"/>
              <a:gd name="T12" fmla="*/ 815 w 846"/>
              <a:gd name="T13" fmla="*/ 487 h 849"/>
              <a:gd name="T14" fmla="*/ 739 w 846"/>
              <a:gd name="T15" fmla="*/ 460 h 849"/>
              <a:gd name="T16" fmla="*/ 734 w 846"/>
              <a:gd name="T17" fmla="*/ 354 h 849"/>
              <a:gd name="T18" fmla="*/ 807 w 846"/>
              <a:gd name="T19" fmla="*/ 318 h 849"/>
              <a:gd name="T20" fmla="*/ 823 w 846"/>
              <a:gd name="T21" fmla="*/ 272 h 849"/>
              <a:gd name="T22" fmla="*/ 792 w 846"/>
              <a:gd name="T23" fmla="*/ 206 h 849"/>
              <a:gd name="T24" fmla="*/ 744 w 846"/>
              <a:gd name="T25" fmla="*/ 192 h 849"/>
              <a:gd name="T26" fmla="*/ 675 w 846"/>
              <a:gd name="T27" fmla="*/ 225 h 849"/>
              <a:gd name="T28" fmla="*/ 594 w 846"/>
              <a:gd name="T29" fmla="*/ 152 h 849"/>
              <a:gd name="T30" fmla="*/ 622 w 846"/>
              <a:gd name="T31" fmla="*/ 77 h 849"/>
              <a:gd name="T32" fmla="*/ 601 w 846"/>
              <a:gd name="T33" fmla="*/ 31 h 849"/>
              <a:gd name="T34" fmla="*/ 534 w 846"/>
              <a:gd name="T35" fmla="*/ 7 h 849"/>
              <a:gd name="T36" fmla="*/ 485 w 846"/>
              <a:gd name="T37" fmla="*/ 31 h 849"/>
              <a:gd name="T38" fmla="*/ 461 w 846"/>
              <a:gd name="T39" fmla="*/ 104 h 849"/>
              <a:gd name="T40" fmla="*/ 352 w 846"/>
              <a:gd name="T41" fmla="*/ 113 h 849"/>
              <a:gd name="T42" fmla="*/ 318 w 846"/>
              <a:gd name="T43" fmla="*/ 36 h 849"/>
              <a:gd name="T44" fmla="*/ 270 w 846"/>
              <a:gd name="T45" fmla="*/ 23 h 849"/>
              <a:gd name="T46" fmla="*/ 208 w 846"/>
              <a:gd name="T47" fmla="*/ 51 h 849"/>
              <a:gd name="T48" fmla="*/ 188 w 846"/>
              <a:gd name="T49" fmla="*/ 98 h 849"/>
              <a:gd name="T50" fmla="*/ 224 w 846"/>
              <a:gd name="T51" fmla="*/ 171 h 849"/>
              <a:gd name="T52" fmla="*/ 151 w 846"/>
              <a:gd name="T53" fmla="*/ 253 h 849"/>
              <a:gd name="T54" fmla="*/ 75 w 846"/>
              <a:gd name="T55" fmla="*/ 225 h 849"/>
              <a:gd name="T56" fmla="*/ 31 w 846"/>
              <a:gd name="T57" fmla="*/ 246 h 849"/>
              <a:gd name="T58" fmla="*/ 7 w 846"/>
              <a:gd name="T59" fmla="*/ 313 h 849"/>
              <a:gd name="T60" fmla="*/ 29 w 846"/>
              <a:gd name="T61" fmla="*/ 359 h 849"/>
              <a:gd name="T62" fmla="*/ 104 w 846"/>
              <a:gd name="T63" fmla="*/ 386 h 849"/>
              <a:gd name="T64" fmla="*/ 109 w 846"/>
              <a:gd name="T65" fmla="*/ 492 h 849"/>
              <a:gd name="T66" fmla="*/ 36 w 846"/>
              <a:gd name="T67" fmla="*/ 528 h 849"/>
              <a:gd name="T68" fmla="*/ 23 w 846"/>
              <a:gd name="T69" fmla="*/ 577 h 849"/>
              <a:gd name="T70" fmla="*/ 50 w 846"/>
              <a:gd name="T71" fmla="*/ 641 h 849"/>
              <a:gd name="T72" fmla="*/ 102 w 846"/>
              <a:gd name="T73" fmla="*/ 659 h 849"/>
              <a:gd name="T74" fmla="*/ 171 w 846"/>
              <a:gd name="T75" fmla="*/ 624 h 849"/>
              <a:gd name="T76" fmla="*/ 248 w 846"/>
              <a:gd name="T77" fmla="*/ 694 h 849"/>
              <a:gd name="T78" fmla="*/ 227 w 846"/>
              <a:gd name="T79" fmla="*/ 771 h 849"/>
              <a:gd name="T80" fmla="*/ 245 w 846"/>
              <a:gd name="T81" fmla="*/ 818 h 849"/>
              <a:gd name="T82" fmla="*/ 315 w 846"/>
              <a:gd name="T83" fmla="*/ 839 h 849"/>
              <a:gd name="T84" fmla="*/ 360 w 846"/>
              <a:gd name="T85" fmla="*/ 818 h 849"/>
              <a:gd name="T86" fmla="*/ 385 w 846"/>
              <a:gd name="T87" fmla="*/ 745 h 849"/>
              <a:gd name="T88" fmla="*/ 494 w 846"/>
              <a:gd name="T89" fmla="*/ 737 h 849"/>
              <a:gd name="T90" fmla="*/ 524 w 846"/>
              <a:gd name="T91" fmla="*/ 810 h 849"/>
              <a:gd name="T92" fmla="*/ 575 w 846"/>
              <a:gd name="T93" fmla="*/ 828 h 849"/>
              <a:gd name="T94" fmla="*/ 641 w 846"/>
              <a:gd name="T95" fmla="*/ 797 h 849"/>
              <a:gd name="T96" fmla="*/ 656 w 846"/>
              <a:gd name="T97" fmla="*/ 748 h 849"/>
              <a:gd name="T98" fmla="*/ 226 w 846"/>
              <a:gd name="T99" fmla="*/ 518 h 849"/>
              <a:gd name="T100" fmla="*/ 330 w 846"/>
              <a:gd name="T101" fmla="*/ 227 h 849"/>
              <a:gd name="T102" fmla="*/ 620 w 846"/>
              <a:gd name="T103" fmla="*/ 331 h 849"/>
              <a:gd name="T104" fmla="*/ 516 w 846"/>
              <a:gd name="T105" fmla="*/ 623 h 849"/>
              <a:gd name="T106" fmla="*/ 226 w 846"/>
              <a:gd name="T107" fmla="*/ 518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46" h="849">
                <a:moveTo>
                  <a:pt x="656" y="748"/>
                </a:moveTo>
                <a:cubicBezTo>
                  <a:pt x="622" y="678"/>
                  <a:pt x="622" y="678"/>
                  <a:pt x="622" y="678"/>
                </a:cubicBezTo>
                <a:cubicBezTo>
                  <a:pt x="648" y="654"/>
                  <a:pt x="674" y="629"/>
                  <a:pt x="695" y="597"/>
                </a:cubicBezTo>
                <a:cubicBezTo>
                  <a:pt x="768" y="621"/>
                  <a:pt x="768" y="621"/>
                  <a:pt x="768" y="621"/>
                </a:cubicBezTo>
                <a:cubicBezTo>
                  <a:pt x="786" y="631"/>
                  <a:pt x="807" y="621"/>
                  <a:pt x="813" y="600"/>
                </a:cubicBezTo>
                <a:cubicBezTo>
                  <a:pt x="836" y="533"/>
                  <a:pt x="836" y="533"/>
                  <a:pt x="836" y="533"/>
                </a:cubicBezTo>
                <a:cubicBezTo>
                  <a:pt x="846" y="515"/>
                  <a:pt x="836" y="496"/>
                  <a:pt x="815" y="487"/>
                </a:cubicBezTo>
                <a:cubicBezTo>
                  <a:pt x="739" y="460"/>
                  <a:pt x="739" y="460"/>
                  <a:pt x="739" y="460"/>
                </a:cubicBezTo>
                <a:cubicBezTo>
                  <a:pt x="745" y="429"/>
                  <a:pt x="744" y="390"/>
                  <a:pt x="734" y="354"/>
                </a:cubicBezTo>
                <a:cubicBezTo>
                  <a:pt x="807" y="318"/>
                  <a:pt x="807" y="318"/>
                  <a:pt x="807" y="318"/>
                </a:cubicBezTo>
                <a:cubicBezTo>
                  <a:pt x="823" y="310"/>
                  <a:pt x="831" y="289"/>
                  <a:pt x="823" y="272"/>
                </a:cubicBezTo>
                <a:cubicBezTo>
                  <a:pt x="792" y="206"/>
                  <a:pt x="792" y="206"/>
                  <a:pt x="792" y="206"/>
                </a:cubicBezTo>
                <a:cubicBezTo>
                  <a:pt x="786" y="189"/>
                  <a:pt x="765" y="183"/>
                  <a:pt x="744" y="192"/>
                </a:cubicBezTo>
                <a:cubicBezTo>
                  <a:pt x="675" y="225"/>
                  <a:pt x="675" y="225"/>
                  <a:pt x="675" y="225"/>
                </a:cubicBezTo>
                <a:cubicBezTo>
                  <a:pt x="654" y="196"/>
                  <a:pt x="625" y="173"/>
                  <a:pt x="594" y="152"/>
                </a:cubicBezTo>
                <a:cubicBezTo>
                  <a:pt x="622" y="77"/>
                  <a:pt x="622" y="77"/>
                  <a:pt x="622" y="77"/>
                </a:cubicBezTo>
                <a:cubicBezTo>
                  <a:pt x="625" y="57"/>
                  <a:pt x="619" y="41"/>
                  <a:pt x="601" y="31"/>
                </a:cubicBezTo>
                <a:cubicBezTo>
                  <a:pt x="534" y="7"/>
                  <a:pt x="534" y="7"/>
                  <a:pt x="534" y="7"/>
                </a:cubicBezTo>
                <a:cubicBezTo>
                  <a:pt x="513" y="0"/>
                  <a:pt x="492" y="10"/>
                  <a:pt x="485" y="31"/>
                </a:cubicBezTo>
                <a:cubicBezTo>
                  <a:pt x="461" y="104"/>
                  <a:pt x="461" y="104"/>
                  <a:pt x="461" y="104"/>
                </a:cubicBezTo>
                <a:cubicBezTo>
                  <a:pt x="424" y="98"/>
                  <a:pt x="388" y="103"/>
                  <a:pt x="352" y="113"/>
                </a:cubicBezTo>
                <a:cubicBezTo>
                  <a:pt x="318" y="36"/>
                  <a:pt x="318" y="36"/>
                  <a:pt x="318" y="36"/>
                </a:cubicBezTo>
                <a:cubicBezTo>
                  <a:pt x="309" y="21"/>
                  <a:pt x="291" y="13"/>
                  <a:pt x="270" y="23"/>
                </a:cubicBezTo>
                <a:cubicBezTo>
                  <a:pt x="208" y="51"/>
                  <a:pt x="208" y="51"/>
                  <a:pt x="208" y="51"/>
                </a:cubicBezTo>
                <a:cubicBezTo>
                  <a:pt x="188" y="60"/>
                  <a:pt x="180" y="82"/>
                  <a:pt x="188" y="98"/>
                </a:cubicBezTo>
                <a:cubicBezTo>
                  <a:pt x="224" y="171"/>
                  <a:pt x="224" y="171"/>
                  <a:pt x="224" y="171"/>
                </a:cubicBezTo>
                <a:cubicBezTo>
                  <a:pt x="195" y="192"/>
                  <a:pt x="172" y="220"/>
                  <a:pt x="151" y="253"/>
                </a:cubicBezTo>
                <a:cubicBezTo>
                  <a:pt x="75" y="225"/>
                  <a:pt x="75" y="225"/>
                  <a:pt x="75" y="225"/>
                </a:cubicBezTo>
                <a:cubicBezTo>
                  <a:pt x="60" y="219"/>
                  <a:pt x="39" y="228"/>
                  <a:pt x="31" y="246"/>
                </a:cubicBezTo>
                <a:cubicBezTo>
                  <a:pt x="7" y="313"/>
                  <a:pt x="7" y="313"/>
                  <a:pt x="7" y="313"/>
                </a:cubicBezTo>
                <a:cubicBezTo>
                  <a:pt x="0" y="334"/>
                  <a:pt x="10" y="355"/>
                  <a:pt x="29" y="359"/>
                </a:cubicBezTo>
                <a:cubicBezTo>
                  <a:pt x="104" y="386"/>
                  <a:pt x="104" y="386"/>
                  <a:pt x="104" y="386"/>
                </a:cubicBezTo>
                <a:cubicBezTo>
                  <a:pt x="101" y="421"/>
                  <a:pt x="102" y="460"/>
                  <a:pt x="109" y="492"/>
                </a:cubicBezTo>
                <a:cubicBezTo>
                  <a:pt x="36" y="528"/>
                  <a:pt x="36" y="528"/>
                  <a:pt x="36" y="528"/>
                </a:cubicBezTo>
                <a:cubicBezTo>
                  <a:pt x="20" y="536"/>
                  <a:pt x="13" y="558"/>
                  <a:pt x="23" y="577"/>
                </a:cubicBezTo>
                <a:cubicBezTo>
                  <a:pt x="50" y="641"/>
                  <a:pt x="50" y="641"/>
                  <a:pt x="50" y="641"/>
                </a:cubicBezTo>
                <a:cubicBezTo>
                  <a:pt x="60" y="660"/>
                  <a:pt x="81" y="667"/>
                  <a:pt x="102" y="659"/>
                </a:cubicBezTo>
                <a:cubicBezTo>
                  <a:pt x="171" y="624"/>
                  <a:pt x="171" y="624"/>
                  <a:pt x="171" y="624"/>
                </a:cubicBezTo>
                <a:cubicBezTo>
                  <a:pt x="192" y="654"/>
                  <a:pt x="219" y="676"/>
                  <a:pt x="248" y="694"/>
                </a:cubicBezTo>
                <a:cubicBezTo>
                  <a:pt x="227" y="771"/>
                  <a:pt x="227" y="771"/>
                  <a:pt x="227" y="771"/>
                </a:cubicBezTo>
                <a:cubicBezTo>
                  <a:pt x="218" y="789"/>
                  <a:pt x="227" y="810"/>
                  <a:pt x="245" y="818"/>
                </a:cubicBezTo>
                <a:cubicBezTo>
                  <a:pt x="315" y="839"/>
                  <a:pt x="315" y="839"/>
                  <a:pt x="315" y="839"/>
                </a:cubicBezTo>
                <a:cubicBezTo>
                  <a:pt x="333" y="849"/>
                  <a:pt x="351" y="836"/>
                  <a:pt x="360" y="818"/>
                </a:cubicBezTo>
                <a:cubicBezTo>
                  <a:pt x="385" y="745"/>
                  <a:pt x="385" y="745"/>
                  <a:pt x="385" y="745"/>
                </a:cubicBezTo>
                <a:cubicBezTo>
                  <a:pt x="419" y="748"/>
                  <a:pt x="458" y="748"/>
                  <a:pt x="494" y="737"/>
                </a:cubicBezTo>
                <a:cubicBezTo>
                  <a:pt x="524" y="810"/>
                  <a:pt x="524" y="810"/>
                  <a:pt x="524" y="810"/>
                </a:cubicBezTo>
                <a:cubicBezTo>
                  <a:pt x="537" y="828"/>
                  <a:pt x="555" y="836"/>
                  <a:pt x="575" y="828"/>
                </a:cubicBezTo>
                <a:cubicBezTo>
                  <a:pt x="641" y="797"/>
                  <a:pt x="641" y="797"/>
                  <a:pt x="641" y="797"/>
                </a:cubicBezTo>
                <a:cubicBezTo>
                  <a:pt x="656" y="786"/>
                  <a:pt x="664" y="768"/>
                  <a:pt x="656" y="748"/>
                </a:cubicBezTo>
                <a:moveTo>
                  <a:pt x="226" y="518"/>
                </a:moveTo>
                <a:cubicBezTo>
                  <a:pt x="174" y="408"/>
                  <a:pt x="219" y="280"/>
                  <a:pt x="330" y="227"/>
                </a:cubicBezTo>
                <a:cubicBezTo>
                  <a:pt x="438" y="171"/>
                  <a:pt x="567" y="220"/>
                  <a:pt x="620" y="331"/>
                </a:cubicBezTo>
                <a:cubicBezTo>
                  <a:pt x="669" y="439"/>
                  <a:pt x="627" y="571"/>
                  <a:pt x="516" y="623"/>
                </a:cubicBezTo>
                <a:cubicBezTo>
                  <a:pt x="409" y="673"/>
                  <a:pt x="279" y="629"/>
                  <a:pt x="226" y="51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282828"/>
              </a:solidFill>
            </a:endParaRPr>
          </a:p>
        </p:txBody>
      </p:sp>
      <p:sp>
        <p:nvSpPr>
          <p:cNvPr id="96" name="Freeform 121"/>
          <p:cNvSpPr>
            <a:spLocks noEditPoints="1"/>
          </p:cNvSpPr>
          <p:nvPr/>
        </p:nvSpPr>
        <p:spPr bwMode="auto">
          <a:xfrm>
            <a:off x="5314082" y="3031802"/>
            <a:ext cx="201110" cy="192152"/>
          </a:xfrm>
          <a:custGeom>
            <a:avLst/>
            <a:gdLst>
              <a:gd name="T0" fmla="*/ 177 w 301"/>
              <a:gd name="T1" fmla="*/ 202 h 301"/>
              <a:gd name="T2" fmla="*/ 201 w 301"/>
              <a:gd name="T3" fmla="*/ 124 h 301"/>
              <a:gd name="T4" fmla="*/ 123 w 301"/>
              <a:gd name="T5" fmla="*/ 99 h 301"/>
              <a:gd name="T6" fmla="*/ 99 w 301"/>
              <a:gd name="T7" fmla="*/ 177 h 301"/>
              <a:gd name="T8" fmla="*/ 177 w 301"/>
              <a:gd name="T9" fmla="*/ 202 h 301"/>
              <a:gd name="T10" fmla="*/ 301 w 301"/>
              <a:gd name="T11" fmla="*/ 120 h 301"/>
              <a:gd name="T12" fmla="*/ 297 w 301"/>
              <a:gd name="T13" fmla="*/ 194 h 301"/>
              <a:gd name="T14" fmla="*/ 291 w 301"/>
              <a:gd name="T15" fmla="*/ 200 h 301"/>
              <a:gd name="T16" fmla="*/ 237 w 301"/>
              <a:gd name="T17" fmla="*/ 197 h 301"/>
              <a:gd name="T18" fmla="*/ 229 w 301"/>
              <a:gd name="T19" fmla="*/ 208 h 301"/>
              <a:gd name="T20" fmla="*/ 255 w 301"/>
              <a:gd name="T21" fmla="*/ 257 h 301"/>
              <a:gd name="T22" fmla="*/ 252 w 301"/>
              <a:gd name="T23" fmla="*/ 266 h 301"/>
              <a:gd name="T24" fmla="*/ 187 w 301"/>
              <a:gd name="T25" fmla="*/ 300 h 301"/>
              <a:gd name="T26" fmla="*/ 179 w 301"/>
              <a:gd name="T27" fmla="*/ 297 h 301"/>
              <a:gd name="T28" fmla="*/ 153 w 301"/>
              <a:gd name="T29" fmla="*/ 249 h 301"/>
              <a:gd name="T30" fmla="*/ 140 w 301"/>
              <a:gd name="T31" fmla="*/ 249 h 301"/>
              <a:gd name="T32" fmla="*/ 110 w 301"/>
              <a:gd name="T33" fmla="*/ 295 h 301"/>
              <a:gd name="T34" fmla="*/ 101 w 301"/>
              <a:gd name="T35" fmla="*/ 297 h 301"/>
              <a:gd name="T36" fmla="*/ 41 w 301"/>
              <a:gd name="T37" fmla="*/ 257 h 301"/>
              <a:gd name="T38" fmla="*/ 37 w 301"/>
              <a:gd name="T39" fmla="*/ 248 h 301"/>
              <a:gd name="T40" fmla="*/ 67 w 301"/>
              <a:gd name="T41" fmla="*/ 202 h 301"/>
              <a:gd name="T42" fmla="*/ 63 w 301"/>
              <a:gd name="T43" fmla="*/ 197 h 301"/>
              <a:gd name="T44" fmla="*/ 60 w 301"/>
              <a:gd name="T45" fmla="*/ 191 h 301"/>
              <a:gd name="T46" fmla="*/ 6 w 301"/>
              <a:gd name="T47" fmla="*/ 187 h 301"/>
              <a:gd name="T48" fmla="*/ 0 w 301"/>
              <a:gd name="T49" fmla="*/ 181 h 301"/>
              <a:gd name="T50" fmla="*/ 3 w 301"/>
              <a:gd name="T51" fmla="*/ 107 h 301"/>
              <a:gd name="T52" fmla="*/ 10 w 301"/>
              <a:gd name="T53" fmla="*/ 101 h 301"/>
              <a:gd name="T54" fmla="*/ 63 w 301"/>
              <a:gd name="T55" fmla="*/ 104 h 301"/>
              <a:gd name="T56" fmla="*/ 71 w 301"/>
              <a:gd name="T57" fmla="*/ 93 h 301"/>
              <a:gd name="T58" fmla="*/ 45 w 301"/>
              <a:gd name="T59" fmla="*/ 44 h 301"/>
              <a:gd name="T60" fmla="*/ 49 w 301"/>
              <a:gd name="T61" fmla="*/ 36 h 301"/>
              <a:gd name="T62" fmla="*/ 114 w 301"/>
              <a:gd name="T63" fmla="*/ 1 h 301"/>
              <a:gd name="T64" fmla="*/ 123 w 301"/>
              <a:gd name="T65" fmla="*/ 5 h 301"/>
              <a:gd name="T66" fmla="*/ 148 w 301"/>
              <a:gd name="T67" fmla="*/ 52 h 301"/>
              <a:gd name="T68" fmla="*/ 161 w 301"/>
              <a:gd name="T69" fmla="*/ 54 h 301"/>
              <a:gd name="T70" fmla="*/ 190 w 301"/>
              <a:gd name="T71" fmla="*/ 6 h 301"/>
              <a:gd name="T72" fmla="*/ 200 w 301"/>
              <a:gd name="T73" fmla="*/ 5 h 301"/>
              <a:gd name="T74" fmla="*/ 262 w 301"/>
              <a:gd name="T75" fmla="*/ 44 h 301"/>
              <a:gd name="T76" fmla="*/ 263 w 301"/>
              <a:gd name="T77" fmla="*/ 54 h 301"/>
              <a:gd name="T78" fmla="*/ 234 w 301"/>
              <a:gd name="T79" fmla="*/ 99 h 301"/>
              <a:gd name="T80" fmla="*/ 237 w 301"/>
              <a:gd name="T81" fmla="*/ 106 h 301"/>
              <a:gd name="T82" fmla="*/ 240 w 301"/>
              <a:gd name="T83" fmla="*/ 111 h 301"/>
              <a:gd name="T84" fmla="*/ 294 w 301"/>
              <a:gd name="T85" fmla="*/ 114 h 301"/>
              <a:gd name="T86" fmla="*/ 301 w 301"/>
              <a:gd name="T87" fmla="*/ 120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1" h="301">
                <a:moveTo>
                  <a:pt x="177" y="202"/>
                </a:moveTo>
                <a:cubicBezTo>
                  <a:pt x="206" y="187"/>
                  <a:pt x="216" y="153"/>
                  <a:pt x="201" y="124"/>
                </a:cubicBezTo>
                <a:cubicBezTo>
                  <a:pt x="187" y="96"/>
                  <a:pt x="151" y="84"/>
                  <a:pt x="123" y="99"/>
                </a:cubicBezTo>
                <a:cubicBezTo>
                  <a:pt x="96" y="114"/>
                  <a:pt x="84" y="150"/>
                  <a:pt x="99" y="177"/>
                </a:cubicBezTo>
                <a:cubicBezTo>
                  <a:pt x="114" y="207"/>
                  <a:pt x="149" y="217"/>
                  <a:pt x="177" y="202"/>
                </a:cubicBezTo>
                <a:moveTo>
                  <a:pt x="301" y="120"/>
                </a:moveTo>
                <a:cubicBezTo>
                  <a:pt x="297" y="194"/>
                  <a:pt x="297" y="194"/>
                  <a:pt x="297" y="194"/>
                </a:cubicBezTo>
                <a:cubicBezTo>
                  <a:pt x="297" y="197"/>
                  <a:pt x="294" y="200"/>
                  <a:pt x="291" y="200"/>
                </a:cubicBezTo>
                <a:cubicBezTo>
                  <a:pt x="237" y="197"/>
                  <a:pt x="237" y="197"/>
                  <a:pt x="237" y="197"/>
                </a:cubicBezTo>
                <a:cubicBezTo>
                  <a:pt x="234" y="202"/>
                  <a:pt x="232" y="205"/>
                  <a:pt x="229" y="208"/>
                </a:cubicBezTo>
                <a:cubicBezTo>
                  <a:pt x="255" y="257"/>
                  <a:pt x="255" y="257"/>
                  <a:pt x="255" y="257"/>
                </a:cubicBezTo>
                <a:cubicBezTo>
                  <a:pt x="257" y="261"/>
                  <a:pt x="255" y="264"/>
                  <a:pt x="252" y="266"/>
                </a:cubicBezTo>
                <a:cubicBezTo>
                  <a:pt x="187" y="300"/>
                  <a:pt x="187" y="300"/>
                  <a:pt x="187" y="300"/>
                </a:cubicBezTo>
                <a:cubicBezTo>
                  <a:pt x="184" y="301"/>
                  <a:pt x="180" y="300"/>
                  <a:pt x="179" y="297"/>
                </a:cubicBezTo>
                <a:cubicBezTo>
                  <a:pt x="153" y="249"/>
                  <a:pt x="153" y="249"/>
                  <a:pt x="153" y="249"/>
                </a:cubicBezTo>
                <a:cubicBezTo>
                  <a:pt x="140" y="249"/>
                  <a:pt x="140" y="249"/>
                  <a:pt x="140" y="249"/>
                </a:cubicBezTo>
                <a:cubicBezTo>
                  <a:pt x="110" y="295"/>
                  <a:pt x="110" y="295"/>
                  <a:pt x="110" y="295"/>
                </a:cubicBezTo>
                <a:cubicBezTo>
                  <a:pt x="109" y="298"/>
                  <a:pt x="104" y="298"/>
                  <a:pt x="101" y="297"/>
                </a:cubicBezTo>
                <a:cubicBezTo>
                  <a:pt x="41" y="257"/>
                  <a:pt x="41" y="257"/>
                  <a:pt x="41" y="257"/>
                </a:cubicBezTo>
                <a:cubicBezTo>
                  <a:pt x="37" y="256"/>
                  <a:pt x="36" y="251"/>
                  <a:pt x="37" y="248"/>
                </a:cubicBezTo>
                <a:cubicBezTo>
                  <a:pt x="67" y="202"/>
                  <a:pt x="67" y="202"/>
                  <a:pt x="67" y="202"/>
                </a:cubicBezTo>
                <a:cubicBezTo>
                  <a:pt x="65" y="200"/>
                  <a:pt x="65" y="199"/>
                  <a:pt x="63" y="197"/>
                </a:cubicBezTo>
                <a:cubicBezTo>
                  <a:pt x="62" y="194"/>
                  <a:pt x="62" y="192"/>
                  <a:pt x="60" y="191"/>
                </a:cubicBezTo>
                <a:cubicBezTo>
                  <a:pt x="6" y="187"/>
                  <a:pt x="6" y="187"/>
                  <a:pt x="6" y="187"/>
                </a:cubicBezTo>
                <a:cubicBezTo>
                  <a:pt x="3" y="187"/>
                  <a:pt x="0" y="184"/>
                  <a:pt x="0" y="181"/>
                </a:cubicBezTo>
                <a:cubicBezTo>
                  <a:pt x="3" y="107"/>
                  <a:pt x="3" y="107"/>
                  <a:pt x="3" y="107"/>
                </a:cubicBezTo>
                <a:cubicBezTo>
                  <a:pt x="3" y="104"/>
                  <a:pt x="6" y="101"/>
                  <a:pt x="10" y="101"/>
                </a:cubicBezTo>
                <a:cubicBezTo>
                  <a:pt x="63" y="104"/>
                  <a:pt x="63" y="104"/>
                  <a:pt x="63" y="104"/>
                </a:cubicBezTo>
                <a:cubicBezTo>
                  <a:pt x="67" y="99"/>
                  <a:pt x="68" y="96"/>
                  <a:pt x="71" y="93"/>
                </a:cubicBezTo>
                <a:cubicBezTo>
                  <a:pt x="45" y="44"/>
                  <a:pt x="45" y="44"/>
                  <a:pt x="45" y="44"/>
                </a:cubicBezTo>
                <a:cubicBezTo>
                  <a:pt x="44" y="40"/>
                  <a:pt x="45" y="37"/>
                  <a:pt x="49" y="36"/>
                </a:cubicBezTo>
                <a:cubicBezTo>
                  <a:pt x="114" y="1"/>
                  <a:pt x="114" y="1"/>
                  <a:pt x="114" y="1"/>
                </a:cubicBezTo>
                <a:cubicBezTo>
                  <a:pt x="117" y="0"/>
                  <a:pt x="120" y="1"/>
                  <a:pt x="123" y="5"/>
                </a:cubicBezTo>
                <a:cubicBezTo>
                  <a:pt x="148" y="52"/>
                  <a:pt x="148" y="52"/>
                  <a:pt x="148" y="52"/>
                </a:cubicBezTo>
                <a:cubicBezTo>
                  <a:pt x="153" y="52"/>
                  <a:pt x="156" y="52"/>
                  <a:pt x="161" y="54"/>
                </a:cubicBezTo>
                <a:cubicBezTo>
                  <a:pt x="190" y="6"/>
                  <a:pt x="190" y="6"/>
                  <a:pt x="190" y="6"/>
                </a:cubicBezTo>
                <a:cubicBezTo>
                  <a:pt x="192" y="5"/>
                  <a:pt x="197" y="3"/>
                  <a:pt x="200" y="5"/>
                </a:cubicBezTo>
                <a:cubicBezTo>
                  <a:pt x="262" y="44"/>
                  <a:pt x="262" y="44"/>
                  <a:pt x="262" y="44"/>
                </a:cubicBezTo>
                <a:cubicBezTo>
                  <a:pt x="263" y="45"/>
                  <a:pt x="265" y="50"/>
                  <a:pt x="263" y="54"/>
                </a:cubicBezTo>
                <a:cubicBezTo>
                  <a:pt x="234" y="99"/>
                  <a:pt x="234" y="99"/>
                  <a:pt x="234" y="99"/>
                </a:cubicBezTo>
                <a:cubicBezTo>
                  <a:pt x="236" y="101"/>
                  <a:pt x="236" y="102"/>
                  <a:pt x="237" y="106"/>
                </a:cubicBezTo>
                <a:cubicBezTo>
                  <a:pt x="239" y="107"/>
                  <a:pt x="239" y="109"/>
                  <a:pt x="240" y="111"/>
                </a:cubicBezTo>
                <a:cubicBezTo>
                  <a:pt x="294" y="114"/>
                  <a:pt x="294" y="114"/>
                  <a:pt x="294" y="114"/>
                </a:cubicBezTo>
                <a:cubicBezTo>
                  <a:pt x="297" y="114"/>
                  <a:pt x="301" y="117"/>
                  <a:pt x="301" y="12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282828"/>
              </a:solidFill>
            </a:endParaRPr>
          </a:p>
        </p:txBody>
      </p:sp>
      <p:sp>
        <p:nvSpPr>
          <p:cNvPr id="97" name="Freeform 122"/>
          <p:cNvSpPr>
            <a:spLocks noEditPoints="1"/>
          </p:cNvSpPr>
          <p:nvPr/>
        </p:nvSpPr>
        <p:spPr bwMode="auto">
          <a:xfrm>
            <a:off x="4763874" y="3270902"/>
            <a:ext cx="243802" cy="226593"/>
          </a:xfrm>
          <a:custGeom>
            <a:avLst/>
            <a:gdLst>
              <a:gd name="T0" fmla="*/ 192 w 337"/>
              <a:gd name="T1" fmla="*/ 228 h 338"/>
              <a:gd name="T2" fmla="*/ 228 w 337"/>
              <a:gd name="T3" fmla="*/ 146 h 338"/>
              <a:gd name="T4" fmla="*/ 146 w 337"/>
              <a:gd name="T5" fmla="*/ 109 h 338"/>
              <a:gd name="T6" fmla="*/ 110 w 337"/>
              <a:gd name="T7" fmla="*/ 191 h 338"/>
              <a:gd name="T8" fmla="*/ 192 w 337"/>
              <a:gd name="T9" fmla="*/ 228 h 338"/>
              <a:gd name="T10" fmla="*/ 337 w 337"/>
              <a:gd name="T11" fmla="*/ 153 h 338"/>
              <a:gd name="T12" fmla="*/ 325 w 337"/>
              <a:gd name="T13" fmla="*/ 232 h 338"/>
              <a:gd name="T14" fmla="*/ 317 w 337"/>
              <a:gd name="T15" fmla="*/ 238 h 338"/>
              <a:gd name="T16" fmla="*/ 258 w 337"/>
              <a:gd name="T17" fmla="*/ 230 h 338"/>
              <a:gd name="T18" fmla="*/ 248 w 337"/>
              <a:gd name="T19" fmla="*/ 242 h 338"/>
              <a:gd name="T20" fmla="*/ 269 w 337"/>
              <a:gd name="T21" fmla="*/ 297 h 338"/>
              <a:gd name="T22" fmla="*/ 265 w 337"/>
              <a:gd name="T23" fmla="*/ 307 h 338"/>
              <a:gd name="T24" fmla="*/ 191 w 337"/>
              <a:gd name="T25" fmla="*/ 336 h 338"/>
              <a:gd name="T26" fmla="*/ 181 w 337"/>
              <a:gd name="T27" fmla="*/ 331 h 338"/>
              <a:gd name="T28" fmla="*/ 160 w 337"/>
              <a:gd name="T29" fmla="*/ 276 h 338"/>
              <a:gd name="T30" fmla="*/ 145 w 337"/>
              <a:gd name="T31" fmla="*/ 274 h 338"/>
              <a:gd name="T32" fmla="*/ 108 w 337"/>
              <a:gd name="T33" fmla="*/ 321 h 338"/>
              <a:gd name="T34" fmla="*/ 98 w 337"/>
              <a:gd name="T35" fmla="*/ 322 h 338"/>
              <a:gd name="T36" fmla="*/ 35 w 337"/>
              <a:gd name="T37" fmla="*/ 271 h 338"/>
              <a:gd name="T38" fmla="*/ 33 w 337"/>
              <a:gd name="T39" fmla="*/ 261 h 338"/>
              <a:gd name="T40" fmla="*/ 71 w 337"/>
              <a:gd name="T41" fmla="*/ 214 h 338"/>
              <a:gd name="T42" fmla="*/ 69 w 337"/>
              <a:gd name="T43" fmla="*/ 207 h 338"/>
              <a:gd name="T44" fmla="*/ 67 w 337"/>
              <a:gd name="T45" fmla="*/ 201 h 338"/>
              <a:gd name="T46" fmla="*/ 7 w 337"/>
              <a:gd name="T47" fmla="*/ 191 h 338"/>
              <a:gd name="T48" fmla="*/ 1 w 337"/>
              <a:gd name="T49" fmla="*/ 183 h 338"/>
              <a:gd name="T50" fmla="*/ 13 w 337"/>
              <a:gd name="T51" fmla="*/ 104 h 338"/>
              <a:gd name="T52" fmla="*/ 21 w 337"/>
              <a:gd name="T53" fmla="*/ 97 h 338"/>
              <a:gd name="T54" fmla="*/ 81 w 337"/>
              <a:gd name="T55" fmla="*/ 107 h 338"/>
              <a:gd name="T56" fmla="*/ 90 w 337"/>
              <a:gd name="T57" fmla="*/ 95 h 338"/>
              <a:gd name="T58" fmla="*/ 69 w 337"/>
              <a:gd name="T59" fmla="*/ 39 h 338"/>
              <a:gd name="T60" fmla="*/ 72 w 337"/>
              <a:gd name="T61" fmla="*/ 29 h 338"/>
              <a:gd name="T62" fmla="*/ 147 w 337"/>
              <a:gd name="T63" fmla="*/ 1 h 338"/>
              <a:gd name="T64" fmla="*/ 157 w 337"/>
              <a:gd name="T65" fmla="*/ 5 h 338"/>
              <a:gd name="T66" fmla="*/ 178 w 337"/>
              <a:gd name="T67" fmla="*/ 61 h 338"/>
              <a:gd name="T68" fmla="*/ 193 w 337"/>
              <a:gd name="T69" fmla="*/ 63 h 338"/>
              <a:gd name="T70" fmla="*/ 231 w 337"/>
              <a:gd name="T71" fmla="*/ 17 h 338"/>
              <a:gd name="T72" fmla="*/ 240 w 337"/>
              <a:gd name="T73" fmla="*/ 15 h 338"/>
              <a:gd name="T74" fmla="*/ 303 w 337"/>
              <a:gd name="T75" fmla="*/ 65 h 338"/>
              <a:gd name="T76" fmla="*/ 305 w 337"/>
              <a:gd name="T77" fmla="*/ 76 h 338"/>
              <a:gd name="T78" fmla="*/ 267 w 337"/>
              <a:gd name="T79" fmla="*/ 123 h 338"/>
              <a:gd name="T80" fmla="*/ 269 w 337"/>
              <a:gd name="T81" fmla="*/ 129 h 338"/>
              <a:gd name="T82" fmla="*/ 271 w 337"/>
              <a:gd name="T83" fmla="*/ 137 h 338"/>
              <a:gd name="T84" fmla="*/ 330 w 337"/>
              <a:gd name="T85" fmla="*/ 145 h 338"/>
              <a:gd name="T86" fmla="*/ 337 w 337"/>
              <a:gd name="T87"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37" h="338">
                <a:moveTo>
                  <a:pt x="192" y="228"/>
                </a:moveTo>
                <a:cubicBezTo>
                  <a:pt x="225" y="215"/>
                  <a:pt x="240" y="178"/>
                  <a:pt x="228" y="146"/>
                </a:cubicBezTo>
                <a:cubicBezTo>
                  <a:pt x="216" y="112"/>
                  <a:pt x="179" y="95"/>
                  <a:pt x="146" y="109"/>
                </a:cubicBezTo>
                <a:cubicBezTo>
                  <a:pt x="113" y="122"/>
                  <a:pt x="97" y="158"/>
                  <a:pt x="110" y="191"/>
                </a:cubicBezTo>
                <a:cubicBezTo>
                  <a:pt x="123" y="225"/>
                  <a:pt x="160" y="240"/>
                  <a:pt x="192" y="228"/>
                </a:cubicBezTo>
                <a:moveTo>
                  <a:pt x="337" y="153"/>
                </a:moveTo>
                <a:cubicBezTo>
                  <a:pt x="325" y="232"/>
                  <a:pt x="325" y="232"/>
                  <a:pt x="325" y="232"/>
                </a:cubicBezTo>
                <a:cubicBezTo>
                  <a:pt x="325" y="237"/>
                  <a:pt x="320" y="239"/>
                  <a:pt x="317" y="238"/>
                </a:cubicBezTo>
                <a:cubicBezTo>
                  <a:pt x="258" y="230"/>
                  <a:pt x="258" y="230"/>
                  <a:pt x="258" y="230"/>
                </a:cubicBezTo>
                <a:cubicBezTo>
                  <a:pt x="255" y="234"/>
                  <a:pt x="251" y="237"/>
                  <a:pt x="248" y="242"/>
                </a:cubicBezTo>
                <a:cubicBezTo>
                  <a:pt x="269" y="297"/>
                  <a:pt x="269" y="297"/>
                  <a:pt x="269" y="297"/>
                </a:cubicBezTo>
                <a:cubicBezTo>
                  <a:pt x="272" y="301"/>
                  <a:pt x="270" y="305"/>
                  <a:pt x="265" y="307"/>
                </a:cubicBezTo>
                <a:cubicBezTo>
                  <a:pt x="191" y="336"/>
                  <a:pt x="191" y="336"/>
                  <a:pt x="191" y="336"/>
                </a:cubicBezTo>
                <a:cubicBezTo>
                  <a:pt x="187" y="338"/>
                  <a:pt x="182" y="335"/>
                  <a:pt x="181" y="331"/>
                </a:cubicBezTo>
                <a:cubicBezTo>
                  <a:pt x="160" y="276"/>
                  <a:pt x="160" y="276"/>
                  <a:pt x="160" y="276"/>
                </a:cubicBezTo>
                <a:cubicBezTo>
                  <a:pt x="155" y="276"/>
                  <a:pt x="150" y="274"/>
                  <a:pt x="145" y="274"/>
                </a:cubicBezTo>
                <a:cubicBezTo>
                  <a:pt x="108" y="321"/>
                  <a:pt x="108" y="321"/>
                  <a:pt x="108" y="321"/>
                </a:cubicBezTo>
                <a:cubicBezTo>
                  <a:pt x="105" y="323"/>
                  <a:pt x="100" y="325"/>
                  <a:pt x="98" y="322"/>
                </a:cubicBezTo>
                <a:cubicBezTo>
                  <a:pt x="35" y="271"/>
                  <a:pt x="35" y="271"/>
                  <a:pt x="35" y="271"/>
                </a:cubicBezTo>
                <a:cubicBezTo>
                  <a:pt x="32" y="268"/>
                  <a:pt x="31" y="264"/>
                  <a:pt x="33" y="261"/>
                </a:cubicBezTo>
                <a:cubicBezTo>
                  <a:pt x="71" y="214"/>
                  <a:pt x="71" y="214"/>
                  <a:pt x="71" y="214"/>
                </a:cubicBezTo>
                <a:cubicBezTo>
                  <a:pt x="69" y="207"/>
                  <a:pt x="69" y="207"/>
                  <a:pt x="69" y="207"/>
                </a:cubicBezTo>
                <a:cubicBezTo>
                  <a:pt x="67" y="201"/>
                  <a:pt x="67" y="201"/>
                  <a:pt x="67" y="201"/>
                </a:cubicBezTo>
                <a:cubicBezTo>
                  <a:pt x="7" y="191"/>
                  <a:pt x="7" y="191"/>
                  <a:pt x="7" y="191"/>
                </a:cubicBezTo>
                <a:cubicBezTo>
                  <a:pt x="4" y="190"/>
                  <a:pt x="0" y="186"/>
                  <a:pt x="1" y="183"/>
                </a:cubicBezTo>
                <a:cubicBezTo>
                  <a:pt x="13" y="104"/>
                  <a:pt x="13" y="104"/>
                  <a:pt x="13" y="104"/>
                </a:cubicBezTo>
                <a:cubicBezTo>
                  <a:pt x="13" y="100"/>
                  <a:pt x="17" y="97"/>
                  <a:pt x="21" y="97"/>
                </a:cubicBezTo>
                <a:cubicBezTo>
                  <a:pt x="81" y="107"/>
                  <a:pt x="81" y="107"/>
                  <a:pt x="81" y="107"/>
                </a:cubicBezTo>
                <a:cubicBezTo>
                  <a:pt x="83" y="103"/>
                  <a:pt x="86" y="98"/>
                  <a:pt x="90" y="95"/>
                </a:cubicBezTo>
                <a:cubicBezTo>
                  <a:pt x="69" y="39"/>
                  <a:pt x="69" y="39"/>
                  <a:pt x="69" y="39"/>
                </a:cubicBezTo>
                <a:cubicBezTo>
                  <a:pt x="66" y="36"/>
                  <a:pt x="68" y="32"/>
                  <a:pt x="72" y="29"/>
                </a:cubicBezTo>
                <a:cubicBezTo>
                  <a:pt x="147" y="1"/>
                  <a:pt x="147" y="1"/>
                  <a:pt x="147" y="1"/>
                </a:cubicBezTo>
                <a:cubicBezTo>
                  <a:pt x="152" y="0"/>
                  <a:pt x="156" y="2"/>
                  <a:pt x="157" y="5"/>
                </a:cubicBezTo>
                <a:cubicBezTo>
                  <a:pt x="178" y="61"/>
                  <a:pt x="178" y="61"/>
                  <a:pt x="178" y="61"/>
                </a:cubicBezTo>
                <a:cubicBezTo>
                  <a:pt x="184" y="61"/>
                  <a:pt x="187" y="62"/>
                  <a:pt x="193" y="63"/>
                </a:cubicBezTo>
                <a:cubicBezTo>
                  <a:pt x="231" y="17"/>
                  <a:pt x="231" y="17"/>
                  <a:pt x="231" y="17"/>
                </a:cubicBezTo>
                <a:cubicBezTo>
                  <a:pt x="233" y="12"/>
                  <a:pt x="238" y="12"/>
                  <a:pt x="240" y="15"/>
                </a:cubicBezTo>
                <a:cubicBezTo>
                  <a:pt x="303" y="65"/>
                  <a:pt x="303" y="65"/>
                  <a:pt x="303" y="65"/>
                </a:cubicBezTo>
                <a:cubicBezTo>
                  <a:pt x="305" y="67"/>
                  <a:pt x="307" y="72"/>
                  <a:pt x="305" y="76"/>
                </a:cubicBezTo>
                <a:cubicBezTo>
                  <a:pt x="267" y="123"/>
                  <a:pt x="267" y="123"/>
                  <a:pt x="267" y="123"/>
                </a:cubicBezTo>
                <a:cubicBezTo>
                  <a:pt x="269" y="129"/>
                  <a:pt x="269" y="129"/>
                  <a:pt x="269" y="129"/>
                </a:cubicBezTo>
                <a:cubicBezTo>
                  <a:pt x="271" y="137"/>
                  <a:pt x="271" y="137"/>
                  <a:pt x="271" y="137"/>
                </a:cubicBezTo>
                <a:cubicBezTo>
                  <a:pt x="330" y="145"/>
                  <a:pt x="330" y="145"/>
                  <a:pt x="330" y="145"/>
                </a:cubicBezTo>
                <a:cubicBezTo>
                  <a:pt x="334" y="145"/>
                  <a:pt x="337" y="149"/>
                  <a:pt x="337" y="15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endParaRPr lang="en-US">
              <a:solidFill>
                <a:srgbClr val="282828"/>
              </a:solidFill>
            </a:endParaRPr>
          </a:p>
        </p:txBody>
      </p:sp>
      <p:sp>
        <p:nvSpPr>
          <p:cNvPr id="85" name="TextBox 84"/>
          <p:cNvSpPr txBox="1"/>
          <p:nvPr/>
        </p:nvSpPr>
        <p:spPr>
          <a:xfrm>
            <a:off x="1283059" y="1299198"/>
            <a:ext cx="3248054" cy="800219"/>
          </a:xfrm>
          <a:prstGeom prst="rect">
            <a:avLst/>
          </a:prstGeom>
          <a:noFill/>
        </p:spPr>
        <p:txBody>
          <a:bodyPr wrap="square" rtlCol="0">
            <a:spAutoFit/>
          </a:bodyPr>
          <a:lstStyle/>
          <a:p>
            <a:pPr defTabSz="685628"/>
            <a:r>
              <a:rPr lang="en-US" dirty="0">
                <a:solidFill>
                  <a:srgbClr val="FFFFFF"/>
                </a:solidFill>
                <a:latin typeface="CiscoSans ExtraLight" panose="020B0303020201020303" pitchFamily="34" charset="0"/>
              </a:rPr>
              <a:t>ISR Integrations</a:t>
            </a:r>
            <a:endParaRPr lang="en-US" sz="1200" dirty="0">
              <a:solidFill>
                <a:srgbClr val="FFFFFF"/>
              </a:solidFill>
              <a:latin typeface="CiscoSans ExtraLight" panose="020B0303020201020303" pitchFamily="34" charset="0"/>
            </a:endParaRPr>
          </a:p>
          <a:p>
            <a:pPr defTabSz="685628"/>
            <a:r>
              <a:rPr lang="ja-JP" altLang="en-US" sz="1400">
                <a:solidFill>
                  <a:srgbClr val="F7F7F7"/>
                </a:solidFill>
                <a:latin typeface="Source Sans Pro Light"/>
              </a:rPr>
              <a:t>ビルトインされた</a:t>
            </a:r>
            <a:r>
              <a:rPr lang="en-US" altLang="ja-JP" sz="1400" dirty="0">
                <a:solidFill>
                  <a:srgbClr val="F7F7F7"/>
                </a:solidFill>
                <a:latin typeface="Source Sans Pro Light"/>
              </a:rPr>
              <a:t>Snort</a:t>
            </a:r>
            <a:r>
              <a:rPr lang="ja-JP" altLang="en-US" sz="1400">
                <a:solidFill>
                  <a:srgbClr val="F7F7F7"/>
                </a:solidFill>
                <a:latin typeface="Source Sans Pro Light"/>
              </a:rPr>
              <a:t>の機能を使用しファイルをキャプチャして</a:t>
            </a:r>
            <a:r>
              <a:rPr lang="en-US" altLang="ja-JP" sz="1400" dirty="0">
                <a:solidFill>
                  <a:srgbClr val="F7F7F7"/>
                </a:solidFill>
                <a:latin typeface="Source Sans Pro Light"/>
              </a:rPr>
              <a:t>TG</a:t>
            </a:r>
            <a:r>
              <a:rPr lang="ja-JP" altLang="en-US" sz="1400">
                <a:solidFill>
                  <a:srgbClr val="F7F7F7"/>
                </a:solidFill>
                <a:latin typeface="Source Sans Pro Light"/>
              </a:rPr>
              <a:t>へ送信</a:t>
            </a:r>
            <a:endParaRPr lang="en-US" sz="900" dirty="0">
              <a:solidFill>
                <a:srgbClr val="FFFFFF"/>
              </a:solidFill>
              <a:latin typeface="CiscoSans ExtraLight" panose="020B0303020201020303" pitchFamily="34" charset="0"/>
            </a:endParaRPr>
          </a:p>
        </p:txBody>
      </p:sp>
      <p:sp>
        <p:nvSpPr>
          <p:cNvPr id="87" name="TextBox 86"/>
          <p:cNvSpPr txBox="1"/>
          <p:nvPr/>
        </p:nvSpPr>
        <p:spPr>
          <a:xfrm>
            <a:off x="1259754" y="2691030"/>
            <a:ext cx="3248054" cy="584775"/>
          </a:xfrm>
          <a:prstGeom prst="rect">
            <a:avLst/>
          </a:prstGeom>
          <a:noFill/>
        </p:spPr>
        <p:txBody>
          <a:bodyPr wrap="square" rtlCol="0">
            <a:spAutoFit/>
          </a:bodyPr>
          <a:lstStyle/>
          <a:p>
            <a:pPr defTabSz="685628"/>
            <a:r>
              <a:rPr lang="en-US" dirty="0">
                <a:solidFill>
                  <a:srgbClr val="FFFFFF"/>
                </a:solidFill>
                <a:latin typeface="CiscoSans ExtraLight" panose="020B0303020201020303" pitchFamily="34" charset="0"/>
              </a:rPr>
              <a:t>Umbrella Integrations</a:t>
            </a:r>
            <a:endParaRPr lang="en-US" sz="1200" dirty="0">
              <a:solidFill>
                <a:srgbClr val="FFFFFF"/>
              </a:solidFill>
              <a:latin typeface="CiscoSans ExtraLight" panose="020B0303020201020303" pitchFamily="34" charset="0"/>
            </a:endParaRPr>
          </a:p>
          <a:p>
            <a:pPr defTabSz="685628"/>
            <a:r>
              <a:rPr lang="en-US" altLang="ja-JP" sz="1400" dirty="0">
                <a:solidFill>
                  <a:srgbClr val="F7F7F7"/>
                </a:solidFill>
              </a:rPr>
              <a:t>Umbrella</a:t>
            </a:r>
            <a:r>
              <a:rPr lang="ja-JP" altLang="en-US" sz="1400">
                <a:solidFill>
                  <a:srgbClr val="F7F7F7"/>
                </a:solidFill>
              </a:rPr>
              <a:t>からのサンプル送信</a:t>
            </a:r>
            <a:endParaRPr lang="en-US" sz="900" dirty="0">
              <a:solidFill>
                <a:srgbClr val="FFFFFF"/>
              </a:solidFill>
              <a:latin typeface="CiscoSans ExtraLight" panose="020B0303020201020303" pitchFamily="34" charset="0"/>
            </a:endParaRPr>
          </a:p>
        </p:txBody>
      </p:sp>
      <p:sp>
        <p:nvSpPr>
          <p:cNvPr id="88" name="TextBox 87"/>
          <p:cNvSpPr txBox="1"/>
          <p:nvPr/>
        </p:nvSpPr>
        <p:spPr>
          <a:xfrm>
            <a:off x="5759323" y="1299198"/>
            <a:ext cx="3310284" cy="584775"/>
          </a:xfrm>
          <a:prstGeom prst="rect">
            <a:avLst/>
          </a:prstGeom>
          <a:noFill/>
        </p:spPr>
        <p:txBody>
          <a:bodyPr wrap="square" rtlCol="0">
            <a:spAutoFit/>
          </a:bodyPr>
          <a:lstStyle/>
          <a:p>
            <a:pPr defTabSz="685628"/>
            <a:r>
              <a:rPr lang="en-US" dirty="0">
                <a:solidFill>
                  <a:srgbClr val="FFFFFF"/>
                </a:solidFill>
                <a:latin typeface="CiscoSans ExtraLight" panose="020B0303020201020303" pitchFamily="34" charset="0"/>
              </a:rPr>
              <a:t>MSSP GTM Offers</a:t>
            </a:r>
            <a:endParaRPr lang="en-US" sz="1200" dirty="0">
              <a:solidFill>
                <a:srgbClr val="FFFFFF"/>
              </a:solidFill>
              <a:latin typeface="CiscoSans ExtraLight" panose="020B0303020201020303" pitchFamily="34" charset="0"/>
            </a:endParaRPr>
          </a:p>
          <a:p>
            <a:pPr defTabSz="685628"/>
            <a:r>
              <a:rPr lang="en-US" altLang="ja-JP" sz="1400" dirty="0">
                <a:solidFill>
                  <a:srgbClr val="F7F7F7"/>
                </a:solidFill>
                <a:latin typeface="Source Sans Pro Light"/>
              </a:rPr>
              <a:t>MSSP</a:t>
            </a:r>
            <a:r>
              <a:rPr lang="ja-JP" altLang="en-US" sz="1400">
                <a:solidFill>
                  <a:srgbClr val="F7F7F7"/>
                </a:solidFill>
                <a:latin typeface="Source Sans Pro Light"/>
              </a:rPr>
              <a:t>用のプライス</a:t>
            </a:r>
            <a:endParaRPr lang="en-US" sz="900" dirty="0">
              <a:solidFill>
                <a:srgbClr val="FFFFFF"/>
              </a:solidFill>
              <a:latin typeface="CiscoSans ExtraLight" panose="020B0303020201020303" pitchFamily="34" charset="0"/>
            </a:endParaRPr>
          </a:p>
        </p:txBody>
      </p:sp>
      <p:sp>
        <p:nvSpPr>
          <p:cNvPr id="89" name="TextBox 88"/>
          <p:cNvSpPr txBox="1"/>
          <p:nvPr/>
        </p:nvSpPr>
        <p:spPr>
          <a:xfrm>
            <a:off x="5736018" y="2650961"/>
            <a:ext cx="3407981" cy="1015663"/>
          </a:xfrm>
          <a:prstGeom prst="rect">
            <a:avLst/>
          </a:prstGeom>
          <a:noFill/>
        </p:spPr>
        <p:txBody>
          <a:bodyPr wrap="square" rtlCol="0">
            <a:spAutoFit/>
          </a:bodyPr>
          <a:lstStyle/>
          <a:p>
            <a:pPr defTabSz="685628"/>
            <a:r>
              <a:rPr lang="en-US" dirty="0">
                <a:solidFill>
                  <a:srgbClr val="FFFFFF"/>
                </a:solidFill>
                <a:latin typeface="CiscoSans ExtraLight" panose="020B0303020201020303" pitchFamily="34" charset="0"/>
              </a:rPr>
              <a:t>Revised Sample Policy</a:t>
            </a:r>
            <a:endParaRPr lang="en-US" sz="1200" dirty="0">
              <a:solidFill>
                <a:srgbClr val="FFFFFF"/>
              </a:solidFill>
              <a:latin typeface="CiscoSans ExtraLight" panose="020B0303020201020303" pitchFamily="34" charset="0"/>
            </a:endParaRPr>
          </a:p>
          <a:p>
            <a:pPr defTabSz="685628"/>
            <a:r>
              <a:rPr lang="en-GB" sz="1400" dirty="0" err="1">
                <a:solidFill>
                  <a:srgbClr val="F7F7F7"/>
                </a:solidFill>
                <a:latin typeface="Source Sans Pro Light"/>
              </a:rPr>
              <a:t>VirusTotal</a:t>
            </a:r>
            <a:r>
              <a:rPr lang="ja-JP" altLang="en-US" sz="1400">
                <a:solidFill>
                  <a:srgbClr val="F7F7F7"/>
                </a:solidFill>
                <a:latin typeface="Source Sans Pro Light"/>
              </a:rPr>
              <a:t>に既に載っているサンプルに関して設定された</a:t>
            </a:r>
            <a:r>
              <a:rPr lang="en-US" altLang="ja-JP" sz="1400" dirty="0">
                <a:solidFill>
                  <a:srgbClr val="F7F7F7"/>
                </a:solidFill>
                <a:latin typeface="Source Sans Pro Light"/>
              </a:rPr>
              <a:t>Privacy</a:t>
            </a:r>
            <a:r>
              <a:rPr lang="ja-JP" altLang="en-US" sz="1400">
                <a:solidFill>
                  <a:srgbClr val="F7F7F7"/>
                </a:solidFill>
                <a:latin typeface="Source Sans Pro Light"/>
              </a:rPr>
              <a:t>タグは自動的に</a:t>
            </a:r>
            <a:r>
              <a:rPr lang="en-US" altLang="ja-JP" sz="1400" dirty="0">
                <a:solidFill>
                  <a:srgbClr val="F7F7F7"/>
                </a:solidFill>
                <a:latin typeface="Source Sans Pro Light"/>
              </a:rPr>
              <a:t>Public</a:t>
            </a:r>
            <a:r>
              <a:rPr lang="ja-JP" altLang="en-US" sz="1400">
                <a:solidFill>
                  <a:srgbClr val="F7F7F7"/>
                </a:solidFill>
                <a:latin typeface="Source Sans Pro Light"/>
              </a:rPr>
              <a:t>に変更される</a:t>
            </a:r>
            <a:endParaRPr lang="en-GB" sz="1400" dirty="0">
              <a:solidFill>
                <a:srgbClr val="F7F7F7"/>
              </a:solidFill>
              <a:latin typeface="Source Sans Pro Light"/>
            </a:endParaRPr>
          </a:p>
        </p:txBody>
      </p:sp>
      <p:sp>
        <p:nvSpPr>
          <p:cNvPr id="90" name="Rectangle 89"/>
          <p:cNvSpPr/>
          <p:nvPr/>
        </p:nvSpPr>
        <p:spPr>
          <a:xfrm rot="5400000">
            <a:off x="300556" y="2821418"/>
            <a:ext cx="766472" cy="805073"/>
          </a:xfrm>
          <a:prstGeom prst="rect">
            <a:avLst/>
          </a:prstGeom>
          <a:solidFill>
            <a:srgbClr val="0498D1"/>
          </a:solidFill>
          <a:ln w="25400" cap="flat" cmpd="sng" algn="ctr">
            <a:noFill/>
            <a:prstDash val="solid"/>
          </a:ln>
          <a:effectLst/>
        </p:spPr>
        <p:txBody>
          <a:bodyPr vert="vert270" lIns="91406" tIns="45703" rIns="91406" bIns="45703"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171">
              <a:defRPr/>
            </a:pPr>
            <a:endParaRPr lang="en-IN" sz="900" dirty="0">
              <a:solidFill>
                <a:srgbClr val="FFFFFF"/>
              </a:solidFill>
              <a:latin typeface="CiscoSans ExtraLight" panose="020B0303020201020303" pitchFamily="34" charset="0"/>
            </a:endParaRPr>
          </a:p>
        </p:txBody>
      </p:sp>
      <p:sp>
        <p:nvSpPr>
          <p:cNvPr id="228" name="Freeform 22"/>
          <p:cNvSpPr>
            <a:spLocks noEditPoints="1"/>
          </p:cNvSpPr>
          <p:nvPr/>
        </p:nvSpPr>
        <p:spPr bwMode="auto">
          <a:xfrm>
            <a:off x="378326" y="2995761"/>
            <a:ext cx="529711" cy="519499"/>
          </a:xfrm>
          <a:custGeom>
            <a:avLst/>
            <a:gdLst>
              <a:gd name="T0" fmla="*/ 28 w 399"/>
              <a:gd name="T1" fmla="*/ 1 h 362"/>
              <a:gd name="T2" fmla="*/ 33 w 399"/>
              <a:gd name="T3" fmla="*/ 69 h 362"/>
              <a:gd name="T4" fmla="*/ 21 w 399"/>
              <a:gd name="T5" fmla="*/ 15 h 362"/>
              <a:gd name="T6" fmla="*/ 6 w 399"/>
              <a:gd name="T7" fmla="*/ 13 h 362"/>
              <a:gd name="T8" fmla="*/ 83 w 399"/>
              <a:gd name="T9" fmla="*/ 70 h 362"/>
              <a:gd name="T10" fmla="*/ 93 w 399"/>
              <a:gd name="T11" fmla="*/ 35 h 362"/>
              <a:gd name="T12" fmla="*/ 128 w 399"/>
              <a:gd name="T13" fmla="*/ 20 h 362"/>
              <a:gd name="T14" fmla="*/ 137 w 399"/>
              <a:gd name="T15" fmla="*/ 55 h 362"/>
              <a:gd name="T16" fmla="*/ 144 w 399"/>
              <a:gd name="T17" fmla="*/ 1 h 362"/>
              <a:gd name="T18" fmla="*/ 123 w 399"/>
              <a:gd name="T19" fmla="*/ 18 h 362"/>
              <a:gd name="T20" fmla="*/ 195 w 399"/>
              <a:gd name="T21" fmla="*/ 15 h 362"/>
              <a:gd name="T22" fmla="*/ 211 w 399"/>
              <a:gd name="T23" fmla="*/ 5 h 362"/>
              <a:gd name="T24" fmla="*/ 183 w 399"/>
              <a:gd name="T25" fmla="*/ 8 h 362"/>
              <a:gd name="T26" fmla="*/ 267 w 399"/>
              <a:gd name="T27" fmla="*/ 25 h 362"/>
              <a:gd name="T28" fmla="*/ 249 w 399"/>
              <a:gd name="T29" fmla="*/ 21 h 362"/>
              <a:gd name="T30" fmla="*/ 399 w 399"/>
              <a:gd name="T31" fmla="*/ 35 h 362"/>
              <a:gd name="T32" fmla="*/ 374 w 399"/>
              <a:gd name="T33" fmla="*/ 58 h 362"/>
              <a:gd name="T34" fmla="*/ 7 w 399"/>
              <a:gd name="T35" fmla="*/ 143 h 362"/>
              <a:gd name="T36" fmla="*/ 21 w 399"/>
              <a:gd name="T37" fmla="*/ 145 h 362"/>
              <a:gd name="T38" fmla="*/ 37 w 399"/>
              <a:gd name="T39" fmla="*/ 191 h 362"/>
              <a:gd name="T40" fmla="*/ 20 w 399"/>
              <a:gd name="T41" fmla="*/ 128 h 362"/>
              <a:gd name="T42" fmla="*/ 83 w 399"/>
              <a:gd name="T43" fmla="*/ 196 h 362"/>
              <a:gd name="T44" fmla="*/ 74 w 399"/>
              <a:gd name="T45" fmla="*/ 161 h 362"/>
              <a:gd name="T46" fmla="*/ 94 w 399"/>
              <a:gd name="T47" fmla="*/ 128 h 362"/>
              <a:gd name="T48" fmla="*/ 165 w 399"/>
              <a:gd name="T49" fmla="*/ 178 h 362"/>
              <a:gd name="T50" fmla="*/ 207 w 399"/>
              <a:gd name="T51" fmla="*/ 127 h 362"/>
              <a:gd name="T52" fmla="*/ 180 w 399"/>
              <a:gd name="T53" fmla="*/ 139 h 362"/>
              <a:gd name="T54" fmla="*/ 195 w 399"/>
              <a:gd name="T55" fmla="*/ 141 h 362"/>
              <a:gd name="T56" fmla="*/ 207 w 399"/>
              <a:gd name="T57" fmla="*/ 195 h 362"/>
              <a:gd name="T58" fmla="*/ 283 w 399"/>
              <a:gd name="T59" fmla="*/ 160 h 362"/>
              <a:gd name="T60" fmla="*/ 283 w 399"/>
              <a:gd name="T61" fmla="*/ 160 h 362"/>
              <a:gd name="T62" fmla="*/ 258 w 399"/>
              <a:gd name="T63" fmla="*/ 184 h 362"/>
              <a:gd name="T64" fmla="*/ 366 w 399"/>
              <a:gd name="T65" fmla="*/ 144 h 362"/>
              <a:gd name="T66" fmla="*/ 366 w 399"/>
              <a:gd name="T67" fmla="*/ 176 h 362"/>
              <a:gd name="T68" fmla="*/ 374 w 399"/>
              <a:gd name="T69" fmla="*/ 125 h 362"/>
              <a:gd name="T70" fmla="*/ 26 w 399"/>
              <a:gd name="T71" fmla="*/ 251 h 362"/>
              <a:gd name="T72" fmla="*/ 16 w 399"/>
              <a:gd name="T73" fmla="*/ 286 h 362"/>
              <a:gd name="T74" fmla="*/ 141 w 399"/>
              <a:gd name="T75" fmla="*/ 320 h 362"/>
              <a:gd name="T76" fmla="*/ 137 w 399"/>
              <a:gd name="T77" fmla="*/ 311 h 362"/>
              <a:gd name="T78" fmla="*/ 174 w 399"/>
              <a:gd name="T79" fmla="*/ 285 h 362"/>
              <a:gd name="T80" fmla="*/ 209 w 399"/>
              <a:gd name="T81" fmla="*/ 295 h 362"/>
              <a:gd name="T82" fmla="*/ 265 w 399"/>
              <a:gd name="T83" fmla="*/ 320 h 362"/>
              <a:gd name="T84" fmla="*/ 253 w 399"/>
              <a:gd name="T85" fmla="*/ 316 h 362"/>
              <a:gd name="T86" fmla="*/ 311 w 399"/>
              <a:gd name="T87" fmla="*/ 316 h 362"/>
              <a:gd name="T88" fmla="*/ 327 w 399"/>
              <a:gd name="T89" fmla="*/ 256 h 362"/>
              <a:gd name="T90" fmla="*/ 373 w 399"/>
              <a:gd name="T91" fmla="*/ 321 h 362"/>
              <a:gd name="T92" fmla="*/ 383 w 399"/>
              <a:gd name="T93" fmla="*/ 286 h 362"/>
              <a:gd name="T94" fmla="*/ 383 w 399"/>
              <a:gd name="T95" fmla="*/ 286 h 362"/>
              <a:gd name="T96" fmla="*/ 71 w 399"/>
              <a:gd name="T97" fmla="*/ 354 h 362"/>
              <a:gd name="T98" fmla="*/ 125 w 399"/>
              <a:gd name="T99" fmla="*/ 223 h 362"/>
              <a:gd name="T100" fmla="*/ 315 w 399"/>
              <a:gd name="T101" fmla="*/ 245 h 362"/>
              <a:gd name="T102" fmla="*/ 170 w 399"/>
              <a:gd name="T103" fmla="*/ 100 h 362"/>
              <a:gd name="T104" fmla="*/ 312 w 399"/>
              <a:gd name="T105" fmla="*/ 158 h 362"/>
              <a:gd name="T106" fmla="*/ 311 w 399"/>
              <a:gd name="T107" fmla="*/ 15 h 362"/>
              <a:gd name="T108" fmla="*/ 327 w 399"/>
              <a:gd name="T109" fmla="*/ 61 h 362"/>
              <a:gd name="T110" fmla="*/ 310 w 399"/>
              <a:gd name="T111" fmla="*/ 3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99" h="362">
                <a:moveTo>
                  <a:pt x="6" y="13"/>
                </a:moveTo>
                <a:cubicBezTo>
                  <a:pt x="6" y="11"/>
                  <a:pt x="7" y="9"/>
                  <a:pt x="9" y="8"/>
                </a:cubicBezTo>
                <a:cubicBezTo>
                  <a:pt x="20" y="3"/>
                  <a:pt x="20" y="3"/>
                  <a:pt x="20" y="3"/>
                </a:cubicBezTo>
                <a:cubicBezTo>
                  <a:pt x="22" y="2"/>
                  <a:pt x="25" y="1"/>
                  <a:pt x="28" y="1"/>
                </a:cubicBezTo>
                <a:cubicBezTo>
                  <a:pt x="33" y="1"/>
                  <a:pt x="33" y="1"/>
                  <a:pt x="33" y="1"/>
                </a:cubicBezTo>
                <a:cubicBezTo>
                  <a:pt x="35" y="1"/>
                  <a:pt x="37" y="3"/>
                  <a:pt x="37" y="5"/>
                </a:cubicBezTo>
                <a:cubicBezTo>
                  <a:pt x="37" y="65"/>
                  <a:pt x="37" y="65"/>
                  <a:pt x="37" y="65"/>
                </a:cubicBezTo>
                <a:cubicBezTo>
                  <a:pt x="37" y="67"/>
                  <a:pt x="35" y="69"/>
                  <a:pt x="33" y="69"/>
                </a:cubicBezTo>
                <a:cubicBezTo>
                  <a:pt x="25" y="69"/>
                  <a:pt x="25" y="69"/>
                  <a:pt x="25" y="69"/>
                </a:cubicBezTo>
                <a:cubicBezTo>
                  <a:pt x="23" y="69"/>
                  <a:pt x="21" y="67"/>
                  <a:pt x="21" y="65"/>
                </a:cubicBezTo>
                <a:cubicBezTo>
                  <a:pt x="21" y="19"/>
                  <a:pt x="21" y="19"/>
                  <a:pt x="21" y="19"/>
                </a:cubicBezTo>
                <a:cubicBezTo>
                  <a:pt x="21" y="17"/>
                  <a:pt x="21" y="15"/>
                  <a:pt x="21" y="15"/>
                </a:cubicBezTo>
                <a:cubicBezTo>
                  <a:pt x="21" y="15"/>
                  <a:pt x="19" y="16"/>
                  <a:pt x="18" y="17"/>
                </a:cubicBezTo>
                <a:cubicBezTo>
                  <a:pt x="12" y="20"/>
                  <a:pt x="12" y="20"/>
                  <a:pt x="12" y="20"/>
                </a:cubicBezTo>
                <a:cubicBezTo>
                  <a:pt x="10" y="21"/>
                  <a:pt x="8" y="20"/>
                  <a:pt x="7" y="18"/>
                </a:cubicBezTo>
                <a:lnTo>
                  <a:pt x="6" y="13"/>
                </a:lnTo>
                <a:close/>
                <a:moveTo>
                  <a:pt x="58" y="35"/>
                </a:moveTo>
                <a:cubicBezTo>
                  <a:pt x="58" y="16"/>
                  <a:pt x="66" y="0"/>
                  <a:pt x="84" y="0"/>
                </a:cubicBezTo>
                <a:cubicBezTo>
                  <a:pt x="102" y="0"/>
                  <a:pt x="109" y="16"/>
                  <a:pt x="109" y="35"/>
                </a:cubicBezTo>
                <a:cubicBezTo>
                  <a:pt x="109" y="56"/>
                  <a:pt x="101" y="70"/>
                  <a:pt x="83" y="70"/>
                </a:cubicBezTo>
                <a:cubicBezTo>
                  <a:pt x="66" y="70"/>
                  <a:pt x="58" y="55"/>
                  <a:pt x="58" y="35"/>
                </a:cubicBezTo>
                <a:close/>
                <a:moveTo>
                  <a:pt x="74" y="35"/>
                </a:moveTo>
                <a:cubicBezTo>
                  <a:pt x="74" y="51"/>
                  <a:pt x="78" y="58"/>
                  <a:pt x="84" y="58"/>
                </a:cubicBezTo>
                <a:cubicBezTo>
                  <a:pt x="90" y="58"/>
                  <a:pt x="93" y="51"/>
                  <a:pt x="93" y="35"/>
                </a:cubicBezTo>
                <a:cubicBezTo>
                  <a:pt x="93" y="20"/>
                  <a:pt x="90" y="12"/>
                  <a:pt x="84" y="12"/>
                </a:cubicBezTo>
                <a:cubicBezTo>
                  <a:pt x="78" y="12"/>
                  <a:pt x="74" y="20"/>
                  <a:pt x="74" y="35"/>
                </a:cubicBezTo>
                <a:close/>
                <a:moveTo>
                  <a:pt x="123" y="18"/>
                </a:moveTo>
                <a:cubicBezTo>
                  <a:pt x="124" y="20"/>
                  <a:pt x="126" y="21"/>
                  <a:pt x="128" y="20"/>
                </a:cubicBezTo>
                <a:cubicBezTo>
                  <a:pt x="134" y="17"/>
                  <a:pt x="134" y="17"/>
                  <a:pt x="134" y="17"/>
                </a:cubicBezTo>
                <a:cubicBezTo>
                  <a:pt x="135" y="16"/>
                  <a:pt x="137" y="15"/>
                  <a:pt x="137" y="15"/>
                </a:cubicBezTo>
                <a:cubicBezTo>
                  <a:pt x="137" y="15"/>
                  <a:pt x="137" y="17"/>
                  <a:pt x="137" y="19"/>
                </a:cubicBezTo>
                <a:cubicBezTo>
                  <a:pt x="137" y="55"/>
                  <a:pt x="137" y="55"/>
                  <a:pt x="137" y="55"/>
                </a:cubicBezTo>
                <a:cubicBezTo>
                  <a:pt x="142" y="50"/>
                  <a:pt x="147" y="46"/>
                  <a:pt x="153" y="43"/>
                </a:cubicBezTo>
                <a:cubicBezTo>
                  <a:pt x="153" y="5"/>
                  <a:pt x="153" y="5"/>
                  <a:pt x="153" y="5"/>
                </a:cubicBezTo>
                <a:cubicBezTo>
                  <a:pt x="153" y="3"/>
                  <a:pt x="151" y="1"/>
                  <a:pt x="149" y="1"/>
                </a:cubicBezTo>
                <a:cubicBezTo>
                  <a:pt x="144" y="1"/>
                  <a:pt x="144" y="1"/>
                  <a:pt x="144" y="1"/>
                </a:cubicBezTo>
                <a:cubicBezTo>
                  <a:pt x="141" y="1"/>
                  <a:pt x="138" y="2"/>
                  <a:pt x="136" y="3"/>
                </a:cubicBezTo>
                <a:cubicBezTo>
                  <a:pt x="125" y="8"/>
                  <a:pt x="125" y="8"/>
                  <a:pt x="125" y="8"/>
                </a:cubicBezTo>
                <a:cubicBezTo>
                  <a:pt x="123" y="9"/>
                  <a:pt x="122" y="11"/>
                  <a:pt x="122" y="13"/>
                </a:cubicBezTo>
                <a:lnTo>
                  <a:pt x="123" y="18"/>
                </a:lnTo>
                <a:close/>
                <a:moveTo>
                  <a:pt x="181" y="18"/>
                </a:moveTo>
                <a:cubicBezTo>
                  <a:pt x="182" y="20"/>
                  <a:pt x="184" y="21"/>
                  <a:pt x="186" y="20"/>
                </a:cubicBezTo>
                <a:cubicBezTo>
                  <a:pt x="192" y="17"/>
                  <a:pt x="192" y="17"/>
                  <a:pt x="192" y="17"/>
                </a:cubicBezTo>
                <a:cubicBezTo>
                  <a:pt x="194" y="16"/>
                  <a:pt x="195" y="15"/>
                  <a:pt x="195" y="15"/>
                </a:cubicBezTo>
                <a:cubicBezTo>
                  <a:pt x="195" y="15"/>
                  <a:pt x="195" y="17"/>
                  <a:pt x="195" y="19"/>
                </a:cubicBezTo>
                <a:cubicBezTo>
                  <a:pt x="195" y="24"/>
                  <a:pt x="195" y="24"/>
                  <a:pt x="195" y="24"/>
                </a:cubicBezTo>
                <a:cubicBezTo>
                  <a:pt x="200" y="23"/>
                  <a:pt x="206" y="22"/>
                  <a:pt x="211" y="21"/>
                </a:cubicBezTo>
                <a:cubicBezTo>
                  <a:pt x="211" y="5"/>
                  <a:pt x="211" y="5"/>
                  <a:pt x="211" y="5"/>
                </a:cubicBezTo>
                <a:cubicBezTo>
                  <a:pt x="211" y="3"/>
                  <a:pt x="209" y="1"/>
                  <a:pt x="207" y="1"/>
                </a:cubicBezTo>
                <a:cubicBezTo>
                  <a:pt x="202" y="1"/>
                  <a:pt x="202" y="1"/>
                  <a:pt x="202" y="1"/>
                </a:cubicBezTo>
                <a:cubicBezTo>
                  <a:pt x="199" y="1"/>
                  <a:pt x="196" y="2"/>
                  <a:pt x="194" y="3"/>
                </a:cubicBezTo>
                <a:cubicBezTo>
                  <a:pt x="183" y="8"/>
                  <a:pt x="183" y="8"/>
                  <a:pt x="183" y="8"/>
                </a:cubicBezTo>
                <a:cubicBezTo>
                  <a:pt x="181" y="9"/>
                  <a:pt x="180" y="11"/>
                  <a:pt x="180" y="13"/>
                </a:cubicBezTo>
                <a:lnTo>
                  <a:pt x="181" y="18"/>
                </a:lnTo>
                <a:close/>
                <a:moveTo>
                  <a:pt x="258" y="12"/>
                </a:moveTo>
                <a:cubicBezTo>
                  <a:pt x="263" y="12"/>
                  <a:pt x="266" y="17"/>
                  <a:pt x="267" y="25"/>
                </a:cubicBezTo>
                <a:cubicBezTo>
                  <a:pt x="272" y="27"/>
                  <a:pt x="278" y="29"/>
                  <a:pt x="283" y="31"/>
                </a:cubicBezTo>
                <a:cubicBezTo>
                  <a:pt x="282" y="14"/>
                  <a:pt x="275" y="0"/>
                  <a:pt x="258" y="0"/>
                </a:cubicBezTo>
                <a:cubicBezTo>
                  <a:pt x="245" y="0"/>
                  <a:pt x="237" y="8"/>
                  <a:pt x="234" y="20"/>
                </a:cubicBezTo>
                <a:cubicBezTo>
                  <a:pt x="239" y="20"/>
                  <a:pt x="244" y="21"/>
                  <a:pt x="249" y="21"/>
                </a:cubicBezTo>
                <a:cubicBezTo>
                  <a:pt x="251" y="15"/>
                  <a:pt x="254" y="12"/>
                  <a:pt x="258" y="12"/>
                </a:cubicBezTo>
                <a:close/>
                <a:moveTo>
                  <a:pt x="348" y="35"/>
                </a:moveTo>
                <a:cubicBezTo>
                  <a:pt x="348" y="16"/>
                  <a:pt x="356" y="0"/>
                  <a:pt x="374" y="0"/>
                </a:cubicBezTo>
                <a:cubicBezTo>
                  <a:pt x="392" y="0"/>
                  <a:pt x="399" y="16"/>
                  <a:pt x="399" y="35"/>
                </a:cubicBezTo>
                <a:cubicBezTo>
                  <a:pt x="399" y="56"/>
                  <a:pt x="391" y="70"/>
                  <a:pt x="373" y="70"/>
                </a:cubicBezTo>
                <a:cubicBezTo>
                  <a:pt x="356" y="70"/>
                  <a:pt x="348" y="55"/>
                  <a:pt x="348" y="35"/>
                </a:cubicBezTo>
                <a:close/>
                <a:moveTo>
                  <a:pt x="364" y="35"/>
                </a:moveTo>
                <a:cubicBezTo>
                  <a:pt x="364" y="51"/>
                  <a:pt x="368" y="58"/>
                  <a:pt x="374" y="58"/>
                </a:cubicBezTo>
                <a:cubicBezTo>
                  <a:pt x="380" y="58"/>
                  <a:pt x="383" y="51"/>
                  <a:pt x="383" y="35"/>
                </a:cubicBezTo>
                <a:cubicBezTo>
                  <a:pt x="383" y="20"/>
                  <a:pt x="380" y="12"/>
                  <a:pt x="374" y="12"/>
                </a:cubicBezTo>
                <a:cubicBezTo>
                  <a:pt x="368" y="12"/>
                  <a:pt x="364" y="20"/>
                  <a:pt x="364" y="35"/>
                </a:cubicBezTo>
                <a:close/>
                <a:moveTo>
                  <a:pt x="7" y="143"/>
                </a:moveTo>
                <a:cubicBezTo>
                  <a:pt x="8" y="145"/>
                  <a:pt x="10" y="146"/>
                  <a:pt x="12" y="145"/>
                </a:cubicBezTo>
                <a:cubicBezTo>
                  <a:pt x="18" y="142"/>
                  <a:pt x="18" y="142"/>
                  <a:pt x="18" y="142"/>
                </a:cubicBezTo>
                <a:cubicBezTo>
                  <a:pt x="19" y="142"/>
                  <a:pt x="21" y="141"/>
                  <a:pt x="21" y="141"/>
                </a:cubicBezTo>
                <a:cubicBezTo>
                  <a:pt x="21" y="141"/>
                  <a:pt x="21" y="143"/>
                  <a:pt x="21" y="145"/>
                </a:cubicBezTo>
                <a:cubicBezTo>
                  <a:pt x="21" y="191"/>
                  <a:pt x="21" y="191"/>
                  <a:pt x="21" y="191"/>
                </a:cubicBezTo>
                <a:cubicBezTo>
                  <a:pt x="21" y="193"/>
                  <a:pt x="23" y="195"/>
                  <a:pt x="25" y="195"/>
                </a:cubicBezTo>
                <a:cubicBezTo>
                  <a:pt x="33" y="195"/>
                  <a:pt x="33" y="195"/>
                  <a:pt x="33" y="195"/>
                </a:cubicBezTo>
                <a:cubicBezTo>
                  <a:pt x="35" y="195"/>
                  <a:pt x="37" y="193"/>
                  <a:pt x="37" y="191"/>
                </a:cubicBezTo>
                <a:cubicBezTo>
                  <a:pt x="37" y="131"/>
                  <a:pt x="37" y="131"/>
                  <a:pt x="37" y="131"/>
                </a:cubicBezTo>
                <a:cubicBezTo>
                  <a:pt x="37" y="128"/>
                  <a:pt x="35" y="127"/>
                  <a:pt x="33" y="127"/>
                </a:cubicBezTo>
                <a:cubicBezTo>
                  <a:pt x="28" y="127"/>
                  <a:pt x="28" y="127"/>
                  <a:pt x="28" y="127"/>
                </a:cubicBezTo>
                <a:cubicBezTo>
                  <a:pt x="25" y="127"/>
                  <a:pt x="22" y="127"/>
                  <a:pt x="20" y="128"/>
                </a:cubicBezTo>
                <a:cubicBezTo>
                  <a:pt x="9" y="133"/>
                  <a:pt x="9" y="133"/>
                  <a:pt x="9" y="133"/>
                </a:cubicBezTo>
                <a:cubicBezTo>
                  <a:pt x="7" y="134"/>
                  <a:pt x="6" y="137"/>
                  <a:pt x="6" y="139"/>
                </a:cubicBezTo>
                <a:lnTo>
                  <a:pt x="7" y="143"/>
                </a:lnTo>
                <a:close/>
                <a:moveTo>
                  <a:pt x="83" y="196"/>
                </a:moveTo>
                <a:cubicBezTo>
                  <a:pt x="88" y="196"/>
                  <a:pt x="92" y="195"/>
                  <a:pt x="95" y="193"/>
                </a:cubicBezTo>
                <a:cubicBezTo>
                  <a:pt x="94" y="187"/>
                  <a:pt x="92" y="181"/>
                  <a:pt x="92" y="175"/>
                </a:cubicBezTo>
                <a:cubicBezTo>
                  <a:pt x="90" y="181"/>
                  <a:pt x="88" y="184"/>
                  <a:pt x="84" y="184"/>
                </a:cubicBezTo>
                <a:cubicBezTo>
                  <a:pt x="78" y="184"/>
                  <a:pt x="74" y="176"/>
                  <a:pt x="74" y="161"/>
                </a:cubicBezTo>
                <a:cubicBezTo>
                  <a:pt x="74" y="145"/>
                  <a:pt x="78" y="138"/>
                  <a:pt x="84" y="138"/>
                </a:cubicBezTo>
                <a:cubicBezTo>
                  <a:pt x="87" y="138"/>
                  <a:pt x="90" y="140"/>
                  <a:pt x="91" y="144"/>
                </a:cubicBezTo>
                <a:cubicBezTo>
                  <a:pt x="91" y="144"/>
                  <a:pt x="91" y="144"/>
                  <a:pt x="91" y="143"/>
                </a:cubicBezTo>
                <a:cubicBezTo>
                  <a:pt x="92" y="138"/>
                  <a:pt x="93" y="133"/>
                  <a:pt x="94" y="128"/>
                </a:cubicBezTo>
                <a:cubicBezTo>
                  <a:pt x="91" y="126"/>
                  <a:pt x="88" y="125"/>
                  <a:pt x="84" y="125"/>
                </a:cubicBezTo>
                <a:cubicBezTo>
                  <a:pt x="66" y="125"/>
                  <a:pt x="58" y="141"/>
                  <a:pt x="58" y="161"/>
                </a:cubicBezTo>
                <a:cubicBezTo>
                  <a:pt x="58" y="180"/>
                  <a:pt x="66" y="196"/>
                  <a:pt x="83" y="196"/>
                </a:cubicBezTo>
                <a:close/>
                <a:moveTo>
                  <a:pt x="165" y="178"/>
                </a:moveTo>
                <a:cubicBezTo>
                  <a:pt x="166" y="173"/>
                  <a:pt x="167" y="167"/>
                  <a:pt x="167" y="160"/>
                </a:cubicBezTo>
                <a:cubicBezTo>
                  <a:pt x="167" y="153"/>
                  <a:pt x="166" y="147"/>
                  <a:pt x="164" y="141"/>
                </a:cubicBezTo>
                <a:cubicBezTo>
                  <a:pt x="161" y="153"/>
                  <a:pt x="161" y="166"/>
                  <a:pt x="165" y="178"/>
                </a:cubicBezTo>
                <a:close/>
                <a:moveTo>
                  <a:pt x="207" y="127"/>
                </a:moveTo>
                <a:cubicBezTo>
                  <a:pt x="202" y="127"/>
                  <a:pt x="202" y="127"/>
                  <a:pt x="202" y="127"/>
                </a:cubicBezTo>
                <a:cubicBezTo>
                  <a:pt x="199" y="127"/>
                  <a:pt x="196" y="127"/>
                  <a:pt x="194" y="128"/>
                </a:cubicBezTo>
                <a:cubicBezTo>
                  <a:pt x="183" y="133"/>
                  <a:pt x="183" y="133"/>
                  <a:pt x="183" y="133"/>
                </a:cubicBezTo>
                <a:cubicBezTo>
                  <a:pt x="181" y="134"/>
                  <a:pt x="180" y="137"/>
                  <a:pt x="180" y="139"/>
                </a:cubicBezTo>
                <a:cubicBezTo>
                  <a:pt x="181" y="143"/>
                  <a:pt x="181" y="143"/>
                  <a:pt x="181" y="143"/>
                </a:cubicBezTo>
                <a:cubicBezTo>
                  <a:pt x="182" y="145"/>
                  <a:pt x="184" y="146"/>
                  <a:pt x="186" y="145"/>
                </a:cubicBezTo>
                <a:cubicBezTo>
                  <a:pt x="192" y="142"/>
                  <a:pt x="192" y="142"/>
                  <a:pt x="192" y="142"/>
                </a:cubicBezTo>
                <a:cubicBezTo>
                  <a:pt x="194" y="142"/>
                  <a:pt x="195" y="141"/>
                  <a:pt x="195" y="141"/>
                </a:cubicBezTo>
                <a:cubicBezTo>
                  <a:pt x="195" y="141"/>
                  <a:pt x="195" y="143"/>
                  <a:pt x="195" y="145"/>
                </a:cubicBezTo>
                <a:cubicBezTo>
                  <a:pt x="195" y="191"/>
                  <a:pt x="195" y="191"/>
                  <a:pt x="195" y="191"/>
                </a:cubicBezTo>
                <a:cubicBezTo>
                  <a:pt x="195" y="193"/>
                  <a:pt x="197" y="195"/>
                  <a:pt x="199" y="195"/>
                </a:cubicBezTo>
                <a:cubicBezTo>
                  <a:pt x="207" y="195"/>
                  <a:pt x="207" y="195"/>
                  <a:pt x="207" y="195"/>
                </a:cubicBezTo>
                <a:cubicBezTo>
                  <a:pt x="209" y="195"/>
                  <a:pt x="211" y="193"/>
                  <a:pt x="211" y="191"/>
                </a:cubicBezTo>
                <a:cubicBezTo>
                  <a:pt x="211" y="131"/>
                  <a:pt x="211" y="131"/>
                  <a:pt x="211" y="131"/>
                </a:cubicBezTo>
                <a:cubicBezTo>
                  <a:pt x="211" y="128"/>
                  <a:pt x="209" y="127"/>
                  <a:pt x="207" y="127"/>
                </a:cubicBezTo>
                <a:close/>
                <a:moveTo>
                  <a:pt x="283" y="160"/>
                </a:moveTo>
                <a:cubicBezTo>
                  <a:pt x="283" y="181"/>
                  <a:pt x="275" y="196"/>
                  <a:pt x="257" y="196"/>
                </a:cubicBezTo>
                <a:cubicBezTo>
                  <a:pt x="240" y="196"/>
                  <a:pt x="232" y="180"/>
                  <a:pt x="232" y="161"/>
                </a:cubicBezTo>
                <a:cubicBezTo>
                  <a:pt x="232" y="141"/>
                  <a:pt x="240" y="125"/>
                  <a:pt x="258" y="125"/>
                </a:cubicBezTo>
                <a:cubicBezTo>
                  <a:pt x="276" y="125"/>
                  <a:pt x="283" y="142"/>
                  <a:pt x="283" y="160"/>
                </a:cubicBezTo>
                <a:close/>
                <a:moveTo>
                  <a:pt x="267" y="160"/>
                </a:moveTo>
                <a:cubicBezTo>
                  <a:pt x="267" y="145"/>
                  <a:pt x="264" y="138"/>
                  <a:pt x="258" y="138"/>
                </a:cubicBezTo>
                <a:cubicBezTo>
                  <a:pt x="252" y="138"/>
                  <a:pt x="248" y="145"/>
                  <a:pt x="248" y="161"/>
                </a:cubicBezTo>
                <a:cubicBezTo>
                  <a:pt x="248" y="176"/>
                  <a:pt x="252" y="184"/>
                  <a:pt x="258" y="184"/>
                </a:cubicBezTo>
                <a:cubicBezTo>
                  <a:pt x="264" y="184"/>
                  <a:pt x="267" y="176"/>
                  <a:pt x="267" y="160"/>
                </a:cubicBezTo>
                <a:close/>
                <a:moveTo>
                  <a:pt x="374" y="125"/>
                </a:moveTo>
                <a:cubicBezTo>
                  <a:pt x="370" y="125"/>
                  <a:pt x="367" y="126"/>
                  <a:pt x="364" y="128"/>
                </a:cubicBezTo>
                <a:cubicBezTo>
                  <a:pt x="365" y="133"/>
                  <a:pt x="366" y="139"/>
                  <a:pt x="366" y="144"/>
                </a:cubicBezTo>
                <a:cubicBezTo>
                  <a:pt x="368" y="140"/>
                  <a:pt x="371" y="138"/>
                  <a:pt x="374" y="138"/>
                </a:cubicBezTo>
                <a:cubicBezTo>
                  <a:pt x="380" y="138"/>
                  <a:pt x="383" y="145"/>
                  <a:pt x="383" y="160"/>
                </a:cubicBezTo>
                <a:cubicBezTo>
                  <a:pt x="383" y="176"/>
                  <a:pt x="380" y="184"/>
                  <a:pt x="374" y="184"/>
                </a:cubicBezTo>
                <a:cubicBezTo>
                  <a:pt x="370" y="184"/>
                  <a:pt x="368" y="181"/>
                  <a:pt x="366" y="176"/>
                </a:cubicBezTo>
                <a:cubicBezTo>
                  <a:pt x="365" y="182"/>
                  <a:pt x="364" y="188"/>
                  <a:pt x="363" y="193"/>
                </a:cubicBezTo>
                <a:cubicBezTo>
                  <a:pt x="366" y="195"/>
                  <a:pt x="369" y="196"/>
                  <a:pt x="373" y="196"/>
                </a:cubicBezTo>
                <a:cubicBezTo>
                  <a:pt x="391" y="196"/>
                  <a:pt x="399" y="181"/>
                  <a:pt x="399" y="160"/>
                </a:cubicBezTo>
                <a:cubicBezTo>
                  <a:pt x="399" y="142"/>
                  <a:pt x="392" y="125"/>
                  <a:pt x="374" y="125"/>
                </a:cubicBezTo>
                <a:close/>
                <a:moveTo>
                  <a:pt x="35" y="286"/>
                </a:moveTo>
                <a:cubicBezTo>
                  <a:pt x="35" y="288"/>
                  <a:pt x="35" y="289"/>
                  <a:pt x="35" y="291"/>
                </a:cubicBezTo>
                <a:cubicBezTo>
                  <a:pt x="50" y="275"/>
                  <a:pt x="50" y="275"/>
                  <a:pt x="50" y="275"/>
                </a:cubicBezTo>
                <a:cubicBezTo>
                  <a:pt x="48" y="261"/>
                  <a:pt x="41" y="251"/>
                  <a:pt x="26" y="251"/>
                </a:cubicBezTo>
                <a:cubicBezTo>
                  <a:pt x="8" y="251"/>
                  <a:pt x="0" y="266"/>
                  <a:pt x="0" y="286"/>
                </a:cubicBezTo>
                <a:cubicBezTo>
                  <a:pt x="0" y="300"/>
                  <a:pt x="4" y="312"/>
                  <a:pt x="13" y="318"/>
                </a:cubicBezTo>
                <a:cubicBezTo>
                  <a:pt x="14" y="313"/>
                  <a:pt x="17" y="309"/>
                  <a:pt x="20" y="306"/>
                </a:cubicBezTo>
                <a:cubicBezTo>
                  <a:pt x="17" y="302"/>
                  <a:pt x="16" y="296"/>
                  <a:pt x="16" y="286"/>
                </a:cubicBezTo>
                <a:cubicBezTo>
                  <a:pt x="16" y="270"/>
                  <a:pt x="20" y="263"/>
                  <a:pt x="26" y="263"/>
                </a:cubicBezTo>
                <a:cubicBezTo>
                  <a:pt x="32" y="263"/>
                  <a:pt x="35" y="271"/>
                  <a:pt x="35" y="286"/>
                </a:cubicBezTo>
                <a:close/>
                <a:moveTo>
                  <a:pt x="137" y="316"/>
                </a:moveTo>
                <a:cubicBezTo>
                  <a:pt x="137" y="318"/>
                  <a:pt x="139" y="320"/>
                  <a:pt x="141" y="320"/>
                </a:cubicBezTo>
                <a:cubicBezTo>
                  <a:pt x="149" y="320"/>
                  <a:pt x="149" y="320"/>
                  <a:pt x="149" y="320"/>
                </a:cubicBezTo>
                <a:cubicBezTo>
                  <a:pt x="151" y="320"/>
                  <a:pt x="153" y="318"/>
                  <a:pt x="153" y="316"/>
                </a:cubicBezTo>
                <a:cubicBezTo>
                  <a:pt x="153" y="296"/>
                  <a:pt x="153" y="296"/>
                  <a:pt x="153" y="296"/>
                </a:cubicBezTo>
                <a:cubicBezTo>
                  <a:pt x="137" y="311"/>
                  <a:pt x="137" y="311"/>
                  <a:pt x="137" y="311"/>
                </a:cubicBezTo>
                <a:lnTo>
                  <a:pt x="137" y="316"/>
                </a:lnTo>
                <a:close/>
                <a:moveTo>
                  <a:pt x="200" y="309"/>
                </a:moveTo>
                <a:cubicBezTo>
                  <a:pt x="194" y="309"/>
                  <a:pt x="191" y="303"/>
                  <a:pt x="190" y="291"/>
                </a:cubicBezTo>
                <a:cubicBezTo>
                  <a:pt x="185" y="289"/>
                  <a:pt x="179" y="287"/>
                  <a:pt x="174" y="285"/>
                </a:cubicBezTo>
                <a:cubicBezTo>
                  <a:pt x="174" y="285"/>
                  <a:pt x="174" y="286"/>
                  <a:pt x="174" y="286"/>
                </a:cubicBezTo>
                <a:cubicBezTo>
                  <a:pt x="174" y="305"/>
                  <a:pt x="182" y="321"/>
                  <a:pt x="199" y="321"/>
                </a:cubicBezTo>
                <a:cubicBezTo>
                  <a:pt x="214" y="321"/>
                  <a:pt x="222" y="311"/>
                  <a:pt x="224" y="296"/>
                </a:cubicBezTo>
                <a:cubicBezTo>
                  <a:pt x="219" y="296"/>
                  <a:pt x="214" y="296"/>
                  <a:pt x="209" y="295"/>
                </a:cubicBezTo>
                <a:cubicBezTo>
                  <a:pt x="208" y="304"/>
                  <a:pt x="205" y="309"/>
                  <a:pt x="200" y="309"/>
                </a:cubicBezTo>
                <a:close/>
                <a:moveTo>
                  <a:pt x="253" y="316"/>
                </a:moveTo>
                <a:cubicBezTo>
                  <a:pt x="253" y="318"/>
                  <a:pt x="255" y="320"/>
                  <a:pt x="257" y="320"/>
                </a:cubicBezTo>
                <a:cubicBezTo>
                  <a:pt x="265" y="320"/>
                  <a:pt x="265" y="320"/>
                  <a:pt x="265" y="320"/>
                </a:cubicBezTo>
                <a:cubicBezTo>
                  <a:pt x="267" y="320"/>
                  <a:pt x="269" y="318"/>
                  <a:pt x="269" y="316"/>
                </a:cubicBezTo>
                <a:cubicBezTo>
                  <a:pt x="269" y="291"/>
                  <a:pt x="269" y="291"/>
                  <a:pt x="269" y="291"/>
                </a:cubicBezTo>
                <a:cubicBezTo>
                  <a:pt x="264" y="292"/>
                  <a:pt x="259" y="293"/>
                  <a:pt x="253" y="294"/>
                </a:cubicBezTo>
                <a:lnTo>
                  <a:pt x="253" y="316"/>
                </a:lnTo>
                <a:close/>
                <a:moveTo>
                  <a:pt x="327" y="256"/>
                </a:moveTo>
                <a:cubicBezTo>
                  <a:pt x="322" y="261"/>
                  <a:pt x="317" y="265"/>
                  <a:pt x="311" y="269"/>
                </a:cubicBezTo>
                <a:cubicBezTo>
                  <a:pt x="311" y="269"/>
                  <a:pt x="311" y="270"/>
                  <a:pt x="311" y="270"/>
                </a:cubicBezTo>
                <a:cubicBezTo>
                  <a:pt x="311" y="316"/>
                  <a:pt x="311" y="316"/>
                  <a:pt x="311" y="316"/>
                </a:cubicBezTo>
                <a:cubicBezTo>
                  <a:pt x="311" y="318"/>
                  <a:pt x="313" y="320"/>
                  <a:pt x="315" y="320"/>
                </a:cubicBezTo>
                <a:cubicBezTo>
                  <a:pt x="323" y="320"/>
                  <a:pt x="323" y="320"/>
                  <a:pt x="323" y="320"/>
                </a:cubicBezTo>
                <a:cubicBezTo>
                  <a:pt x="325" y="320"/>
                  <a:pt x="327" y="318"/>
                  <a:pt x="327" y="316"/>
                </a:cubicBezTo>
                <a:cubicBezTo>
                  <a:pt x="327" y="256"/>
                  <a:pt x="327" y="256"/>
                  <a:pt x="327" y="256"/>
                </a:cubicBezTo>
                <a:cubicBezTo>
                  <a:pt x="327" y="256"/>
                  <a:pt x="327" y="256"/>
                  <a:pt x="327" y="256"/>
                </a:cubicBezTo>
                <a:cubicBezTo>
                  <a:pt x="327" y="256"/>
                  <a:pt x="327" y="256"/>
                  <a:pt x="327" y="256"/>
                </a:cubicBezTo>
                <a:close/>
                <a:moveTo>
                  <a:pt x="399" y="286"/>
                </a:moveTo>
                <a:cubicBezTo>
                  <a:pt x="399" y="307"/>
                  <a:pt x="391" y="321"/>
                  <a:pt x="373" y="321"/>
                </a:cubicBezTo>
                <a:cubicBezTo>
                  <a:pt x="356" y="321"/>
                  <a:pt x="348" y="305"/>
                  <a:pt x="348" y="286"/>
                </a:cubicBezTo>
                <a:cubicBezTo>
                  <a:pt x="348" y="266"/>
                  <a:pt x="356" y="251"/>
                  <a:pt x="374" y="251"/>
                </a:cubicBezTo>
                <a:cubicBezTo>
                  <a:pt x="392" y="251"/>
                  <a:pt x="399" y="267"/>
                  <a:pt x="399" y="286"/>
                </a:cubicBezTo>
                <a:close/>
                <a:moveTo>
                  <a:pt x="383" y="286"/>
                </a:moveTo>
                <a:cubicBezTo>
                  <a:pt x="383" y="271"/>
                  <a:pt x="380" y="263"/>
                  <a:pt x="374" y="263"/>
                </a:cubicBezTo>
                <a:cubicBezTo>
                  <a:pt x="368" y="263"/>
                  <a:pt x="364" y="270"/>
                  <a:pt x="364" y="286"/>
                </a:cubicBezTo>
                <a:cubicBezTo>
                  <a:pt x="364" y="302"/>
                  <a:pt x="368" y="309"/>
                  <a:pt x="374" y="309"/>
                </a:cubicBezTo>
                <a:cubicBezTo>
                  <a:pt x="380" y="309"/>
                  <a:pt x="383" y="301"/>
                  <a:pt x="383" y="286"/>
                </a:cubicBezTo>
                <a:close/>
                <a:moveTo>
                  <a:pt x="315" y="245"/>
                </a:moveTo>
                <a:cubicBezTo>
                  <a:pt x="291" y="268"/>
                  <a:pt x="260" y="280"/>
                  <a:pt x="229" y="280"/>
                </a:cubicBezTo>
                <a:cubicBezTo>
                  <a:pt x="206" y="280"/>
                  <a:pt x="184" y="274"/>
                  <a:pt x="164" y="262"/>
                </a:cubicBezTo>
                <a:cubicBezTo>
                  <a:pt x="71" y="354"/>
                  <a:pt x="71" y="354"/>
                  <a:pt x="71" y="354"/>
                </a:cubicBezTo>
                <a:cubicBezTo>
                  <a:pt x="64" y="362"/>
                  <a:pt x="51" y="362"/>
                  <a:pt x="43" y="354"/>
                </a:cubicBezTo>
                <a:cubicBezTo>
                  <a:pt x="33" y="344"/>
                  <a:pt x="33" y="344"/>
                  <a:pt x="33" y="344"/>
                </a:cubicBezTo>
                <a:cubicBezTo>
                  <a:pt x="25" y="336"/>
                  <a:pt x="25" y="323"/>
                  <a:pt x="33" y="316"/>
                </a:cubicBezTo>
                <a:cubicBezTo>
                  <a:pt x="125" y="223"/>
                  <a:pt x="125" y="223"/>
                  <a:pt x="125" y="223"/>
                </a:cubicBezTo>
                <a:cubicBezTo>
                  <a:pt x="96" y="176"/>
                  <a:pt x="101" y="113"/>
                  <a:pt x="142" y="72"/>
                </a:cubicBezTo>
                <a:cubicBezTo>
                  <a:pt x="166" y="48"/>
                  <a:pt x="198" y="36"/>
                  <a:pt x="229" y="36"/>
                </a:cubicBezTo>
                <a:cubicBezTo>
                  <a:pt x="260" y="36"/>
                  <a:pt x="291" y="48"/>
                  <a:pt x="315" y="72"/>
                </a:cubicBezTo>
                <a:cubicBezTo>
                  <a:pt x="363" y="119"/>
                  <a:pt x="363" y="197"/>
                  <a:pt x="315" y="245"/>
                </a:cubicBezTo>
                <a:close/>
                <a:moveTo>
                  <a:pt x="312" y="158"/>
                </a:moveTo>
                <a:cubicBezTo>
                  <a:pt x="312" y="136"/>
                  <a:pt x="303" y="115"/>
                  <a:pt x="287" y="100"/>
                </a:cubicBezTo>
                <a:cubicBezTo>
                  <a:pt x="272" y="84"/>
                  <a:pt x="251" y="75"/>
                  <a:pt x="229" y="75"/>
                </a:cubicBezTo>
                <a:cubicBezTo>
                  <a:pt x="207" y="75"/>
                  <a:pt x="186" y="84"/>
                  <a:pt x="170" y="100"/>
                </a:cubicBezTo>
                <a:cubicBezTo>
                  <a:pt x="138" y="132"/>
                  <a:pt x="138" y="184"/>
                  <a:pt x="170" y="217"/>
                </a:cubicBezTo>
                <a:cubicBezTo>
                  <a:pt x="186" y="232"/>
                  <a:pt x="207" y="241"/>
                  <a:pt x="229" y="241"/>
                </a:cubicBezTo>
                <a:cubicBezTo>
                  <a:pt x="251" y="241"/>
                  <a:pt x="272" y="232"/>
                  <a:pt x="287" y="217"/>
                </a:cubicBezTo>
                <a:cubicBezTo>
                  <a:pt x="303" y="201"/>
                  <a:pt x="312" y="180"/>
                  <a:pt x="312" y="158"/>
                </a:cubicBezTo>
                <a:close/>
                <a:moveTo>
                  <a:pt x="297" y="18"/>
                </a:moveTo>
                <a:cubicBezTo>
                  <a:pt x="298" y="20"/>
                  <a:pt x="300" y="21"/>
                  <a:pt x="302" y="20"/>
                </a:cubicBezTo>
                <a:cubicBezTo>
                  <a:pt x="308" y="17"/>
                  <a:pt x="308" y="17"/>
                  <a:pt x="308" y="17"/>
                </a:cubicBezTo>
                <a:cubicBezTo>
                  <a:pt x="310" y="16"/>
                  <a:pt x="311" y="15"/>
                  <a:pt x="311" y="15"/>
                </a:cubicBezTo>
                <a:cubicBezTo>
                  <a:pt x="311" y="15"/>
                  <a:pt x="311" y="17"/>
                  <a:pt x="311" y="19"/>
                </a:cubicBezTo>
                <a:cubicBezTo>
                  <a:pt x="311" y="47"/>
                  <a:pt x="311" y="47"/>
                  <a:pt x="311" y="47"/>
                </a:cubicBezTo>
                <a:cubicBezTo>
                  <a:pt x="317" y="51"/>
                  <a:pt x="322" y="56"/>
                  <a:pt x="327" y="60"/>
                </a:cubicBezTo>
                <a:cubicBezTo>
                  <a:pt x="327" y="60"/>
                  <a:pt x="327" y="60"/>
                  <a:pt x="327" y="61"/>
                </a:cubicBezTo>
                <a:cubicBezTo>
                  <a:pt x="327" y="5"/>
                  <a:pt x="327" y="5"/>
                  <a:pt x="327" y="5"/>
                </a:cubicBezTo>
                <a:cubicBezTo>
                  <a:pt x="327" y="3"/>
                  <a:pt x="325" y="1"/>
                  <a:pt x="323" y="1"/>
                </a:cubicBezTo>
                <a:cubicBezTo>
                  <a:pt x="318" y="1"/>
                  <a:pt x="318" y="1"/>
                  <a:pt x="318" y="1"/>
                </a:cubicBezTo>
                <a:cubicBezTo>
                  <a:pt x="315" y="1"/>
                  <a:pt x="312" y="2"/>
                  <a:pt x="310" y="3"/>
                </a:cubicBezTo>
                <a:cubicBezTo>
                  <a:pt x="299" y="8"/>
                  <a:pt x="299" y="8"/>
                  <a:pt x="299" y="8"/>
                </a:cubicBezTo>
                <a:cubicBezTo>
                  <a:pt x="297" y="9"/>
                  <a:pt x="296" y="11"/>
                  <a:pt x="296" y="13"/>
                </a:cubicBezTo>
                <a:lnTo>
                  <a:pt x="297" y="18"/>
                </a:lnTo>
                <a:close/>
              </a:path>
            </a:pathLst>
          </a:custGeom>
          <a:solidFill>
            <a:srgbClr val="FFFFFF"/>
          </a:solidFill>
          <a:ln w="25400" cap="flat" cmpd="sng" algn="ctr">
            <a:noFill/>
            <a:prstDash val="solid"/>
          </a:ln>
          <a:effectLst/>
        </p:spPr>
        <p:txBody>
          <a:bodyPr lIns="68556" tIns="34278" rIns="68556" bIns="34278" anchor="ctr"/>
          <a:lstStyle/>
          <a:p>
            <a:pPr algn="ctr" defTabSz="676889"/>
            <a:endParaRPr lang="en-US" sz="1350" dirty="0">
              <a:solidFill>
                <a:srgbClr val="0096D6"/>
              </a:solidFill>
              <a:latin typeface="CiscoSans ExtraLight" panose="020B0303020201020303" pitchFamily="34" charset="0"/>
              <a:ea typeface="ＭＳ Ｐゴシック" pitchFamily="34" charset="-128"/>
              <a:cs typeface="Arial"/>
            </a:endParaRPr>
          </a:p>
        </p:txBody>
      </p:sp>
    </p:spTree>
    <p:extLst>
      <p:ext uri="{BB962C8B-B14F-4D97-AF65-F5344CB8AC3E}">
        <p14:creationId xmlns:p14="http://schemas.microsoft.com/office/powerpoint/2010/main" val="956739760"/>
      </p:ext>
    </p:extLst>
  </p:cSld>
  <p:clrMapOvr>
    <a:masterClrMapping/>
  </p:clrMapOvr>
  <p:transition spd="med">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437766" y="1092814"/>
            <a:ext cx="8345488" cy="3168210"/>
          </a:xfrm>
        </p:spPr>
        <p:txBody>
          <a:bodyPr/>
          <a:lstStyle/>
          <a:p>
            <a:pPr lvl="1"/>
            <a:r>
              <a:rPr lang="ja-JP" altLang="en-US" sz="2000">
                <a:latin typeface="CiscoSansJPN" pitchFamily="2" charset="-128"/>
                <a:ea typeface="CiscoSansJPN" pitchFamily="2" charset="-128"/>
                <a:cs typeface="CiscoSansJPN" pitchFamily="2" charset="-128"/>
              </a:rPr>
              <a:t>差別化</a:t>
            </a:r>
            <a:endParaRPr lang="en-US" sz="2000" dirty="0">
              <a:latin typeface="CiscoSansJPN" pitchFamily="2" charset="-128"/>
              <a:ea typeface="CiscoSansJPN" pitchFamily="2" charset="-128"/>
              <a:cs typeface="CiscoSansJPN" pitchFamily="2" charset="-128"/>
            </a:endParaRPr>
          </a:p>
          <a:p>
            <a:pPr marL="577790" lvl="1" indent="-285750">
              <a:buFont typeface="Arial" charset="0"/>
              <a:buChar char="•"/>
            </a:pPr>
            <a:r>
              <a:rPr lang="en-US" dirty="0" err="1">
                <a:latin typeface="CiscoSansJPN" pitchFamily="2" charset="-128"/>
                <a:ea typeface="CiscoSansJPN" pitchFamily="2" charset="-128"/>
                <a:cs typeface="CiscoSansJPN" pitchFamily="2" charset="-128"/>
              </a:rPr>
              <a:t>Talos</a:t>
            </a:r>
            <a:r>
              <a:rPr lang="en-US" dirty="0">
                <a:latin typeface="CiscoSansJPN" pitchFamily="2" charset="-128"/>
                <a:ea typeface="CiscoSansJPN" pitchFamily="2" charset="-128"/>
                <a:cs typeface="CiscoSansJPN" pitchFamily="2" charset="-128"/>
              </a:rPr>
              <a:t> Threat Intelligence</a:t>
            </a:r>
          </a:p>
          <a:p>
            <a:pPr marL="577790" lvl="1" indent="-285750">
              <a:buFont typeface="Arial" charset="0"/>
              <a:buChar char="•"/>
            </a:pPr>
            <a:r>
              <a:rPr lang="en-US" dirty="0">
                <a:latin typeface="CiscoSansJPN" pitchFamily="2" charset="-128"/>
                <a:ea typeface="CiscoSansJPN" pitchFamily="2" charset="-128"/>
                <a:cs typeface="CiscoSansJPN" pitchFamily="2" charset="-128"/>
              </a:rPr>
              <a:t>Architecture</a:t>
            </a:r>
          </a:p>
          <a:p>
            <a:pPr marL="577790" lvl="1" indent="-285750">
              <a:buFont typeface="Arial" charset="0"/>
              <a:buChar char="•"/>
            </a:pPr>
            <a:r>
              <a:rPr lang="en-US" dirty="0">
                <a:latin typeface="CiscoSansJPN" pitchFamily="2" charset="-128"/>
                <a:ea typeface="CiscoSansJPN" pitchFamily="2" charset="-128"/>
                <a:cs typeface="CiscoSansJPN" pitchFamily="2" charset="-128"/>
              </a:rPr>
              <a:t>Cisco Threat Response</a:t>
            </a:r>
          </a:p>
          <a:p>
            <a:pPr indent="0">
              <a:buNone/>
            </a:pPr>
            <a:r>
              <a:rPr lang="ja-JP" altLang="en-US">
                <a:latin typeface="CiscoSansJPN" pitchFamily="2" charset="-128"/>
                <a:ea typeface="CiscoSansJPN" pitchFamily="2" charset="-128"/>
                <a:cs typeface="CiscoSansJPN" pitchFamily="2" charset="-128"/>
              </a:rPr>
              <a:t>次世代エンドポイントセキュリティ</a:t>
            </a:r>
            <a:r>
              <a:rPr lang="en-US" dirty="0">
                <a:latin typeface="CiscoSansJPN" pitchFamily="2" charset="-128"/>
                <a:ea typeface="CiscoSansJPN" pitchFamily="2" charset="-128"/>
                <a:cs typeface="CiscoSansJPN" pitchFamily="2" charset="-128"/>
              </a:rPr>
              <a:t> </a:t>
            </a:r>
          </a:p>
          <a:p>
            <a:pPr marL="577790" lvl="1" indent="-285750">
              <a:buFont typeface="Arial" charset="0"/>
              <a:buChar char="•"/>
            </a:pPr>
            <a:r>
              <a:rPr lang="en-US" dirty="0">
                <a:latin typeface="CiscoSansJPN" pitchFamily="2" charset="-128"/>
                <a:ea typeface="CiscoSansJPN" pitchFamily="2" charset="-128"/>
                <a:cs typeface="CiscoSansJPN" pitchFamily="2" charset="-128"/>
              </a:rPr>
              <a:t>EPP</a:t>
            </a:r>
            <a:r>
              <a:rPr lang="ja-JP" altLang="en-US">
                <a:latin typeface="CiscoSansJPN" pitchFamily="2" charset="-128"/>
                <a:ea typeface="CiscoSansJPN" pitchFamily="2" charset="-128"/>
                <a:cs typeface="CiscoSansJPN" pitchFamily="2" charset="-128"/>
              </a:rPr>
              <a:t>から防御、検知、対応への切り替え</a:t>
            </a:r>
            <a:endParaRPr lang="en-US" dirty="0">
              <a:latin typeface="CiscoSansJPN" pitchFamily="2" charset="-128"/>
              <a:ea typeface="CiscoSansJPN" pitchFamily="2" charset="-128"/>
              <a:cs typeface="CiscoSansJPN" pitchFamily="2" charset="-128"/>
            </a:endParaRPr>
          </a:p>
          <a:p>
            <a:pPr lvl="1"/>
            <a:r>
              <a:rPr lang="ja-JP" altLang="en-US">
                <a:latin typeface="CiscoSansJPN" pitchFamily="2" charset="-128"/>
                <a:ea typeface="CiscoSansJPN" pitchFamily="2" charset="-128"/>
                <a:cs typeface="CiscoSansJPN" pitchFamily="2" charset="-128"/>
              </a:rPr>
              <a:t>新機能</a:t>
            </a:r>
            <a:endParaRPr lang="en-US" dirty="0">
              <a:latin typeface="CiscoSansJPN" pitchFamily="2" charset="-128"/>
              <a:ea typeface="CiscoSansJPN" pitchFamily="2" charset="-128"/>
              <a:cs typeface="CiscoSansJPN" pitchFamily="2" charset="-128"/>
            </a:endParaRPr>
          </a:p>
          <a:p>
            <a:pPr marL="577790" lvl="1" indent="-285750">
              <a:buFont typeface="Arial" charset="0"/>
              <a:buChar char="•"/>
            </a:pPr>
            <a:r>
              <a:rPr lang="en-US" dirty="0">
                <a:latin typeface="CiscoSansJPN" pitchFamily="2" charset="-128"/>
                <a:ea typeface="CiscoSansJPN" pitchFamily="2" charset="-128"/>
                <a:cs typeface="CiscoSansJPN" pitchFamily="2" charset="-128"/>
              </a:rPr>
              <a:t>Cognitive Intelligence</a:t>
            </a:r>
          </a:p>
          <a:p>
            <a:pPr marL="577790" lvl="1" indent="-285750">
              <a:buFont typeface="Arial" charset="0"/>
              <a:buChar char="•"/>
            </a:pPr>
            <a:r>
              <a:rPr lang="en-US" dirty="0">
                <a:latin typeface="CiscoSansJPN" pitchFamily="2" charset="-128"/>
                <a:ea typeface="CiscoSansJPN" pitchFamily="2" charset="-128"/>
                <a:cs typeface="CiscoSansJPN" pitchFamily="2" charset="-128"/>
              </a:rPr>
              <a:t>Endpoint Search</a:t>
            </a:r>
          </a:p>
          <a:p>
            <a:pPr marL="577790" lvl="1" indent="-285750">
              <a:buFont typeface="Arial" charset="0"/>
              <a:buChar char="•"/>
            </a:pPr>
            <a:r>
              <a:rPr lang="en-US" dirty="0">
                <a:latin typeface="CiscoSansJPN" pitchFamily="2" charset="-128"/>
                <a:ea typeface="CiscoSansJPN" pitchFamily="2" charset="-128"/>
                <a:cs typeface="CiscoSansJPN" pitchFamily="2" charset="-128"/>
              </a:rPr>
              <a:t>IR/Threat Hunt Use cases</a:t>
            </a:r>
          </a:p>
        </p:txBody>
      </p:sp>
      <p:sp>
        <p:nvSpPr>
          <p:cNvPr id="3" name="Title 2"/>
          <p:cNvSpPr>
            <a:spLocks noGrp="1"/>
          </p:cNvSpPr>
          <p:nvPr>
            <p:ph type="title"/>
          </p:nvPr>
        </p:nvSpPr>
        <p:spPr>
          <a:xfrm>
            <a:off x="437766" y="360977"/>
            <a:ext cx="8345488" cy="731837"/>
          </a:xfrm>
        </p:spPr>
        <p:txBody>
          <a:bodyPr/>
          <a:lstStyle/>
          <a:p>
            <a:r>
              <a:rPr lang="ja-JP" altLang="en-US">
                <a:latin typeface="CiscoSansJPN" pitchFamily="2" charset="-128"/>
                <a:ea typeface="CiscoSansJPN" pitchFamily="2" charset="-128"/>
                <a:cs typeface="CiscoSansJPN" pitchFamily="2" charset="-128"/>
              </a:rPr>
              <a:t>まとめ：エンドポイントセキュリティ</a:t>
            </a:r>
            <a:endParaRPr lang="en-US" dirty="0">
              <a:latin typeface="CiscoSansJPN" pitchFamily="2" charset="-128"/>
              <a:ea typeface="CiscoSansJPN" pitchFamily="2" charset="-128"/>
              <a:cs typeface="CiscoSansJPN" pitchFamily="2" charset="-128"/>
            </a:endParaRPr>
          </a:p>
        </p:txBody>
      </p:sp>
    </p:spTree>
    <p:extLst>
      <p:ext uri="{BB962C8B-B14F-4D97-AF65-F5344CB8AC3E}">
        <p14:creationId xmlns:p14="http://schemas.microsoft.com/office/powerpoint/2010/main" val="2081355903"/>
      </p:ext>
    </p:extLst>
  </p:cSld>
  <p:clrMapOvr>
    <a:masterClrMapping/>
  </p:clrMapOvr>
  <p:transition spd="med">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826289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Oval 54"/>
          <p:cNvSpPr>
            <a:spLocks/>
          </p:cNvSpPr>
          <p:nvPr/>
        </p:nvSpPr>
        <p:spPr>
          <a:xfrm>
            <a:off x="573182" y="3061451"/>
            <a:ext cx="2833953" cy="822960"/>
          </a:xfrm>
          <a:prstGeom prst="roundRect">
            <a:avLst>
              <a:gd name="adj" fmla="val 8551"/>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AMP Everywhere</a:t>
            </a:r>
          </a:p>
          <a:p>
            <a:pPr algn="ctr" defTabSz="685362">
              <a:lnSpc>
                <a:spcPct val="95000"/>
              </a:lnSpc>
            </a:pPr>
            <a:r>
              <a:rPr lang="en-US" b="1" dirty="0">
                <a:solidFill>
                  <a:srgbClr val="FFFFFF"/>
                </a:solidFill>
                <a:latin typeface="CiscoSansTT" panose="020B0503020201020303" pitchFamily="34" charset="0"/>
                <a:ea typeface="ＭＳ Ｐゴシック" pitchFamily="34" charset="-128"/>
                <a:cs typeface="CiscoSansTT" panose="020B0503020201020303" pitchFamily="34" charset="0"/>
              </a:rPr>
              <a:t>76,000+</a:t>
            </a:r>
          </a:p>
          <a:p>
            <a:pPr algn="ctr" defTabSz="685362">
              <a:lnSpc>
                <a:spcPct val="95000"/>
              </a:lnSpc>
            </a:pPr>
            <a:r>
              <a:rPr lang="en-US" b="1" dirty="0">
                <a:solidFill>
                  <a:srgbClr val="FFFFFF"/>
                </a:solidFill>
                <a:latin typeface="CiscoSansTT ExtraLight"/>
                <a:ea typeface="ＭＳ Ｐゴシック" pitchFamily="34" charset="-128"/>
              </a:rPr>
              <a:t>customers</a:t>
            </a:r>
          </a:p>
        </p:txBody>
      </p:sp>
      <p:sp>
        <p:nvSpPr>
          <p:cNvPr id="58" name="Oval 57"/>
          <p:cNvSpPr>
            <a:spLocks/>
          </p:cNvSpPr>
          <p:nvPr/>
        </p:nvSpPr>
        <p:spPr>
          <a:xfrm>
            <a:off x="568909" y="2199694"/>
            <a:ext cx="1860962" cy="731520"/>
          </a:xfrm>
          <a:prstGeom prst="roundRect">
            <a:avLst>
              <a:gd name="adj" fmla="val 7776"/>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panose="020B0503020201020303" pitchFamily="34" charset="0"/>
                <a:ea typeface="ＭＳ Ｐゴシック" pitchFamily="34" charset="-128"/>
                <a:cs typeface="CiscoSansTT" panose="020B0503020201020303" pitchFamily="34" charset="0"/>
              </a:rPr>
              <a:t>11M+ </a:t>
            </a:r>
            <a:r>
              <a:rPr lang="en-US" b="1" dirty="0">
                <a:solidFill>
                  <a:srgbClr val="FFFFFF"/>
                </a:solidFill>
                <a:latin typeface="CiscoSansTT ExtraLight"/>
                <a:ea typeface="ＭＳ Ｐゴシック" pitchFamily="34" charset="-128"/>
              </a:rPr>
              <a:t>Endpoints</a:t>
            </a:r>
          </a:p>
        </p:txBody>
      </p:sp>
      <p:sp>
        <p:nvSpPr>
          <p:cNvPr id="61" name="Oval 60"/>
          <p:cNvSpPr>
            <a:spLocks/>
          </p:cNvSpPr>
          <p:nvPr/>
        </p:nvSpPr>
        <p:spPr>
          <a:xfrm>
            <a:off x="2488068" y="2197908"/>
            <a:ext cx="2583161" cy="731520"/>
          </a:xfrm>
          <a:prstGeom prst="roundRect">
            <a:avLst>
              <a:gd name="adj" fmla="val 12155"/>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Gartner MQ </a:t>
            </a:r>
          </a:p>
          <a:p>
            <a:pPr algn="ctr" defTabSz="685362">
              <a:lnSpc>
                <a:spcPct val="95000"/>
              </a:lnSpc>
            </a:pPr>
            <a:r>
              <a:rPr lang="en-US" b="1" dirty="0">
                <a:solidFill>
                  <a:srgbClr val="FFFFFF"/>
                </a:solidFill>
                <a:latin typeface="CiscoSansTT ExtraLight"/>
                <a:ea typeface="ＭＳ Ｐゴシック" pitchFamily="34" charset="-128"/>
              </a:rPr>
              <a:t>EPP </a:t>
            </a:r>
            <a:r>
              <a:rPr lang="en-US" dirty="0">
                <a:solidFill>
                  <a:srgbClr val="FFFFFF"/>
                </a:solidFill>
                <a:latin typeface="CiscoSansTT ExtraLight"/>
                <a:ea typeface="ＭＳ Ｐゴシック" pitchFamily="34" charset="-128"/>
              </a:rPr>
              <a:t>“Visionary”</a:t>
            </a:r>
          </a:p>
        </p:txBody>
      </p:sp>
      <p:sp>
        <p:nvSpPr>
          <p:cNvPr id="64" name="Oval 63"/>
          <p:cNvSpPr>
            <a:spLocks/>
          </p:cNvSpPr>
          <p:nvPr/>
        </p:nvSpPr>
        <p:spPr>
          <a:xfrm>
            <a:off x="5159092" y="2198820"/>
            <a:ext cx="1743122" cy="718003"/>
          </a:xfrm>
          <a:prstGeom prst="roundRect">
            <a:avLst>
              <a:gd name="adj" fmla="val 8082"/>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Apple Partnership</a:t>
            </a:r>
          </a:p>
        </p:txBody>
      </p:sp>
      <p:sp>
        <p:nvSpPr>
          <p:cNvPr id="67" name="Oval 66"/>
          <p:cNvSpPr>
            <a:spLocks/>
          </p:cNvSpPr>
          <p:nvPr/>
        </p:nvSpPr>
        <p:spPr>
          <a:xfrm>
            <a:off x="5902209" y="3053638"/>
            <a:ext cx="2762766" cy="813765"/>
          </a:xfrm>
          <a:prstGeom prst="roundRect">
            <a:avLst>
              <a:gd name="adj" fmla="val 10793"/>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Architecture:</a:t>
            </a:r>
          </a:p>
          <a:p>
            <a:pPr algn="ctr" defTabSz="685362">
              <a:lnSpc>
                <a:spcPct val="95000"/>
              </a:lnSpc>
            </a:pPr>
            <a:r>
              <a:rPr lang="en-US" b="1" dirty="0">
                <a:solidFill>
                  <a:srgbClr val="FFFFFF"/>
                </a:solidFill>
                <a:latin typeface="CiscoSansTT ExtraLight"/>
                <a:ea typeface="ＭＳ Ｐゴシック" pitchFamily="34" charset="-128"/>
              </a:rPr>
              <a:t>Network, Endpoint, Cloud</a:t>
            </a:r>
          </a:p>
        </p:txBody>
      </p:sp>
      <p:sp>
        <p:nvSpPr>
          <p:cNvPr id="73" name="Oval 72"/>
          <p:cNvSpPr>
            <a:spLocks/>
          </p:cNvSpPr>
          <p:nvPr/>
        </p:nvSpPr>
        <p:spPr>
          <a:xfrm>
            <a:off x="2264265" y="4013408"/>
            <a:ext cx="2204249" cy="813765"/>
          </a:xfrm>
          <a:prstGeom prst="roundRect">
            <a:avLst>
              <a:gd name="adj" fmla="val 4566"/>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Cisco Partner Ecosystem</a:t>
            </a:r>
          </a:p>
        </p:txBody>
      </p:sp>
      <p:sp>
        <p:nvSpPr>
          <p:cNvPr id="82" name="Oval 81"/>
          <p:cNvSpPr>
            <a:spLocks/>
          </p:cNvSpPr>
          <p:nvPr/>
        </p:nvSpPr>
        <p:spPr>
          <a:xfrm>
            <a:off x="5831792" y="1135050"/>
            <a:ext cx="2833182" cy="912276"/>
          </a:xfrm>
          <a:prstGeom prst="roundRect">
            <a:avLst>
              <a:gd name="adj" fmla="val 6456"/>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Protection, Detection and Response in Single Agent</a:t>
            </a:r>
          </a:p>
        </p:txBody>
      </p:sp>
      <p:sp>
        <p:nvSpPr>
          <p:cNvPr id="45" name="Oval 44">
            <a:extLst>
              <a:ext uri="{FF2B5EF4-FFF2-40B4-BE49-F238E27FC236}">
                <a16:creationId xmlns:a16="http://schemas.microsoft.com/office/drawing/2014/main" id="{C6377945-7BFB-D646-82CA-A1B09BF90663}"/>
              </a:ext>
            </a:extLst>
          </p:cNvPr>
          <p:cNvSpPr>
            <a:spLocks/>
          </p:cNvSpPr>
          <p:nvPr/>
        </p:nvSpPr>
        <p:spPr>
          <a:xfrm>
            <a:off x="538228" y="4022554"/>
            <a:ext cx="1646333" cy="813765"/>
          </a:xfrm>
          <a:prstGeom prst="roundRect">
            <a:avLst>
              <a:gd name="adj" fmla="val 8133"/>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Global </a:t>
            </a:r>
          </a:p>
          <a:p>
            <a:pPr algn="ctr" defTabSz="685362">
              <a:lnSpc>
                <a:spcPct val="95000"/>
              </a:lnSpc>
            </a:pPr>
            <a:r>
              <a:rPr lang="en-US" b="1" dirty="0">
                <a:solidFill>
                  <a:srgbClr val="FFFFFF"/>
                </a:solidFill>
                <a:latin typeface="CiscoSansTT ExtraLight"/>
                <a:ea typeface="ＭＳ Ｐゴシック" pitchFamily="34" charset="-128"/>
              </a:rPr>
              <a:t>Customer</a:t>
            </a:r>
          </a:p>
          <a:p>
            <a:pPr algn="ctr" defTabSz="685362">
              <a:lnSpc>
                <a:spcPct val="95000"/>
              </a:lnSpc>
            </a:pPr>
            <a:r>
              <a:rPr lang="en-US" b="1" dirty="0">
                <a:solidFill>
                  <a:srgbClr val="FFFFFF"/>
                </a:solidFill>
                <a:latin typeface="CiscoSansTT ExtraLight"/>
                <a:ea typeface="ＭＳ Ｐゴシック" pitchFamily="34" charset="-128"/>
              </a:rPr>
              <a:t>Success</a:t>
            </a:r>
          </a:p>
        </p:txBody>
      </p:sp>
      <p:sp>
        <p:nvSpPr>
          <p:cNvPr id="48" name="Oval 47">
            <a:extLst>
              <a:ext uri="{FF2B5EF4-FFF2-40B4-BE49-F238E27FC236}">
                <a16:creationId xmlns:a16="http://schemas.microsoft.com/office/drawing/2014/main" id="{B4EC0D62-5511-7B4F-9F4E-5246E3203114}"/>
              </a:ext>
            </a:extLst>
          </p:cNvPr>
          <p:cNvSpPr>
            <a:spLocks/>
          </p:cNvSpPr>
          <p:nvPr/>
        </p:nvSpPr>
        <p:spPr>
          <a:xfrm>
            <a:off x="3487010" y="3053637"/>
            <a:ext cx="2335325" cy="822960"/>
          </a:xfrm>
          <a:prstGeom prst="roundRect">
            <a:avLst>
              <a:gd name="adj" fmla="val 8054"/>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NSS Labs </a:t>
            </a:r>
            <a:r>
              <a:rPr lang="en-US" dirty="0">
                <a:solidFill>
                  <a:srgbClr val="FFFFFF"/>
                </a:solidFill>
                <a:latin typeface="CiscoSansTT ExtraLight"/>
                <a:ea typeface="ＭＳ Ｐゴシック" pitchFamily="34" charset="-128"/>
              </a:rPr>
              <a:t>“Recommended”</a:t>
            </a:r>
          </a:p>
        </p:txBody>
      </p:sp>
      <p:sp>
        <p:nvSpPr>
          <p:cNvPr id="52" name="Rounded Rectangle 51">
            <a:extLst>
              <a:ext uri="{FF2B5EF4-FFF2-40B4-BE49-F238E27FC236}">
                <a16:creationId xmlns:a16="http://schemas.microsoft.com/office/drawing/2014/main" id="{E9453125-C9CF-2E45-B7D5-46183920B72D}"/>
              </a:ext>
            </a:extLst>
          </p:cNvPr>
          <p:cNvSpPr>
            <a:spLocks/>
          </p:cNvSpPr>
          <p:nvPr/>
        </p:nvSpPr>
        <p:spPr>
          <a:xfrm>
            <a:off x="3098496" y="1127062"/>
            <a:ext cx="2633335" cy="918854"/>
          </a:xfrm>
          <a:prstGeom prst="roundRect">
            <a:avLst>
              <a:gd name="adj" fmla="val 11338"/>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cs typeface="CiscoSansTT" panose="020B0503020201020303" pitchFamily="34" charset="0"/>
              </a:rPr>
              <a:t>Forrester</a:t>
            </a:r>
            <a:r>
              <a:rPr lang="en-US" dirty="0">
                <a:solidFill>
                  <a:srgbClr val="FFFFFF"/>
                </a:solidFill>
                <a:latin typeface="CiscoSansTT ExtraLight"/>
                <a:ea typeface="ＭＳ Ｐゴシック" pitchFamily="34" charset="-128"/>
              </a:rPr>
              <a:t> Endpoint Suite</a:t>
            </a:r>
          </a:p>
          <a:p>
            <a:pPr algn="ctr" defTabSz="685362">
              <a:lnSpc>
                <a:spcPct val="95000"/>
              </a:lnSpc>
            </a:pPr>
            <a:r>
              <a:rPr lang="en-US" dirty="0">
                <a:solidFill>
                  <a:srgbClr val="FFFFFF"/>
                </a:solidFill>
                <a:latin typeface="CiscoSansTT ExtraLight"/>
                <a:ea typeface="ＭＳ Ｐゴシック" pitchFamily="34" charset="-128"/>
              </a:rPr>
              <a:t>“Strong Performer”</a:t>
            </a:r>
          </a:p>
        </p:txBody>
      </p:sp>
      <p:sp>
        <p:nvSpPr>
          <p:cNvPr id="87" name="Rounded Rectangle 86">
            <a:extLst>
              <a:ext uri="{FF2B5EF4-FFF2-40B4-BE49-F238E27FC236}">
                <a16:creationId xmlns:a16="http://schemas.microsoft.com/office/drawing/2014/main" id="{5FBF16AC-59E4-6A40-86B8-D773A5E57458}"/>
              </a:ext>
            </a:extLst>
          </p:cNvPr>
          <p:cNvSpPr>
            <a:spLocks/>
          </p:cNvSpPr>
          <p:nvPr/>
        </p:nvSpPr>
        <p:spPr>
          <a:xfrm>
            <a:off x="6863847" y="4013406"/>
            <a:ext cx="1801128" cy="813767"/>
          </a:xfrm>
          <a:prstGeom prst="roundRect">
            <a:avLst>
              <a:gd name="adj" fmla="val 7566"/>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endParaRPr lang="en-US" dirty="0">
              <a:solidFill>
                <a:srgbClr val="FFFFFF"/>
              </a:solidFill>
              <a:latin typeface="CiscoSansTT ExtraLight"/>
            </a:endParaRPr>
          </a:p>
        </p:txBody>
      </p:sp>
      <p:sp>
        <p:nvSpPr>
          <p:cNvPr id="89" name="Rounded Rectangle 88">
            <a:extLst>
              <a:ext uri="{FF2B5EF4-FFF2-40B4-BE49-F238E27FC236}">
                <a16:creationId xmlns:a16="http://schemas.microsoft.com/office/drawing/2014/main" id="{6EC59356-4142-B24E-9B70-0096152A052F}"/>
              </a:ext>
            </a:extLst>
          </p:cNvPr>
          <p:cNvSpPr>
            <a:spLocks/>
          </p:cNvSpPr>
          <p:nvPr/>
        </p:nvSpPr>
        <p:spPr>
          <a:xfrm>
            <a:off x="4548218" y="4013408"/>
            <a:ext cx="2222973" cy="815146"/>
          </a:xfrm>
          <a:prstGeom prst="roundRect">
            <a:avLst>
              <a:gd name="adj" fmla="val 7362"/>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Broad OS, </a:t>
            </a:r>
          </a:p>
          <a:p>
            <a:pPr algn="ctr" defTabSz="685362">
              <a:lnSpc>
                <a:spcPct val="95000"/>
              </a:lnSpc>
            </a:pPr>
            <a:r>
              <a:rPr lang="en-US" b="1" dirty="0">
                <a:solidFill>
                  <a:srgbClr val="FFFFFF"/>
                </a:solidFill>
                <a:latin typeface="CiscoSansTT ExtraLight"/>
                <a:ea typeface="ＭＳ Ｐゴシック" pitchFamily="34" charset="-128"/>
              </a:rPr>
              <a:t>Platform Support</a:t>
            </a:r>
          </a:p>
        </p:txBody>
      </p:sp>
      <p:sp>
        <p:nvSpPr>
          <p:cNvPr id="91" name="Rounded Rectangle 90">
            <a:extLst>
              <a:ext uri="{FF2B5EF4-FFF2-40B4-BE49-F238E27FC236}">
                <a16:creationId xmlns:a16="http://schemas.microsoft.com/office/drawing/2014/main" id="{A407437F-3C1E-2C4A-8238-3DFB1D4F91B5}"/>
              </a:ext>
            </a:extLst>
          </p:cNvPr>
          <p:cNvSpPr>
            <a:spLocks/>
          </p:cNvSpPr>
          <p:nvPr/>
        </p:nvSpPr>
        <p:spPr>
          <a:xfrm>
            <a:off x="573182" y="1127062"/>
            <a:ext cx="2429627" cy="914400"/>
          </a:xfrm>
          <a:prstGeom prst="roundRect">
            <a:avLst>
              <a:gd name="adj" fmla="val 7641"/>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panose="020B0503020201020303" pitchFamily="34" charset="0"/>
                <a:ea typeface="ＭＳ Ｐゴシック" pitchFamily="34" charset="-128"/>
                <a:cs typeface="CiscoSansTT" panose="020B0503020201020303" pitchFamily="34" charset="0"/>
              </a:rPr>
              <a:t>5,000+</a:t>
            </a:r>
            <a:r>
              <a:rPr lang="en-US" b="1" dirty="0">
                <a:solidFill>
                  <a:srgbClr val="FFFFFF"/>
                </a:solidFill>
                <a:latin typeface="CiscoSansTT ExtraLight"/>
                <a:ea typeface="ＭＳ Ｐゴシック" pitchFamily="34" charset="-128"/>
              </a:rPr>
              <a:t> Endpoint Customers</a:t>
            </a:r>
          </a:p>
        </p:txBody>
      </p:sp>
      <p:sp>
        <p:nvSpPr>
          <p:cNvPr id="2" name="Title 1">
            <a:extLst>
              <a:ext uri="{FF2B5EF4-FFF2-40B4-BE49-F238E27FC236}">
                <a16:creationId xmlns:a16="http://schemas.microsoft.com/office/drawing/2014/main" id="{D606A62D-C197-3343-9397-3F54A0210145}"/>
              </a:ext>
            </a:extLst>
          </p:cNvPr>
          <p:cNvSpPr>
            <a:spLocks noGrp="1"/>
          </p:cNvSpPr>
          <p:nvPr>
            <p:ph type="title"/>
          </p:nvPr>
        </p:nvSpPr>
        <p:spPr/>
        <p:txBody>
          <a:bodyPr/>
          <a:lstStyle/>
          <a:p>
            <a:r>
              <a:rPr lang="ja-JP" altLang="en-US"/>
              <a:t>シスコのエンドポイントビジネスの状況</a:t>
            </a:r>
            <a:endParaRPr lang="en-US" dirty="0"/>
          </a:p>
        </p:txBody>
      </p:sp>
      <p:pic>
        <p:nvPicPr>
          <p:cNvPr id="6" name="Picture 5">
            <a:extLst>
              <a:ext uri="{FF2B5EF4-FFF2-40B4-BE49-F238E27FC236}">
                <a16:creationId xmlns:a16="http://schemas.microsoft.com/office/drawing/2014/main" id="{EF46B754-DA77-B348-981E-7D37E34BC6A3}"/>
              </a:ext>
            </a:extLst>
          </p:cNvPr>
          <p:cNvPicPr>
            <a:picLocks noChangeAspect="1"/>
          </p:cNvPicPr>
          <p:nvPr/>
        </p:nvPicPr>
        <p:blipFill>
          <a:blip r:embed="rId3" cstate="email">
            <a:biLevel thresh="25000"/>
            <a:extLst>
              <a:ext uri="{28A0092B-C50C-407E-A947-70E740481C1C}">
                <a14:useLocalDpi xmlns:a14="http://schemas.microsoft.com/office/drawing/2010/main"/>
              </a:ext>
            </a:extLst>
          </a:blip>
          <a:stretch>
            <a:fillRect/>
          </a:stretch>
        </p:blipFill>
        <p:spPr>
          <a:xfrm>
            <a:off x="6997507" y="4244299"/>
            <a:ext cx="1490511" cy="370272"/>
          </a:xfrm>
          <a:prstGeom prst="rect">
            <a:avLst/>
          </a:prstGeom>
        </p:spPr>
      </p:pic>
      <p:pic>
        <p:nvPicPr>
          <p:cNvPr id="8" name="Picture 7">
            <a:extLst>
              <a:ext uri="{FF2B5EF4-FFF2-40B4-BE49-F238E27FC236}">
                <a16:creationId xmlns:a16="http://schemas.microsoft.com/office/drawing/2014/main" id="{21D11DFE-B749-D846-B5A9-EEFBD761486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24380" y="2298145"/>
            <a:ext cx="241800" cy="245133"/>
          </a:xfrm>
          <a:prstGeom prst="rect">
            <a:avLst/>
          </a:prstGeom>
        </p:spPr>
      </p:pic>
      <p:sp>
        <p:nvSpPr>
          <p:cNvPr id="19" name="Rounded Rectangle 18">
            <a:extLst>
              <a:ext uri="{FF2B5EF4-FFF2-40B4-BE49-F238E27FC236}">
                <a16:creationId xmlns:a16="http://schemas.microsoft.com/office/drawing/2014/main" id="{6EC59356-4142-B24E-9B70-0096152A052F}"/>
              </a:ext>
            </a:extLst>
          </p:cNvPr>
          <p:cNvSpPr>
            <a:spLocks/>
          </p:cNvSpPr>
          <p:nvPr/>
        </p:nvSpPr>
        <p:spPr>
          <a:xfrm>
            <a:off x="6964059" y="2188185"/>
            <a:ext cx="1700916" cy="728638"/>
          </a:xfrm>
          <a:prstGeom prst="roundRect">
            <a:avLst>
              <a:gd name="adj" fmla="val 7362"/>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121877" tIns="60939" rIns="121877" bIns="60939" rtlCol="0" anchor="ctr"/>
          <a:lstStyle/>
          <a:p>
            <a:pPr algn="ctr" defTabSz="685362">
              <a:lnSpc>
                <a:spcPct val="95000"/>
              </a:lnSpc>
            </a:pPr>
            <a:r>
              <a:rPr lang="en-US" b="1" dirty="0">
                <a:solidFill>
                  <a:srgbClr val="FFFFFF"/>
                </a:solidFill>
                <a:latin typeface="CiscoSansTT ExtraLight"/>
                <a:ea typeface="ＭＳ Ｐゴシック" pitchFamily="34" charset="-128"/>
              </a:rPr>
              <a:t>MSS Ready</a:t>
            </a:r>
          </a:p>
        </p:txBody>
      </p:sp>
    </p:spTree>
    <p:extLst>
      <p:ext uri="{BB962C8B-B14F-4D97-AF65-F5344CB8AC3E}">
        <p14:creationId xmlns:p14="http://schemas.microsoft.com/office/powerpoint/2010/main" val="9168617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6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9"/>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6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7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4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8"/>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8" grpId="0" animBg="1"/>
      <p:bldP spid="61" grpId="0" animBg="1"/>
      <p:bldP spid="64" grpId="0" animBg="1"/>
      <p:bldP spid="67" grpId="0" animBg="1"/>
      <p:bldP spid="73" grpId="0" animBg="1"/>
      <p:bldP spid="82" grpId="0" animBg="1"/>
      <p:bldP spid="45" grpId="0" animBg="1"/>
      <p:bldP spid="48" grpId="0" animBg="1"/>
      <p:bldP spid="52" grpId="0" animBg="1"/>
      <p:bldP spid="87" grpId="0" animBg="1"/>
      <p:bldP spid="89" grpId="0" animBg="1"/>
      <p:bldP spid="91" grpId="0" animBg="1"/>
      <p:bldP spid="1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 name="Title 3"/>
          <p:cNvSpPr>
            <a:spLocks noGrp="1"/>
          </p:cNvSpPr>
          <p:nvPr>
            <p:ph type="title"/>
          </p:nvPr>
        </p:nvSpPr>
        <p:spPr>
          <a:xfrm>
            <a:off x="272574" y="315913"/>
            <a:ext cx="8345488" cy="731837"/>
          </a:xfrm>
        </p:spPr>
        <p:txBody>
          <a:bodyPr/>
          <a:lstStyle/>
          <a:p>
            <a:r>
              <a:rPr lang="en-US" dirty="0"/>
              <a:t>The AMP Everywhere </a:t>
            </a:r>
            <a:br>
              <a:rPr lang="en-US" dirty="0"/>
            </a:br>
            <a:r>
              <a:rPr lang="en-US" dirty="0"/>
              <a:t>Architecture</a:t>
            </a:r>
            <a:br>
              <a:rPr lang="en-US" sz="2400" dirty="0"/>
            </a:br>
            <a:r>
              <a:rPr lang="en-US" sz="1200" dirty="0"/>
              <a:t>AMP Protection Across the Extended Network </a:t>
            </a:r>
          </a:p>
        </p:txBody>
      </p:sp>
      <p:sp>
        <p:nvSpPr>
          <p:cNvPr id="34" name="Rectangle 33"/>
          <p:cNvSpPr/>
          <p:nvPr/>
        </p:nvSpPr>
        <p:spPr>
          <a:xfrm>
            <a:off x="6497758" y="3899645"/>
            <a:ext cx="2646242" cy="83949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FFFFFF"/>
              </a:solidFill>
            </a:endParaRPr>
          </a:p>
        </p:txBody>
      </p:sp>
      <p:grpSp>
        <p:nvGrpSpPr>
          <p:cNvPr id="2" name="Group 129"/>
          <p:cNvGrpSpPr/>
          <p:nvPr/>
        </p:nvGrpSpPr>
        <p:grpSpPr>
          <a:xfrm>
            <a:off x="326824" y="315913"/>
            <a:ext cx="8654439" cy="7221082"/>
            <a:chOff x="159572" y="57150"/>
            <a:chExt cx="9158631" cy="7641770"/>
          </a:xfrm>
        </p:grpSpPr>
        <p:cxnSp>
          <p:nvCxnSpPr>
            <p:cNvPr id="10" name="Straight Connector 9"/>
            <p:cNvCxnSpPr/>
            <p:nvPr/>
          </p:nvCxnSpPr>
          <p:spPr>
            <a:xfrm>
              <a:off x="4679553" y="896366"/>
              <a:ext cx="14652" cy="554154"/>
            </a:xfrm>
            <a:prstGeom prst="line">
              <a:avLst/>
            </a:prstGeom>
            <a:ln w="1905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cstate="print">
              <a:duotone>
                <a:schemeClr val="accent3">
                  <a:shade val="45000"/>
                  <a:satMod val="135000"/>
                </a:schemeClr>
                <a:prstClr val="white"/>
              </a:duotone>
              <a:extLst>
                <a:ext uri="{BEBA8EAE-BF5A-486C-A8C5-ECC9F3942E4B}">
                  <a14:imgProps xmlns:a14="http://schemas.microsoft.com/office/drawing/2010/main">
                    <a14:imgLayer r:embed="rId4">
                      <a14:imgEffect>
                        <a14:sharpenSoften amount="50000"/>
                      </a14:imgEffect>
                      <a14:imgEffect>
                        <a14:saturation sat="0"/>
                      </a14:imgEffect>
                      <a14:imgEffect>
                        <a14:brightnessContrast bright="-71000" contrast="-78000"/>
                      </a14:imgEffect>
                    </a14:imgLayer>
                  </a14:imgProps>
                </a:ext>
                <a:ext uri="{28A0092B-C50C-407E-A947-70E740481C1C}">
                  <a14:useLocalDpi xmlns:a14="http://schemas.microsoft.com/office/drawing/2010/main" val="0"/>
                </a:ext>
              </a:extLst>
            </a:blip>
            <a:srcRect b="3607"/>
            <a:stretch>
              <a:fillRect/>
            </a:stretch>
          </p:blipFill>
          <p:spPr>
            <a:xfrm>
              <a:off x="372441" y="1425995"/>
              <a:ext cx="8565432" cy="3309220"/>
            </a:xfrm>
            <a:prstGeom prst="rect">
              <a:avLst/>
            </a:prstGeom>
          </p:spPr>
        </p:pic>
        <p:sp>
          <p:nvSpPr>
            <p:cNvPr id="4" name="Freeform 3"/>
            <p:cNvSpPr>
              <a:spLocks noChangeAspect="1"/>
            </p:cNvSpPr>
            <p:nvPr/>
          </p:nvSpPr>
          <p:spPr bwMode="auto">
            <a:xfrm>
              <a:off x="3691292" y="57150"/>
              <a:ext cx="1997200" cy="990600"/>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gradFill flip="none" rotWithShape="1">
              <a:gsLst>
                <a:gs pos="0">
                  <a:schemeClr val="bg1">
                    <a:lumMod val="85000"/>
                  </a:schemeClr>
                </a:gs>
                <a:gs pos="50000">
                  <a:schemeClr val="bg2">
                    <a:lumMod val="95000"/>
                    <a:shade val="67500"/>
                    <a:satMod val="115000"/>
                  </a:schemeClr>
                </a:gs>
                <a:gs pos="100000">
                  <a:schemeClr val="bg2">
                    <a:lumMod val="95000"/>
                    <a:shade val="100000"/>
                    <a:satMod val="115000"/>
                  </a:schemeClr>
                </a:gs>
              </a:gsLst>
              <a:lin ang="16200000" scaled="1"/>
              <a:tileRect/>
            </a:gradFill>
            <a:ln w="19050" cap="flat" cmpd="sng" algn="ctr">
              <a:noFill/>
              <a:prstDash val="sysDot"/>
            </a:ln>
            <a:effectLst/>
          </p:spPr>
          <p:txBody>
            <a:bodyPr rot="0" spcFirstLastPara="0" vertOverflow="overflow" horzOverflow="overflow" vert="horz" wrap="square" lIns="68589" tIns="34295" rIns="68589" bIns="34295" numCol="1" spcCol="0" rtlCol="0" fromWordArt="0" anchor="ctr" anchorCtr="0" forceAA="0" compatLnSpc="1">
              <a:prstTxWarp prst="textNoShape">
                <a:avLst/>
              </a:prstTxWarp>
              <a:noAutofit/>
            </a:bodyPr>
            <a:lstStyle/>
            <a:p>
              <a:pPr algn="ctr" defTabSz="912888">
                <a:defRPr/>
              </a:pPr>
              <a:endParaRPr lang="en-US" kern="0" dirty="0">
                <a:solidFill>
                  <a:srgbClr val="FFFFFF"/>
                </a:solidFill>
                <a:latin typeface="Arial"/>
                <a:ea typeface="Arial"/>
                <a:cs typeface="Arial"/>
              </a:endParaRPr>
            </a:p>
          </p:txBody>
        </p:sp>
        <p:sp>
          <p:nvSpPr>
            <p:cNvPr id="5" name="TextBox 4"/>
            <p:cNvSpPr txBox="1"/>
            <p:nvPr/>
          </p:nvSpPr>
          <p:spPr bwMode="auto">
            <a:xfrm>
              <a:off x="3538892" y="328152"/>
              <a:ext cx="2232529" cy="738648"/>
            </a:xfrm>
            <a:prstGeom prst="rect">
              <a:avLst/>
            </a:prstGeom>
            <a:noFill/>
            <a:ln>
              <a:noFill/>
            </a:ln>
            <a:extLst>
              <a:ext uri="{FAA26D3D-D897-4be2-8F04-BA451C77F1D7}">
                <ma14:placeholderFlag xmlns="" xmlns:ma14="http://schemas.microsoft.com/office/mac/drawingml/2011/main" val="1"/>
              </a:ext>
            </a:extLst>
          </p:spPr>
          <p:txBody>
            <a:bodyPr vert="horz" wrap="square" lIns="91424" tIns="45712" rIns="91424" bIns="45712" numCol="1" rtlCol="0" anchor="t" anchorCtr="0" compatLnSpc="1">
              <a:prstTxWarp prst="textNoShape">
                <a:avLst/>
              </a:prstTxWarp>
              <a:spAutoFit/>
            </a:bodyPr>
            <a:lstStyle/>
            <a:p>
              <a:pPr algn="ctr">
                <a:defRPr/>
              </a:pPr>
              <a:r>
                <a:rPr lang="en-US" sz="1400" b="1" dirty="0">
                  <a:solidFill>
                    <a:srgbClr val="676767">
                      <a:lumMod val="50000"/>
                    </a:srgbClr>
                  </a:solidFill>
                  <a:latin typeface="Arial"/>
                  <a:cs typeface=""/>
                </a:rPr>
                <a:t>AMP</a:t>
              </a:r>
            </a:p>
            <a:p>
              <a:pPr algn="ctr">
                <a:defRPr/>
              </a:pPr>
              <a:r>
                <a:rPr lang="en-US" sz="1400" b="1" dirty="0">
                  <a:solidFill>
                    <a:srgbClr val="676767">
                      <a:lumMod val="50000"/>
                    </a:srgbClr>
                  </a:solidFill>
                  <a:latin typeface="Arial"/>
                  <a:cs typeface=""/>
                </a:rPr>
                <a:t>Threat</a:t>
              </a:r>
              <a:r>
                <a:rPr lang="en-US" sz="1400" dirty="0">
                  <a:solidFill>
                    <a:srgbClr val="676767">
                      <a:lumMod val="50000"/>
                    </a:srgbClr>
                  </a:solidFill>
                  <a:latin typeface="Arial"/>
                  <a:cs typeface=""/>
                </a:rPr>
                <a:t> </a:t>
              </a:r>
              <a:r>
                <a:rPr lang="en-US" sz="1400" b="1" dirty="0">
                  <a:solidFill>
                    <a:srgbClr val="676767">
                      <a:lumMod val="50000"/>
                    </a:srgbClr>
                  </a:solidFill>
                  <a:latin typeface="Arial"/>
                  <a:cs typeface=""/>
                </a:rPr>
                <a:t>Intelligence</a:t>
              </a:r>
            </a:p>
            <a:p>
              <a:pPr algn="ctr">
                <a:defRPr/>
              </a:pPr>
              <a:r>
                <a:rPr lang="en-US" sz="1400" b="1" dirty="0">
                  <a:solidFill>
                    <a:srgbClr val="676767">
                      <a:lumMod val="50000"/>
                    </a:srgbClr>
                  </a:solidFill>
                  <a:latin typeface="Arial"/>
                  <a:cs typeface=""/>
                </a:rPr>
                <a:t>Cloud</a:t>
              </a:r>
            </a:p>
          </p:txBody>
        </p:sp>
        <p:sp>
          <p:nvSpPr>
            <p:cNvPr id="6" name="Freeform 5"/>
            <p:cNvSpPr>
              <a:spLocks noEditPoints="1"/>
            </p:cNvSpPr>
            <p:nvPr/>
          </p:nvSpPr>
          <p:spPr bwMode="auto">
            <a:xfrm>
              <a:off x="4613337" y="189801"/>
              <a:ext cx="160078" cy="19468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sp>
          <p:nvSpPr>
            <p:cNvPr id="12" name="Freeform 11"/>
            <p:cNvSpPr/>
            <p:nvPr/>
          </p:nvSpPr>
          <p:spPr>
            <a:xfrm>
              <a:off x="348343" y="1752600"/>
              <a:ext cx="8567057" cy="3091543"/>
            </a:xfrm>
            <a:custGeom>
              <a:avLst/>
              <a:gdLst>
                <a:gd name="connsiteX0" fmla="*/ 0 w 8567057"/>
                <a:gd name="connsiteY0" fmla="*/ 3091543 h 3091543"/>
                <a:gd name="connsiteX1" fmla="*/ 4212771 w 8567057"/>
                <a:gd name="connsiteY1" fmla="*/ 0 h 3091543"/>
                <a:gd name="connsiteX2" fmla="*/ 8567057 w 8567057"/>
                <a:gd name="connsiteY2" fmla="*/ 3080657 h 3091543"/>
              </a:gdLst>
              <a:ahLst/>
              <a:cxnLst>
                <a:cxn ang="0">
                  <a:pos x="connsiteX0" y="connsiteY0"/>
                </a:cxn>
                <a:cxn ang="0">
                  <a:pos x="connsiteX1" y="connsiteY1"/>
                </a:cxn>
                <a:cxn ang="0">
                  <a:pos x="connsiteX2" y="connsiteY2"/>
                </a:cxn>
              </a:cxnLst>
              <a:rect l="l" t="t" r="r" b="b"/>
              <a:pathLst>
                <a:path w="8567057" h="3091543">
                  <a:moveTo>
                    <a:pt x="0" y="3091543"/>
                  </a:moveTo>
                  <a:cubicBezTo>
                    <a:pt x="1392464" y="1546678"/>
                    <a:pt x="2784928" y="1814"/>
                    <a:pt x="4212771" y="0"/>
                  </a:cubicBezTo>
                  <a:cubicBezTo>
                    <a:pt x="5640614" y="-1814"/>
                    <a:pt x="8157028" y="2942771"/>
                    <a:pt x="8567057" y="3080657"/>
                  </a:cubicBezTo>
                </a:path>
              </a:pathLst>
            </a:cu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a:solidFill>
                  <a:srgbClr val="FFFFFF"/>
                </a:solidFill>
              </a:endParaRPr>
            </a:p>
          </p:txBody>
        </p:sp>
        <p:sp>
          <p:nvSpPr>
            <p:cNvPr id="19" name="Arc 18"/>
            <p:cNvSpPr/>
            <p:nvPr/>
          </p:nvSpPr>
          <p:spPr>
            <a:xfrm>
              <a:off x="304800" y="1450520"/>
              <a:ext cx="8610600" cy="6248400"/>
            </a:xfrm>
            <a:prstGeom prst="arc">
              <a:avLst>
                <a:gd name="adj1" fmla="val 10628174"/>
                <a:gd name="adj2" fmla="val 169457"/>
              </a:avLst>
            </a:prstGeom>
            <a:ln w="19050">
              <a:solidFill>
                <a:schemeClr val="accent5"/>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400">
                <a:defRPr/>
              </a:pPr>
              <a:endParaRPr lang="en-US">
                <a:solidFill>
                  <a:srgbClr val="435153"/>
                </a:solidFill>
              </a:endParaRPr>
            </a:p>
          </p:txBody>
        </p:sp>
        <p:sp>
          <p:nvSpPr>
            <p:cNvPr id="21" name="Freeform 15"/>
            <p:cNvSpPr>
              <a:spLocks noEditPoints="1"/>
            </p:cNvSpPr>
            <p:nvPr/>
          </p:nvSpPr>
          <p:spPr bwMode="auto">
            <a:xfrm>
              <a:off x="2509904" y="3344311"/>
              <a:ext cx="531835" cy="345551"/>
            </a:xfrm>
            <a:custGeom>
              <a:avLst/>
              <a:gdLst/>
              <a:ahLst/>
              <a:cxnLst>
                <a:cxn ang="0">
                  <a:pos x="149" y="0"/>
                </a:cxn>
                <a:cxn ang="0">
                  <a:pos x="116" y="0"/>
                </a:cxn>
                <a:cxn ang="0">
                  <a:pos x="110" y="6"/>
                </a:cxn>
                <a:cxn ang="0">
                  <a:pos x="110" y="93"/>
                </a:cxn>
                <a:cxn ang="0">
                  <a:pos x="116" y="99"/>
                </a:cxn>
                <a:cxn ang="0">
                  <a:pos x="149" y="99"/>
                </a:cxn>
                <a:cxn ang="0">
                  <a:pos x="154" y="93"/>
                </a:cxn>
                <a:cxn ang="0">
                  <a:pos x="154" y="6"/>
                </a:cxn>
                <a:cxn ang="0">
                  <a:pos x="149" y="0"/>
                </a:cxn>
                <a:cxn ang="0">
                  <a:pos x="115" y="41"/>
                </a:cxn>
                <a:cxn ang="0">
                  <a:pos x="121" y="41"/>
                </a:cxn>
                <a:cxn ang="0">
                  <a:pos x="121" y="45"/>
                </a:cxn>
                <a:cxn ang="0">
                  <a:pos x="115" y="45"/>
                </a:cxn>
                <a:cxn ang="0">
                  <a:pos x="115" y="41"/>
                </a:cxn>
                <a:cxn ang="0">
                  <a:pos x="150" y="90"/>
                </a:cxn>
                <a:cxn ang="0">
                  <a:pos x="115" y="90"/>
                </a:cxn>
                <a:cxn ang="0">
                  <a:pos x="115" y="85"/>
                </a:cxn>
                <a:cxn ang="0">
                  <a:pos x="150" y="85"/>
                </a:cxn>
                <a:cxn ang="0">
                  <a:pos x="150" y="90"/>
                </a:cxn>
                <a:cxn ang="0">
                  <a:pos x="125" y="45"/>
                </a:cxn>
                <a:cxn ang="0">
                  <a:pos x="125" y="41"/>
                </a:cxn>
                <a:cxn ang="0">
                  <a:pos x="130" y="41"/>
                </a:cxn>
                <a:cxn ang="0">
                  <a:pos x="130" y="45"/>
                </a:cxn>
                <a:cxn ang="0">
                  <a:pos x="125" y="45"/>
                </a:cxn>
                <a:cxn ang="0">
                  <a:pos x="150" y="32"/>
                </a:cxn>
                <a:cxn ang="0">
                  <a:pos x="115" y="32"/>
                </a:cxn>
                <a:cxn ang="0">
                  <a:pos x="115" y="28"/>
                </a:cxn>
                <a:cxn ang="0">
                  <a:pos x="150" y="28"/>
                </a:cxn>
                <a:cxn ang="0">
                  <a:pos x="150" y="32"/>
                </a:cxn>
                <a:cxn ang="0">
                  <a:pos x="150" y="23"/>
                </a:cxn>
                <a:cxn ang="0">
                  <a:pos x="115" y="23"/>
                </a:cxn>
                <a:cxn ang="0">
                  <a:pos x="115" y="18"/>
                </a:cxn>
                <a:cxn ang="0">
                  <a:pos x="150" y="18"/>
                </a:cxn>
                <a:cxn ang="0">
                  <a:pos x="150" y="23"/>
                </a:cxn>
                <a:cxn ang="0">
                  <a:pos x="150" y="14"/>
                </a:cxn>
                <a:cxn ang="0">
                  <a:pos x="115" y="14"/>
                </a:cxn>
                <a:cxn ang="0">
                  <a:pos x="115" y="9"/>
                </a:cxn>
                <a:cxn ang="0">
                  <a:pos x="150" y="9"/>
                </a:cxn>
                <a:cxn ang="0">
                  <a:pos x="150" y="14"/>
                </a:cxn>
                <a:cxn ang="0">
                  <a:pos x="96" y="0"/>
                </a:cxn>
                <a:cxn ang="0">
                  <a:pos x="5" y="0"/>
                </a:cxn>
                <a:cxn ang="0">
                  <a:pos x="0" y="6"/>
                </a:cxn>
                <a:cxn ang="0">
                  <a:pos x="0" y="77"/>
                </a:cxn>
                <a:cxn ang="0">
                  <a:pos x="5" y="83"/>
                </a:cxn>
                <a:cxn ang="0">
                  <a:pos x="40" y="83"/>
                </a:cxn>
                <a:cxn ang="0">
                  <a:pos x="40" y="92"/>
                </a:cxn>
                <a:cxn ang="0">
                  <a:pos x="15" y="99"/>
                </a:cxn>
                <a:cxn ang="0">
                  <a:pos x="86" y="99"/>
                </a:cxn>
                <a:cxn ang="0">
                  <a:pos x="61" y="92"/>
                </a:cxn>
                <a:cxn ang="0">
                  <a:pos x="61" y="83"/>
                </a:cxn>
                <a:cxn ang="0">
                  <a:pos x="96" y="83"/>
                </a:cxn>
                <a:cxn ang="0">
                  <a:pos x="101" y="77"/>
                </a:cxn>
                <a:cxn ang="0">
                  <a:pos x="101" y="6"/>
                </a:cxn>
                <a:cxn ang="0">
                  <a:pos x="96" y="0"/>
                </a:cxn>
                <a:cxn ang="0">
                  <a:pos x="93" y="74"/>
                </a:cxn>
                <a:cxn ang="0">
                  <a:pos x="8" y="74"/>
                </a:cxn>
                <a:cxn ang="0">
                  <a:pos x="8" y="9"/>
                </a:cxn>
                <a:cxn ang="0">
                  <a:pos x="93" y="9"/>
                </a:cxn>
                <a:cxn ang="0">
                  <a:pos x="93" y="74"/>
                </a:cxn>
              </a:cxnLst>
              <a:rect l="0" t="0" r="r" b="b"/>
              <a:pathLst>
                <a:path w="154" h="99">
                  <a:moveTo>
                    <a:pt x="149" y="0"/>
                  </a:moveTo>
                  <a:cubicBezTo>
                    <a:pt x="116" y="0"/>
                    <a:pt x="116" y="0"/>
                    <a:pt x="116" y="0"/>
                  </a:cubicBezTo>
                  <a:cubicBezTo>
                    <a:pt x="113" y="0"/>
                    <a:pt x="110" y="3"/>
                    <a:pt x="110" y="6"/>
                  </a:cubicBezTo>
                  <a:cubicBezTo>
                    <a:pt x="110" y="93"/>
                    <a:pt x="110" y="93"/>
                    <a:pt x="110" y="93"/>
                  </a:cubicBezTo>
                  <a:cubicBezTo>
                    <a:pt x="110" y="96"/>
                    <a:pt x="113" y="99"/>
                    <a:pt x="116" y="99"/>
                  </a:cubicBezTo>
                  <a:cubicBezTo>
                    <a:pt x="149" y="99"/>
                    <a:pt x="149" y="99"/>
                    <a:pt x="149" y="99"/>
                  </a:cubicBezTo>
                  <a:cubicBezTo>
                    <a:pt x="152" y="99"/>
                    <a:pt x="154" y="96"/>
                    <a:pt x="154" y="93"/>
                  </a:cubicBezTo>
                  <a:cubicBezTo>
                    <a:pt x="154" y="6"/>
                    <a:pt x="154" y="6"/>
                    <a:pt x="154" y="6"/>
                  </a:cubicBezTo>
                  <a:cubicBezTo>
                    <a:pt x="154" y="3"/>
                    <a:pt x="152" y="0"/>
                    <a:pt x="149" y="0"/>
                  </a:cubicBezTo>
                  <a:close/>
                  <a:moveTo>
                    <a:pt x="115" y="41"/>
                  </a:moveTo>
                  <a:cubicBezTo>
                    <a:pt x="121" y="41"/>
                    <a:pt x="121" y="41"/>
                    <a:pt x="121" y="41"/>
                  </a:cubicBezTo>
                  <a:cubicBezTo>
                    <a:pt x="121" y="45"/>
                    <a:pt x="121" y="45"/>
                    <a:pt x="121" y="45"/>
                  </a:cubicBezTo>
                  <a:cubicBezTo>
                    <a:pt x="115" y="45"/>
                    <a:pt x="115" y="45"/>
                    <a:pt x="115" y="45"/>
                  </a:cubicBezTo>
                  <a:lnTo>
                    <a:pt x="115" y="41"/>
                  </a:lnTo>
                  <a:close/>
                  <a:moveTo>
                    <a:pt x="150" y="90"/>
                  </a:moveTo>
                  <a:cubicBezTo>
                    <a:pt x="115" y="90"/>
                    <a:pt x="115" y="90"/>
                    <a:pt x="115" y="90"/>
                  </a:cubicBezTo>
                  <a:cubicBezTo>
                    <a:pt x="115" y="85"/>
                    <a:pt x="115" y="85"/>
                    <a:pt x="115" y="85"/>
                  </a:cubicBezTo>
                  <a:cubicBezTo>
                    <a:pt x="150" y="85"/>
                    <a:pt x="150" y="85"/>
                    <a:pt x="150" y="85"/>
                  </a:cubicBezTo>
                  <a:lnTo>
                    <a:pt x="150" y="90"/>
                  </a:lnTo>
                  <a:close/>
                  <a:moveTo>
                    <a:pt x="125" y="45"/>
                  </a:moveTo>
                  <a:cubicBezTo>
                    <a:pt x="125" y="41"/>
                    <a:pt x="125" y="41"/>
                    <a:pt x="125" y="41"/>
                  </a:cubicBezTo>
                  <a:cubicBezTo>
                    <a:pt x="130" y="41"/>
                    <a:pt x="130" y="41"/>
                    <a:pt x="130" y="41"/>
                  </a:cubicBezTo>
                  <a:cubicBezTo>
                    <a:pt x="130" y="45"/>
                    <a:pt x="130" y="45"/>
                    <a:pt x="130" y="45"/>
                  </a:cubicBezTo>
                  <a:lnTo>
                    <a:pt x="125" y="45"/>
                  </a:lnTo>
                  <a:close/>
                  <a:moveTo>
                    <a:pt x="150" y="32"/>
                  </a:moveTo>
                  <a:cubicBezTo>
                    <a:pt x="115" y="32"/>
                    <a:pt x="115" y="32"/>
                    <a:pt x="115" y="32"/>
                  </a:cubicBezTo>
                  <a:cubicBezTo>
                    <a:pt x="115" y="28"/>
                    <a:pt x="115" y="28"/>
                    <a:pt x="115" y="28"/>
                  </a:cubicBezTo>
                  <a:cubicBezTo>
                    <a:pt x="150" y="28"/>
                    <a:pt x="150" y="28"/>
                    <a:pt x="150" y="28"/>
                  </a:cubicBezTo>
                  <a:lnTo>
                    <a:pt x="150" y="32"/>
                  </a:lnTo>
                  <a:close/>
                  <a:moveTo>
                    <a:pt x="150" y="23"/>
                  </a:moveTo>
                  <a:cubicBezTo>
                    <a:pt x="115" y="23"/>
                    <a:pt x="115" y="23"/>
                    <a:pt x="115" y="23"/>
                  </a:cubicBezTo>
                  <a:cubicBezTo>
                    <a:pt x="115" y="18"/>
                    <a:pt x="115" y="18"/>
                    <a:pt x="115" y="18"/>
                  </a:cubicBezTo>
                  <a:cubicBezTo>
                    <a:pt x="150" y="18"/>
                    <a:pt x="150" y="18"/>
                    <a:pt x="150" y="18"/>
                  </a:cubicBezTo>
                  <a:lnTo>
                    <a:pt x="150" y="23"/>
                  </a:lnTo>
                  <a:close/>
                  <a:moveTo>
                    <a:pt x="150" y="14"/>
                  </a:moveTo>
                  <a:cubicBezTo>
                    <a:pt x="115" y="14"/>
                    <a:pt x="115" y="14"/>
                    <a:pt x="115" y="14"/>
                  </a:cubicBezTo>
                  <a:cubicBezTo>
                    <a:pt x="115" y="9"/>
                    <a:pt x="115" y="9"/>
                    <a:pt x="115" y="9"/>
                  </a:cubicBezTo>
                  <a:cubicBezTo>
                    <a:pt x="150" y="9"/>
                    <a:pt x="150" y="9"/>
                    <a:pt x="150" y="9"/>
                  </a:cubicBezTo>
                  <a:lnTo>
                    <a:pt x="150" y="14"/>
                  </a:lnTo>
                  <a:close/>
                  <a:moveTo>
                    <a:pt x="96" y="0"/>
                  </a:moveTo>
                  <a:cubicBezTo>
                    <a:pt x="5" y="0"/>
                    <a:pt x="5" y="0"/>
                    <a:pt x="5" y="0"/>
                  </a:cubicBezTo>
                  <a:cubicBezTo>
                    <a:pt x="2" y="0"/>
                    <a:pt x="0" y="3"/>
                    <a:pt x="0" y="6"/>
                  </a:cubicBezTo>
                  <a:cubicBezTo>
                    <a:pt x="0" y="77"/>
                    <a:pt x="0" y="77"/>
                    <a:pt x="0" y="77"/>
                  </a:cubicBezTo>
                  <a:cubicBezTo>
                    <a:pt x="0" y="80"/>
                    <a:pt x="2" y="83"/>
                    <a:pt x="5" y="83"/>
                  </a:cubicBezTo>
                  <a:cubicBezTo>
                    <a:pt x="40" y="83"/>
                    <a:pt x="40" y="83"/>
                    <a:pt x="40" y="83"/>
                  </a:cubicBezTo>
                  <a:cubicBezTo>
                    <a:pt x="40" y="92"/>
                    <a:pt x="40" y="92"/>
                    <a:pt x="40" y="92"/>
                  </a:cubicBezTo>
                  <a:cubicBezTo>
                    <a:pt x="26" y="93"/>
                    <a:pt x="15" y="96"/>
                    <a:pt x="15" y="99"/>
                  </a:cubicBezTo>
                  <a:cubicBezTo>
                    <a:pt x="86" y="99"/>
                    <a:pt x="86" y="99"/>
                    <a:pt x="86" y="99"/>
                  </a:cubicBezTo>
                  <a:cubicBezTo>
                    <a:pt x="86" y="96"/>
                    <a:pt x="75" y="93"/>
                    <a:pt x="61" y="92"/>
                  </a:cubicBezTo>
                  <a:cubicBezTo>
                    <a:pt x="61" y="83"/>
                    <a:pt x="61" y="83"/>
                    <a:pt x="61" y="83"/>
                  </a:cubicBezTo>
                  <a:cubicBezTo>
                    <a:pt x="96" y="83"/>
                    <a:pt x="96" y="83"/>
                    <a:pt x="96" y="83"/>
                  </a:cubicBezTo>
                  <a:cubicBezTo>
                    <a:pt x="99" y="83"/>
                    <a:pt x="101" y="80"/>
                    <a:pt x="101" y="77"/>
                  </a:cubicBezTo>
                  <a:cubicBezTo>
                    <a:pt x="101" y="6"/>
                    <a:pt x="101" y="6"/>
                    <a:pt x="101" y="6"/>
                  </a:cubicBezTo>
                  <a:cubicBezTo>
                    <a:pt x="101" y="3"/>
                    <a:pt x="99" y="0"/>
                    <a:pt x="96" y="0"/>
                  </a:cubicBezTo>
                  <a:close/>
                  <a:moveTo>
                    <a:pt x="93" y="74"/>
                  </a:moveTo>
                  <a:cubicBezTo>
                    <a:pt x="8" y="74"/>
                    <a:pt x="8" y="74"/>
                    <a:pt x="8" y="74"/>
                  </a:cubicBezTo>
                  <a:cubicBezTo>
                    <a:pt x="8" y="9"/>
                    <a:pt x="8" y="9"/>
                    <a:pt x="8" y="9"/>
                  </a:cubicBezTo>
                  <a:cubicBezTo>
                    <a:pt x="93" y="9"/>
                    <a:pt x="93" y="9"/>
                    <a:pt x="93" y="9"/>
                  </a:cubicBezTo>
                  <a:lnTo>
                    <a:pt x="93" y="74"/>
                  </a:lnTo>
                  <a:close/>
                </a:path>
              </a:pathLst>
            </a:custGeom>
            <a:solidFill>
              <a:schemeClr val="tx1"/>
            </a:solidFill>
            <a:ln w="9525">
              <a:noFill/>
              <a:round/>
              <a:headEnd/>
              <a:tailEnd/>
            </a:ln>
            <a:effectLst/>
          </p:spPr>
          <p:txBody>
            <a:bodyPr vert="horz" wrap="square" lIns="91430" tIns="45715" rIns="91430" bIns="45715" numCol="1" anchor="t" anchorCtr="0" compatLnSpc="1">
              <a:prstTxWarp prst="textNoShape">
                <a:avLst/>
              </a:prstTxWarp>
            </a:bodyPr>
            <a:lstStyle/>
            <a:p>
              <a:pPr defTabSz="457189">
                <a:defRPr/>
              </a:pPr>
              <a:endParaRPr lang="en-US" dirty="0">
                <a:solidFill>
                  <a:srgbClr val="FFFFFF"/>
                </a:solidFill>
                <a:latin typeface="Arial"/>
                <a:cs typeface=""/>
              </a:endParaRPr>
            </a:p>
          </p:txBody>
        </p:sp>
        <p:sp>
          <p:nvSpPr>
            <p:cNvPr id="22" name="TextBox 21"/>
            <p:cNvSpPr txBox="1"/>
            <p:nvPr/>
          </p:nvSpPr>
          <p:spPr>
            <a:xfrm>
              <a:off x="2440162" y="3693993"/>
              <a:ext cx="672110" cy="227995"/>
            </a:xfrm>
            <a:prstGeom prst="rect">
              <a:avLst/>
            </a:prstGeom>
            <a:noFill/>
          </p:spPr>
          <p:txBody>
            <a:bodyPr wrap="none" rtlCol="0">
              <a:spAutoFit/>
            </a:bodyPr>
            <a:lstStyle/>
            <a:p>
              <a:pPr algn="ctr" defTabSz="457189">
                <a:defRPr/>
              </a:pPr>
              <a:r>
                <a:rPr lang="en-US" sz="800" b="1" dirty="0">
                  <a:solidFill>
                    <a:srgbClr val="676767"/>
                  </a:solidFill>
                  <a:latin typeface="Arial"/>
                  <a:cs typeface=""/>
                </a:rPr>
                <a:t>Windows</a:t>
              </a:r>
            </a:p>
          </p:txBody>
        </p:sp>
        <p:grpSp>
          <p:nvGrpSpPr>
            <p:cNvPr id="11" name="Group 23"/>
            <p:cNvGrpSpPr/>
            <p:nvPr/>
          </p:nvGrpSpPr>
          <p:grpSpPr>
            <a:xfrm>
              <a:off x="3029341" y="3192829"/>
              <a:ext cx="248988" cy="167788"/>
              <a:chOff x="2127287" y="1175115"/>
              <a:chExt cx="379610" cy="241667"/>
            </a:xfrm>
          </p:grpSpPr>
          <p:sp>
            <p:nvSpPr>
              <p:cNvPr id="25" name="Rectangle 24"/>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FFFFFF"/>
                  </a:solidFill>
                </a:endParaRPr>
              </a:p>
            </p:txBody>
          </p:sp>
          <p:sp>
            <p:nvSpPr>
              <p:cNvPr id="26" name="Rectangle 25"/>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FFFFFF"/>
                  </a:solidFill>
                </a:endParaRPr>
              </a:p>
            </p:txBody>
          </p:sp>
          <p:sp>
            <p:nvSpPr>
              <p:cNvPr id="27" name="Freeform 26"/>
              <p:cNvSpPr>
                <a:spLocks noEditPoints="1"/>
              </p:cNvSpPr>
              <p:nvPr/>
            </p:nvSpPr>
            <p:spPr bwMode="auto">
              <a:xfrm>
                <a:off x="2127287" y="1175115"/>
                <a:ext cx="198707" cy="241667"/>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defTabSz="457189">
                  <a:defRPr/>
                </a:pPr>
                <a:endParaRPr lang="en-US" dirty="0">
                  <a:solidFill>
                    <a:srgbClr val="FFFFFF"/>
                  </a:solidFill>
                  <a:latin typeface="Arial"/>
                  <a:cs typeface=""/>
                </a:endParaRPr>
              </a:p>
            </p:txBody>
          </p:sp>
        </p:grpSp>
        <p:sp>
          <p:nvSpPr>
            <p:cNvPr id="28" name="Rectangle 27"/>
            <p:cNvSpPr/>
            <p:nvPr/>
          </p:nvSpPr>
          <p:spPr>
            <a:xfrm>
              <a:off x="2556899" y="3428017"/>
              <a:ext cx="231896" cy="162300"/>
            </a:xfrm>
            <a:prstGeom prst="rect">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dirty="0">
                <a:solidFill>
                  <a:srgbClr val="FFFFFF"/>
                </a:solidFill>
              </a:endParaRPr>
            </a:p>
          </p:txBody>
        </p:sp>
        <p:sp>
          <p:nvSpPr>
            <p:cNvPr id="30" name="TextBox 29"/>
            <p:cNvSpPr txBox="1"/>
            <p:nvPr/>
          </p:nvSpPr>
          <p:spPr>
            <a:xfrm>
              <a:off x="3001117" y="3726036"/>
              <a:ext cx="1123242" cy="618843"/>
            </a:xfrm>
            <a:prstGeom prst="rect">
              <a:avLst/>
            </a:prstGeom>
            <a:noFill/>
          </p:spPr>
          <p:txBody>
            <a:bodyPr wrap="square" rtlCol="0">
              <a:spAutoFit/>
            </a:bodyPr>
            <a:lstStyle/>
            <a:p>
              <a:pPr algn="ctr" defTabSz="457189">
                <a:defRPr/>
              </a:pPr>
              <a:r>
                <a:rPr lang="en-US" sz="800" b="1" dirty="0">
                  <a:solidFill>
                    <a:srgbClr val="676767"/>
                  </a:solidFill>
                  <a:latin typeface="Arial"/>
                  <a:cs typeface=""/>
                </a:rPr>
                <a:t> Mobile</a:t>
              </a:r>
            </a:p>
            <a:p>
              <a:pPr algn="ctr" defTabSz="457189">
                <a:defRPr/>
              </a:pPr>
              <a:r>
                <a:rPr lang="en-US" sz="800" b="1" dirty="0">
                  <a:solidFill>
                    <a:srgbClr val="676767"/>
                  </a:solidFill>
                  <a:latin typeface="Arial"/>
                  <a:ea typeface="ＭＳ Ｐゴシック" panose="020B0600070205080204" pitchFamily="34" charset="-128"/>
                  <a:cs typeface=""/>
                </a:rPr>
                <a:t>Android</a:t>
              </a:r>
            </a:p>
            <a:p>
              <a:pPr algn="ctr" defTabSz="457189">
                <a:defRPr/>
              </a:pPr>
              <a:r>
                <a:rPr lang="en-US" sz="800" b="1" dirty="0">
                  <a:solidFill>
                    <a:srgbClr val="676767"/>
                  </a:solidFill>
                  <a:latin typeface="Arial"/>
                  <a:ea typeface="ＭＳ Ｐゴシック" panose="020B0600070205080204" pitchFamily="34" charset="-128"/>
                  <a:cs typeface=""/>
                </a:rPr>
                <a:t>Cisco Security Connector for iOS</a:t>
              </a:r>
              <a:endParaRPr lang="en-US" sz="800" b="1" dirty="0">
                <a:solidFill>
                  <a:srgbClr val="676767"/>
                </a:solidFill>
                <a:latin typeface="Arial"/>
                <a:cs typeface=""/>
              </a:endParaRPr>
            </a:p>
          </p:txBody>
        </p:sp>
        <p:grpSp>
          <p:nvGrpSpPr>
            <p:cNvPr id="13" name="Group 30"/>
            <p:cNvGrpSpPr/>
            <p:nvPr/>
          </p:nvGrpSpPr>
          <p:grpSpPr>
            <a:xfrm>
              <a:off x="3289782" y="3307285"/>
              <a:ext cx="465459" cy="409849"/>
              <a:chOff x="8704281" y="5677747"/>
              <a:chExt cx="749054" cy="659733"/>
            </a:xfrm>
          </p:grpSpPr>
          <p:pic>
            <p:nvPicPr>
              <p:cNvPr id="32" name="Picture 31" descr="Tablet.emf"/>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rot="5400000">
                <a:off x="8935101" y="5819246"/>
                <a:ext cx="586501" cy="449967"/>
              </a:xfrm>
              <a:prstGeom prst="rect">
                <a:avLst/>
              </a:prstGeom>
              <a:noFill/>
              <a:ln>
                <a:noFill/>
              </a:ln>
            </p:spPr>
          </p:pic>
          <p:pic>
            <p:nvPicPr>
              <p:cNvPr id="33" name="Picture 32" descr="Smartphone.emf"/>
              <p:cNvPicPr>
                <a:picLocks noChangeAspect="1"/>
              </p:cNvPicPr>
              <p:nvPr/>
            </p:nvPicPr>
            <p:blipFill>
              <a:blip r:embed="rId6" cstate="email">
                <a:grayscl/>
                <a:extLst>
                  <a:ext uri="{28A0092B-C50C-407E-A947-70E740481C1C}">
                    <a14:useLocalDpi xmlns:a14="http://schemas.microsoft.com/office/drawing/2010/main"/>
                  </a:ext>
                </a:extLst>
              </a:blip>
              <a:stretch>
                <a:fillRect/>
              </a:stretch>
            </p:blipFill>
            <p:spPr>
              <a:xfrm>
                <a:off x="8704281" y="5677747"/>
                <a:ext cx="286006" cy="437420"/>
              </a:xfrm>
              <a:prstGeom prst="rect">
                <a:avLst/>
              </a:prstGeom>
              <a:noFill/>
              <a:ln>
                <a:noFill/>
              </a:ln>
            </p:spPr>
          </p:pic>
        </p:grpSp>
        <p:grpSp>
          <p:nvGrpSpPr>
            <p:cNvPr id="14" name="Group 33"/>
            <p:cNvGrpSpPr/>
            <p:nvPr/>
          </p:nvGrpSpPr>
          <p:grpSpPr>
            <a:xfrm>
              <a:off x="3668686" y="3203438"/>
              <a:ext cx="179905" cy="167787"/>
              <a:chOff x="1708218" y="1191798"/>
              <a:chExt cx="274285" cy="241668"/>
            </a:xfrm>
          </p:grpSpPr>
          <p:sp>
            <p:nvSpPr>
              <p:cNvPr id="35" name="Rectangle 34"/>
              <p:cNvSpPr/>
              <p:nvPr/>
            </p:nvSpPr>
            <p:spPr>
              <a:xfrm>
                <a:off x="1708218" y="1212499"/>
                <a:ext cx="152987" cy="10013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FFFFFF"/>
                  </a:solidFill>
                </a:endParaRPr>
              </a:p>
            </p:txBody>
          </p:sp>
          <p:sp>
            <p:nvSpPr>
              <p:cNvPr id="37" name="Freeform 36"/>
              <p:cNvSpPr>
                <a:spLocks noEditPoints="1"/>
              </p:cNvSpPr>
              <p:nvPr/>
            </p:nvSpPr>
            <p:spPr bwMode="auto">
              <a:xfrm>
                <a:off x="1783796" y="1191798"/>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defTabSz="457189">
                  <a:defRPr/>
                </a:pPr>
                <a:endParaRPr lang="en-US" dirty="0">
                  <a:solidFill>
                    <a:srgbClr val="FFFFFF"/>
                  </a:solidFill>
                  <a:latin typeface="Arial"/>
                  <a:cs typeface=""/>
                </a:endParaRPr>
              </a:p>
            </p:txBody>
          </p:sp>
        </p:grpSp>
        <p:sp>
          <p:nvSpPr>
            <p:cNvPr id="52" name="TextBox 51"/>
            <p:cNvSpPr txBox="1"/>
            <p:nvPr/>
          </p:nvSpPr>
          <p:spPr>
            <a:xfrm>
              <a:off x="3843565" y="3640844"/>
              <a:ext cx="881727" cy="227995"/>
            </a:xfrm>
            <a:prstGeom prst="rect">
              <a:avLst/>
            </a:prstGeom>
            <a:noFill/>
          </p:spPr>
          <p:txBody>
            <a:bodyPr wrap="square" rtlCol="0">
              <a:spAutoFit/>
            </a:bodyPr>
            <a:lstStyle/>
            <a:p>
              <a:pPr algn="ctr" defTabSz="457189">
                <a:defRPr/>
              </a:pPr>
              <a:r>
                <a:rPr lang="en-US" sz="800" b="1" dirty="0">
                  <a:solidFill>
                    <a:srgbClr val="676767"/>
                  </a:solidFill>
                  <a:latin typeface="Arial"/>
                  <a:cs typeface=""/>
                </a:rPr>
                <a:t>AnyConnect</a:t>
              </a:r>
            </a:p>
          </p:txBody>
        </p:sp>
        <p:grpSp>
          <p:nvGrpSpPr>
            <p:cNvPr id="17" name="Group 52"/>
            <p:cNvGrpSpPr/>
            <p:nvPr/>
          </p:nvGrpSpPr>
          <p:grpSpPr>
            <a:xfrm>
              <a:off x="4296490" y="3237316"/>
              <a:ext cx="578764" cy="167787"/>
              <a:chOff x="1624507" y="1208841"/>
              <a:chExt cx="882390" cy="241668"/>
            </a:xfrm>
          </p:grpSpPr>
          <p:sp>
            <p:nvSpPr>
              <p:cNvPr id="54" name="Rectangle 53"/>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FFFFFF"/>
                  </a:solidFill>
                </a:endParaRPr>
              </a:p>
            </p:txBody>
          </p:sp>
          <p:sp>
            <p:nvSpPr>
              <p:cNvPr id="56" name="Freeform 55"/>
              <p:cNvSpPr>
                <a:spLocks noEditPoints="1"/>
              </p:cNvSpPr>
              <p:nvPr/>
            </p:nvSpPr>
            <p:spPr bwMode="auto">
              <a:xfrm>
                <a:off x="1624507" y="1208841"/>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defTabSz="457189">
                  <a:defRPr/>
                </a:pPr>
                <a:endParaRPr lang="en-US" dirty="0">
                  <a:solidFill>
                    <a:srgbClr val="FFFFFF"/>
                  </a:solidFill>
                  <a:latin typeface="Arial"/>
                  <a:cs typeface=""/>
                </a:endParaRPr>
              </a:p>
            </p:txBody>
          </p:sp>
        </p:grpSp>
        <p:sp>
          <p:nvSpPr>
            <p:cNvPr id="57" name="TextBox 56"/>
            <p:cNvSpPr txBox="1"/>
            <p:nvPr/>
          </p:nvSpPr>
          <p:spPr>
            <a:xfrm>
              <a:off x="5294405" y="3680077"/>
              <a:ext cx="678552" cy="227995"/>
            </a:xfrm>
            <a:prstGeom prst="rect">
              <a:avLst/>
            </a:prstGeom>
            <a:noFill/>
          </p:spPr>
          <p:txBody>
            <a:bodyPr wrap="square" rtlCol="0">
              <a:spAutoFit/>
            </a:bodyPr>
            <a:lstStyle/>
            <a:p>
              <a:pPr algn="ctr" defTabSz="457189">
                <a:defRPr/>
              </a:pPr>
              <a:r>
                <a:rPr lang="en-US" sz="800" b="1" dirty="0">
                  <a:solidFill>
                    <a:srgbClr val="676767"/>
                  </a:solidFill>
                  <a:latin typeface="Arial"/>
                  <a:cs typeface=""/>
                </a:rPr>
                <a:t>macOS</a:t>
              </a:r>
            </a:p>
          </p:txBody>
        </p:sp>
        <p:pic>
          <p:nvPicPr>
            <p:cNvPr id="58" name="Picture 57" descr="Laptop.em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304130" y="3252031"/>
              <a:ext cx="668829" cy="405765"/>
            </a:xfrm>
            <a:prstGeom prst="rect">
              <a:avLst/>
            </a:prstGeom>
          </p:spPr>
        </p:pic>
        <p:sp>
          <p:nvSpPr>
            <p:cNvPr id="64" name="Freeform 63"/>
            <p:cNvSpPr>
              <a:spLocks noEditPoints="1"/>
            </p:cNvSpPr>
            <p:nvPr/>
          </p:nvSpPr>
          <p:spPr bwMode="auto">
            <a:xfrm>
              <a:off x="5846127" y="3193159"/>
              <a:ext cx="130333" cy="167787"/>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defTabSz="457189">
                <a:defRPr/>
              </a:pPr>
              <a:endParaRPr lang="en-US" dirty="0">
                <a:solidFill>
                  <a:srgbClr val="FFFFFF"/>
                </a:solidFill>
                <a:latin typeface="Arial"/>
                <a:cs typeface=""/>
              </a:endParaRPr>
            </a:p>
          </p:txBody>
        </p:sp>
        <p:sp>
          <p:nvSpPr>
            <p:cNvPr id="68" name="TextBox 67"/>
            <p:cNvSpPr txBox="1"/>
            <p:nvPr/>
          </p:nvSpPr>
          <p:spPr>
            <a:xfrm>
              <a:off x="5884232" y="3526450"/>
              <a:ext cx="1219200" cy="461665"/>
            </a:xfrm>
            <a:prstGeom prst="rect">
              <a:avLst/>
            </a:prstGeom>
            <a:noFill/>
          </p:spPr>
          <p:txBody>
            <a:bodyPr wrap="square" rtlCol="0">
              <a:spAutoFit/>
            </a:bodyPr>
            <a:lstStyle/>
            <a:p>
              <a:pPr algn="ctr" defTabSz="457189">
                <a:defRPr/>
              </a:pPr>
              <a:r>
                <a:rPr lang="en-US" sz="800" b="1" dirty="0" err="1">
                  <a:solidFill>
                    <a:srgbClr val="676767"/>
                  </a:solidFill>
                  <a:latin typeface="Arial"/>
                  <a:cs typeface=""/>
                </a:rPr>
                <a:t>CentOS</a:t>
              </a:r>
              <a:r>
                <a:rPr lang="en-US" sz="800" b="1" dirty="0">
                  <a:solidFill>
                    <a:srgbClr val="676767"/>
                  </a:solidFill>
                  <a:latin typeface="Arial"/>
                  <a:cs typeface=""/>
                </a:rPr>
                <a:t>, Red Hat Linux for servers and datacenters</a:t>
              </a:r>
            </a:p>
          </p:txBody>
        </p:sp>
        <p:pic>
          <p:nvPicPr>
            <p:cNvPr id="193" name="Picture 192" descr="LKK59132.png"/>
            <p:cNvPicPr>
              <a:picLocks noChangeAspect="1"/>
            </p:cNvPicPr>
            <p:nvPr/>
          </p:nvPicPr>
          <p:blipFill>
            <a:blip r:embed="rId8" cstate="print"/>
            <a:stretch>
              <a:fillRect/>
            </a:stretch>
          </p:blipFill>
          <p:spPr>
            <a:xfrm>
              <a:off x="1408540" y="1646031"/>
              <a:ext cx="1033315" cy="640080"/>
            </a:xfrm>
            <a:prstGeom prst="rect">
              <a:avLst/>
            </a:prstGeom>
            <a:noFill/>
            <a:ln>
              <a:noFill/>
            </a:ln>
          </p:spPr>
        </p:pic>
        <p:sp>
          <p:nvSpPr>
            <p:cNvPr id="195" name="Rounded Rectangle 194"/>
            <p:cNvSpPr/>
            <p:nvPr/>
          </p:nvSpPr>
          <p:spPr>
            <a:xfrm>
              <a:off x="6621737" y="2477876"/>
              <a:ext cx="1828800" cy="457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defRPr/>
              </a:pPr>
              <a:r>
                <a:rPr lang="en-US" sz="800" b="1" dirty="0">
                  <a:solidFill>
                    <a:srgbClr val="435153"/>
                  </a:solidFill>
                </a:rPr>
                <a:t>AMP on Web and Email Security Appliances</a:t>
              </a:r>
            </a:p>
          </p:txBody>
        </p:sp>
        <p:pic>
          <p:nvPicPr>
            <p:cNvPr id="196" name="Picture 19" descr="HKK06040_S670_small.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bwMode="auto">
            <a:xfrm>
              <a:off x="6983773" y="2196094"/>
              <a:ext cx="1102904" cy="350023"/>
            </a:xfrm>
            <a:prstGeom prst="rect">
              <a:avLst/>
            </a:prstGeom>
            <a:noFill/>
            <a:ln>
              <a:noFill/>
            </a:ln>
          </p:spPr>
        </p:pic>
        <p:grpSp>
          <p:nvGrpSpPr>
            <p:cNvPr id="20" name="Group 196"/>
            <p:cNvGrpSpPr/>
            <p:nvPr/>
          </p:nvGrpSpPr>
          <p:grpSpPr>
            <a:xfrm>
              <a:off x="7753257" y="2114935"/>
              <a:ext cx="327141" cy="273174"/>
              <a:chOff x="2372033" y="1293009"/>
              <a:chExt cx="406084" cy="339095"/>
            </a:xfrm>
          </p:grpSpPr>
          <p:sp>
            <p:nvSpPr>
              <p:cNvPr id="198" name="Rectangle 197"/>
              <p:cNvSpPr/>
              <p:nvPr/>
            </p:nvSpPr>
            <p:spPr>
              <a:xfrm>
                <a:off x="2619108" y="1351718"/>
                <a:ext cx="115507" cy="24383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199" name="Rectangle 198"/>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200" name="Freeform 199"/>
              <p:cNvSpPr>
                <a:spLocks noEditPoints="1"/>
              </p:cNvSpPr>
              <p:nvPr/>
            </p:nvSpPr>
            <p:spPr bwMode="auto">
              <a:xfrm>
                <a:off x="2579410" y="1390436"/>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grpSp>
        <p:grpSp>
          <p:nvGrpSpPr>
            <p:cNvPr id="23" name="Group 200"/>
            <p:cNvGrpSpPr/>
            <p:nvPr/>
          </p:nvGrpSpPr>
          <p:grpSpPr>
            <a:xfrm>
              <a:off x="4478167" y="1273134"/>
              <a:ext cx="424315" cy="197580"/>
              <a:chOff x="2353909" y="1168684"/>
              <a:chExt cx="526708" cy="245259"/>
            </a:xfrm>
          </p:grpSpPr>
          <p:sp>
            <p:nvSpPr>
              <p:cNvPr id="202" name="Rectangle 201"/>
              <p:cNvSpPr/>
              <p:nvPr/>
            </p:nvSpPr>
            <p:spPr>
              <a:xfrm flipV="1">
                <a:off x="2353909" y="1168684"/>
                <a:ext cx="526708" cy="20532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203" name="Rectangle 202"/>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204" name="Freeform 203"/>
              <p:cNvSpPr>
                <a:spLocks noEditPoints="1"/>
              </p:cNvSpPr>
              <p:nvPr/>
            </p:nvSpPr>
            <p:spPr bwMode="auto">
              <a:xfrm>
                <a:off x="2528075" y="1172274"/>
                <a:ext cx="198708" cy="241669"/>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grpSp>
        <p:sp>
          <p:nvSpPr>
            <p:cNvPr id="205" name="Rounded Rectangle 204"/>
            <p:cNvSpPr/>
            <p:nvPr/>
          </p:nvSpPr>
          <p:spPr>
            <a:xfrm>
              <a:off x="1003121" y="2138478"/>
              <a:ext cx="1828800" cy="457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defRPr/>
              </a:pPr>
              <a:r>
                <a:rPr lang="en-US" sz="800" b="1" dirty="0">
                  <a:solidFill>
                    <a:srgbClr val="435153"/>
                  </a:solidFill>
                </a:rPr>
                <a:t>AMP on Cisco</a:t>
              </a:r>
              <a:r>
                <a:rPr lang="en-US" sz="800" b="1" baseline="30000" dirty="0">
                  <a:solidFill>
                    <a:srgbClr val="435153"/>
                  </a:solidFill>
                </a:rPr>
                <a:t>®</a:t>
              </a:r>
              <a:r>
                <a:rPr lang="en-US" sz="800" b="1" dirty="0">
                  <a:solidFill>
                    <a:srgbClr val="435153"/>
                  </a:solidFill>
                </a:rPr>
                <a:t>  ASA Firewall </a:t>
              </a:r>
              <a:br>
                <a:rPr lang="en-US" sz="800" b="1" dirty="0">
                  <a:solidFill>
                    <a:srgbClr val="435153"/>
                  </a:solidFill>
                </a:rPr>
              </a:br>
              <a:r>
                <a:rPr lang="en-US" sz="800" b="1" dirty="0">
                  <a:solidFill>
                    <a:srgbClr val="435153"/>
                  </a:solidFill>
                </a:rPr>
                <a:t>with Firepower Services</a:t>
              </a:r>
            </a:p>
          </p:txBody>
        </p:sp>
        <p:sp>
          <p:nvSpPr>
            <p:cNvPr id="206" name="Rounded Rectangle 205"/>
            <p:cNvSpPr/>
            <p:nvPr/>
          </p:nvSpPr>
          <p:spPr>
            <a:xfrm>
              <a:off x="5301829" y="1882119"/>
              <a:ext cx="1828800" cy="457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defRPr/>
              </a:pPr>
              <a:r>
                <a:rPr lang="en-US" sz="800" b="1" dirty="0">
                  <a:solidFill>
                    <a:srgbClr val="435153"/>
                  </a:solidFill>
                </a:rPr>
                <a:t>AMP Private Cloud </a:t>
              </a:r>
            </a:p>
            <a:p>
              <a:pPr algn="ctr">
                <a:lnSpc>
                  <a:spcPct val="85000"/>
                </a:lnSpc>
                <a:defRPr/>
              </a:pPr>
              <a:r>
                <a:rPr lang="en-US" sz="800" b="1" dirty="0">
                  <a:solidFill>
                    <a:srgbClr val="435153"/>
                  </a:solidFill>
                </a:rPr>
                <a:t>Virtual Appliance</a:t>
              </a:r>
            </a:p>
          </p:txBody>
        </p:sp>
        <p:sp>
          <p:nvSpPr>
            <p:cNvPr id="208" name="Rounded Rectangle 207"/>
            <p:cNvSpPr/>
            <p:nvPr/>
          </p:nvSpPr>
          <p:spPr>
            <a:xfrm>
              <a:off x="2236182" y="1720092"/>
              <a:ext cx="1941452" cy="457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b="1" dirty="0">
                  <a:solidFill>
                    <a:srgbClr val="435153"/>
                  </a:solidFill>
                </a:rPr>
                <a:t>AMP on Firepower NGIPS Appliance </a:t>
              </a:r>
            </a:p>
            <a:p>
              <a:pPr algn="ctr">
                <a:defRPr/>
              </a:pPr>
              <a:r>
                <a:rPr lang="en-US" sz="800" b="1" dirty="0">
                  <a:solidFill>
                    <a:srgbClr val="435153"/>
                  </a:solidFill>
                </a:rPr>
                <a:t>(AMP for Networks)</a:t>
              </a:r>
            </a:p>
          </p:txBody>
        </p:sp>
        <p:pic>
          <p:nvPicPr>
            <p:cNvPr id="209" name="Picture 3" descr="SF8K2U.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bwMode="auto">
            <a:xfrm>
              <a:off x="2579162" y="1394936"/>
              <a:ext cx="997407" cy="383618"/>
            </a:xfrm>
            <a:prstGeom prst="rect">
              <a:avLst/>
            </a:prstGeom>
            <a:noFill/>
            <a:ln>
              <a:noFill/>
            </a:ln>
          </p:spPr>
        </p:pic>
        <p:grpSp>
          <p:nvGrpSpPr>
            <p:cNvPr id="24" name="Group 209"/>
            <p:cNvGrpSpPr/>
            <p:nvPr/>
          </p:nvGrpSpPr>
          <p:grpSpPr>
            <a:xfrm>
              <a:off x="3434927" y="1219777"/>
              <a:ext cx="164079" cy="295792"/>
              <a:chOff x="2831105" y="944104"/>
              <a:chExt cx="203673" cy="367172"/>
            </a:xfrm>
          </p:grpSpPr>
          <p:sp>
            <p:nvSpPr>
              <p:cNvPr id="212" name="Rectangle 211"/>
              <p:cNvSpPr/>
              <p:nvPr/>
            </p:nvSpPr>
            <p:spPr>
              <a:xfrm rot="3622272" flipH="1" flipV="1">
                <a:off x="2756173" y="1019036"/>
                <a:ext cx="333550" cy="18368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213" name="Freeform 212"/>
              <p:cNvSpPr>
                <a:spLocks noEditPoints="1"/>
              </p:cNvSpPr>
              <p:nvPr/>
            </p:nvSpPr>
            <p:spPr bwMode="auto">
              <a:xfrm>
                <a:off x="2836071" y="1069607"/>
                <a:ext cx="198707" cy="241669"/>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grpSp>
        <p:grpSp>
          <p:nvGrpSpPr>
            <p:cNvPr id="29" name="Group 213"/>
            <p:cNvGrpSpPr/>
            <p:nvPr/>
          </p:nvGrpSpPr>
          <p:grpSpPr>
            <a:xfrm>
              <a:off x="2262082" y="1827379"/>
              <a:ext cx="160447" cy="194684"/>
              <a:chOff x="2823237" y="864272"/>
              <a:chExt cx="199165" cy="241664"/>
            </a:xfrm>
          </p:grpSpPr>
          <p:sp>
            <p:nvSpPr>
              <p:cNvPr id="216" name="Rectangle 215"/>
              <p:cNvSpPr/>
              <p:nvPr/>
            </p:nvSpPr>
            <p:spPr>
              <a:xfrm rot="3622272" flipH="1" flipV="1">
                <a:off x="2852880" y="899788"/>
                <a:ext cx="169072" cy="169972"/>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217" name="Freeform 216"/>
              <p:cNvSpPr>
                <a:spLocks noEditPoints="1"/>
              </p:cNvSpPr>
              <p:nvPr/>
            </p:nvSpPr>
            <p:spPr bwMode="auto">
              <a:xfrm>
                <a:off x="2823237" y="864272"/>
                <a:ext cx="198706" cy="241664"/>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grpSp>
        <p:sp>
          <p:nvSpPr>
            <p:cNvPr id="222" name="Rounded Rectangle 221"/>
            <p:cNvSpPr/>
            <p:nvPr/>
          </p:nvSpPr>
          <p:spPr>
            <a:xfrm>
              <a:off x="7489403" y="3370215"/>
              <a:ext cx="1828800" cy="457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85000"/>
                </a:lnSpc>
                <a:defRPr/>
              </a:pPr>
              <a:r>
                <a:rPr lang="en-US" sz="800" b="1" dirty="0">
                  <a:solidFill>
                    <a:srgbClr val="435153"/>
                  </a:solidFill>
                </a:rPr>
                <a:t>AMP on Cloud Web Security, Hosted Email and Umbrella</a:t>
              </a:r>
            </a:p>
          </p:txBody>
        </p:sp>
        <p:pic>
          <p:nvPicPr>
            <p:cNvPr id="223" name="Picture 222" descr="Website.emf"/>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037624" y="3048852"/>
              <a:ext cx="289979" cy="251161"/>
            </a:xfrm>
            <a:prstGeom prst="rect">
              <a:avLst/>
            </a:prstGeom>
          </p:spPr>
        </p:pic>
        <p:pic>
          <p:nvPicPr>
            <p:cNvPr id="224" name="Picture 223" descr="Email.emf"/>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7936662" y="3262458"/>
              <a:ext cx="258543" cy="152555"/>
            </a:xfrm>
            <a:prstGeom prst="rect">
              <a:avLst/>
            </a:prstGeom>
          </p:spPr>
        </p:pic>
        <p:sp>
          <p:nvSpPr>
            <p:cNvPr id="225" name="Freeform 224"/>
            <p:cNvSpPr>
              <a:spLocks/>
            </p:cNvSpPr>
            <p:nvPr/>
          </p:nvSpPr>
          <p:spPr bwMode="auto">
            <a:xfrm>
              <a:off x="8195204" y="3043645"/>
              <a:ext cx="853980" cy="381328"/>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chemeClr val="accent5">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182880" rIns="91424" bIns="45712" rtlCol="0" anchor="ctr"/>
            <a:lstStyle/>
            <a:p>
              <a:pPr algn="ctr">
                <a:defRPr/>
              </a:pPr>
              <a:r>
                <a:rPr lang="en-US" sz="900" b="1" dirty="0">
                  <a:solidFill>
                    <a:srgbClr val="435153"/>
                  </a:solidFill>
                </a:rPr>
                <a:t>CWS/SIG</a:t>
              </a:r>
            </a:p>
          </p:txBody>
        </p:sp>
        <p:grpSp>
          <p:nvGrpSpPr>
            <p:cNvPr id="31" name="Group 225"/>
            <p:cNvGrpSpPr/>
            <p:nvPr/>
          </p:nvGrpSpPr>
          <p:grpSpPr>
            <a:xfrm>
              <a:off x="8512349" y="2731976"/>
              <a:ext cx="290049" cy="372686"/>
              <a:chOff x="2353909" y="1220816"/>
              <a:chExt cx="360041" cy="462622"/>
            </a:xfrm>
          </p:grpSpPr>
          <p:sp>
            <p:nvSpPr>
              <p:cNvPr id="227" name="Rectangle 226"/>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228" name="Rectangle 227"/>
              <p:cNvSpPr/>
              <p:nvPr/>
            </p:nvSpPr>
            <p:spPr>
              <a:xfrm rot="3622272">
                <a:off x="2530291" y="1476380"/>
                <a:ext cx="183291" cy="161617"/>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229" name="Freeform 228"/>
              <p:cNvSpPr>
                <a:spLocks noEditPoints="1"/>
              </p:cNvSpPr>
              <p:nvPr/>
            </p:nvSpPr>
            <p:spPr bwMode="auto">
              <a:xfrm>
                <a:off x="2515244" y="1441770"/>
                <a:ext cx="198706"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grpSp>
        <p:sp>
          <p:nvSpPr>
            <p:cNvPr id="230" name="Rounded Rectangle 229"/>
            <p:cNvSpPr/>
            <p:nvPr/>
          </p:nvSpPr>
          <p:spPr>
            <a:xfrm>
              <a:off x="3781180" y="1741090"/>
              <a:ext cx="1828800" cy="457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4654">
                <a:defRPr/>
              </a:pPr>
              <a:r>
                <a:rPr lang="en-US" sz="800" b="1" dirty="0">
                  <a:solidFill>
                    <a:srgbClr val="435153"/>
                  </a:solidFill>
                </a:rPr>
                <a:t>Threat Grid</a:t>
              </a:r>
            </a:p>
            <a:p>
              <a:pPr algn="ctr" defTabSz="884654">
                <a:defRPr/>
              </a:pPr>
              <a:r>
                <a:rPr lang="en-US" sz="800" b="1" dirty="0">
                  <a:solidFill>
                    <a:srgbClr val="435153"/>
                  </a:solidFill>
                </a:rPr>
                <a:t>Malware Analysis + Threat Intelligence Engine</a:t>
              </a:r>
            </a:p>
          </p:txBody>
        </p:sp>
        <p:sp>
          <p:nvSpPr>
            <p:cNvPr id="231" name="Rounded Rectangle 230"/>
            <p:cNvSpPr/>
            <p:nvPr/>
          </p:nvSpPr>
          <p:spPr>
            <a:xfrm>
              <a:off x="261431" y="2810404"/>
              <a:ext cx="1828800" cy="457200"/>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b="1" dirty="0">
                  <a:solidFill>
                    <a:srgbClr val="435153"/>
                  </a:solidFill>
                </a:rPr>
                <a:t>AMP on ISR with Firepower Services</a:t>
              </a:r>
            </a:p>
          </p:txBody>
        </p:sp>
        <p:sp>
          <p:nvSpPr>
            <p:cNvPr id="232" name="Freeform 231"/>
            <p:cNvSpPr>
              <a:spLocks noChangeAspect="1"/>
            </p:cNvSpPr>
            <p:nvPr/>
          </p:nvSpPr>
          <p:spPr bwMode="auto">
            <a:xfrm>
              <a:off x="3939851" y="1303331"/>
              <a:ext cx="779341" cy="347998"/>
            </a:xfrm>
            <a:custGeom>
              <a:avLst/>
              <a:gdLst>
                <a:gd name="T0" fmla="*/ 699 w 799"/>
                <a:gd name="T1" fmla="*/ 264 h 464"/>
                <a:gd name="T2" fmla="*/ 698 w 799"/>
                <a:gd name="T3" fmla="*/ 264 h 464"/>
                <a:gd name="T4" fmla="*/ 699 w 799"/>
                <a:gd name="T5" fmla="*/ 253 h 464"/>
                <a:gd name="T6" fmla="*/ 635 w 799"/>
                <a:gd name="T7" fmla="*/ 190 h 464"/>
                <a:gd name="T8" fmla="*/ 623 w 799"/>
                <a:gd name="T9" fmla="*/ 191 h 464"/>
                <a:gd name="T10" fmla="*/ 629 w 799"/>
                <a:gd name="T11" fmla="*/ 153 h 464"/>
                <a:gd name="T12" fmla="*/ 457 w 799"/>
                <a:gd name="T13" fmla="*/ 0 h 464"/>
                <a:gd name="T14" fmla="*/ 288 w 799"/>
                <a:gd name="T15" fmla="*/ 124 h 464"/>
                <a:gd name="T16" fmla="*/ 229 w 799"/>
                <a:gd name="T17" fmla="*/ 102 h 464"/>
                <a:gd name="T18" fmla="*/ 138 w 799"/>
                <a:gd name="T19" fmla="*/ 194 h 464"/>
                <a:gd name="T20" fmla="*/ 138 w 799"/>
                <a:gd name="T21" fmla="*/ 199 h 464"/>
                <a:gd name="T22" fmla="*/ 133 w 799"/>
                <a:gd name="T23" fmla="*/ 198 h 464"/>
                <a:gd name="T24" fmla="*/ 0 w 799"/>
                <a:gd name="T25" fmla="*/ 331 h 464"/>
                <a:gd name="T26" fmla="*/ 133 w 799"/>
                <a:gd name="T27" fmla="*/ 464 h 464"/>
                <a:gd name="T28" fmla="*/ 699 w 799"/>
                <a:gd name="T29" fmla="*/ 464 h 464"/>
                <a:gd name="T30" fmla="*/ 799 w 799"/>
                <a:gd name="T31" fmla="*/ 364 h 464"/>
                <a:gd name="T32" fmla="*/ 699 w 799"/>
                <a:gd name="T33" fmla="*/ 264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99" h="464">
                  <a:moveTo>
                    <a:pt x="699" y="264"/>
                  </a:moveTo>
                  <a:cubicBezTo>
                    <a:pt x="698" y="264"/>
                    <a:pt x="698" y="264"/>
                    <a:pt x="698" y="264"/>
                  </a:cubicBezTo>
                  <a:cubicBezTo>
                    <a:pt x="698" y="260"/>
                    <a:pt x="699" y="257"/>
                    <a:pt x="699" y="253"/>
                  </a:cubicBezTo>
                  <a:cubicBezTo>
                    <a:pt x="699" y="218"/>
                    <a:pt x="670" y="190"/>
                    <a:pt x="635" y="190"/>
                  </a:cubicBezTo>
                  <a:cubicBezTo>
                    <a:pt x="631" y="190"/>
                    <a:pt x="627" y="190"/>
                    <a:pt x="623" y="191"/>
                  </a:cubicBezTo>
                  <a:cubicBezTo>
                    <a:pt x="627" y="179"/>
                    <a:pt x="629" y="166"/>
                    <a:pt x="629" y="153"/>
                  </a:cubicBezTo>
                  <a:cubicBezTo>
                    <a:pt x="629" y="69"/>
                    <a:pt x="552" y="0"/>
                    <a:pt x="457" y="0"/>
                  </a:cubicBezTo>
                  <a:cubicBezTo>
                    <a:pt x="373" y="0"/>
                    <a:pt x="304" y="53"/>
                    <a:pt x="288" y="124"/>
                  </a:cubicBezTo>
                  <a:cubicBezTo>
                    <a:pt x="272" y="110"/>
                    <a:pt x="252" y="102"/>
                    <a:pt x="229" y="102"/>
                  </a:cubicBezTo>
                  <a:cubicBezTo>
                    <a:pt x="179" y="102"/>
                    <a:pt x="138" y="143"/>
                    <a:pt x="138" y="194"/>
                  </a:cubicBezTo>
                  <a:cubicBezTo>
                    <a:pt x="138" y="195"/>
                    <a:pt x="138" y="197"/>
                    <a:pt x="138" y="199"/>
                  </a:cubicBezTo>
                  <a:cubicBezTo>
                    <a:pt x="133" y="198"/>
                    <a:pt x="133" y="198"/>
                    <a:pt x="133" y="198"/>
                  </a:cubicBezTo>
                  <a:cubicBezTo>
                    <a:pt x="59" y="198"/>
                    <a:pt x="0" y="257"/>
                    <a:pt x="0" y="331"/>
                  </a:cubicBezTo>
                  <a:cubicBezTo>
                    <a:pt x="0" y="404"/>
                    <a:pt x="59" y="464"/>
                    <a:pt x="133" y="464"/>
                  </a:cubicBezTo>
                  <a:cubicBezTo>
                    <a:pt x="699" y="464"/>
                    <a:pt x="699" y="464"/>
                    <a:pt x="699" y="464"/>
                  </a:cubicBezTo>
                  <a:cubicBezTo>
                    <a:pt x="754" y="464"/>
                    <a:pt x="799" y="419"/>
                    <a:pt x="799" y="364"/>
                  </a:cubicBezTo>
                  <a:cubicBezTo>
                    <a:pt x="799" y="309"/>
                    <a:pt x="754" y="264"/>
                    <a:pt x="699" y="264"/>
                  </a:cubicBezTo>
                  <a:close/>
                </a:path>
              </a:pathLst>
            </a:custGeom>
            <a:solidFill>
              <a:schemeClr val="tx1">
                <a:lumMod val="60000"/>
                <a:lumOff val="4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24" tIns="182880" rIns="91424" bIns="45712" rtlCol="0" anchor="ctr"/>
            <a:lstStyle/>
            <a:p>
              <a:pPr algn="ctr">
                <a:defRPr/>
              </a:pPr>
              <a:endParaRPr lang="en-US" sz="1000" dirty="0">
                <a:solidFill>
                  <a:srgbClr val="435153"/>
                </a:solidFill>
              </a:endParaRPr>
            </a:p>
          </p:txBody>
        </p:sp>
        <p:pic>
          <p:nvPicPr>
            <p:cNvPr id="233" name="Picture 2" descr="http://www.cisco.com/c/dam/en/us/products/collateral/routers/4000-series-integrated-services-routers-isr/datasheet-c78-732542.doc/_jcr_content/renditions/datasheet-c78-732542_0.jp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526316" y="2565610"/>
              <a:ext cx="1245413" cy="274320"/>
            </a:xfrm>
            <a:prstGeom prst="rect">
              <a:avLst/>
            </a:prstGeom>
            <a:noFill/>
            <a:extLst>
              <a:ext uri="{909E8E84-426E-40dd-AFC4-6F175D3DCCD1}">
                <a14:hiddenFill xmlns:a14="http://schemas.microsoft.com/office/drawing/2010/main" xmlns="">
                  <a:solidFill>
                    <a:srgbClr val="FFFFFF"/>
                  </a:solidFill>
                </a14:hiddenFill>
              </a:ext>
            </a:extLst>
          </p:spPr>
        </p:pic>
        <p:grpSp>
          <p:nvGrpSpPr>
            <p:cNvPr id="226" name="Group 233"/>
            <p:cNvGrpSpPr/>
            <p:nvPr/>
          </p:nvGrpSpPr>
          <p:grpSpPr>
            <a:xfrm>
              <a:off x="779734" y="2424862"/>
              <a:ext cx="455465" cy="522971"/>
              <a:chOff x="2353909" y="671777"/>
              <a:chExt cx="565374" cy="649172"/>
            </a:xfrm>
          </p:grpSpPr>
          <p:sp>
            <p:nvSpPr>
              <p:cNvPr id="235" name="Rectangle 234"/>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237" name="Freeform 236"/>
              <p:cNvSpPr>
                <a:spLocks noEditPoints="1"/>
              </p:cNvSpPr>
              <p:nvPr/>
            </p:nvSpPr>
            <p:spPr bwMode="auto">
              <a:xfrm>
                <a:off x="2720576" y="671777"/>
                <a:ext cx="198707" cy="241667"/>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grpSp>
        <p:sp>
          <p:nvSpPr>
            <p:cNvPr id="240" name="Oval 239"/>
            <p:cNvSpPr/>
            <p:nvPr/>
          </p:nvSpPr>
          <p:spPr>
            <a:xfrm>
              <a:off x="2047875" y="2443270"/>
              <a:ext cx="5220032" cy="2185880"/>
            </a:xfrm>
            <a:prstGeom prst="ellipse">
              <a:avLst/>
            </a:prstGeom>
            <a:noFill/>
            <a:ln w="1905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dirty="0">
                <a:solidFill>
                  <a:srgbClr val="FFFFFF"/>
                </a:solidFill>
              </a:endParaRPr>
            </a:p>
          </p:txBody>
        </p:sp>
        <p:sp>
          <p:nvSpPr>
            <p:cNvPr id="7" name="Rounded Rectangle 6"/>
            <p:cNvSpPr/>
            <p:nvPr/>
          </p:nvSpPr>
          <p:spPr>
            <a:xfrm rot="1022444">
              <a:off x="5731367" y="2545950"/>
              <a:ext cx="910921" cy="336748"/>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rgbClr val="FFFFFF"/>
                  </a:solidFill>
                </a:rPr>
                <a:t>Endpoints</a:t>
              </a:r>
            </a:p>
          </p:txBody>
        </p:sp>
        <p:sp>
          <p:nvSpPr>
            <p:cNvPr id="8" name="Rounded Rectangle 7"/>
            <p:cNvSpPr/>
            <p:nvPr/>
          </p:nvSpPr>
          <p:spPr>
            <a:xfrm rot="20847683">
              <a:off x="2706664" y="2532368"/>
              <a:ext cx="910921" cy="336748"/>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rgbClr val="FFFFFF"/>
                  </a:solidFill>
                </a:rPr>
                <a:t>Endpoints</a:t>
              </a:r>
            </a:p>
          </p:txBody>
        </p:sp>
        <p:sp>
          <p:nvSpPr>
            <p:cNvPr id="118" name="Rounded Rectangle 117"/>
            <p:cNvSpPr/>
            <p:nvPr/>
          </p:nvSpPr>
          <p:spPr>
            <a:xfrm rot="17029271">
              <a:off x="-54623" y="4159312"/>
              <a:ext cx="810297" cy="381907"/>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r>
                <a:rPr lang="en-US" sz="1000" b="1" dirty="0">
                  <a:solidFill>
                    <a:srgbClr val="FFFFFF"/>
                  </a:solidFill>
                </a:rPr>
                <a:t>Network Edge</a:t>
              </a:r>
            </a:p>
          </p:txBody>
        </p:sp>
        <p:cxnSp>
          <p:nvCxnSpPr>
            <p:cNvPr id="9" name="Straight Connector 8"/>
            <p:cNvCxnSpPr/>
            <p:nvPr/>
          </p:nvCxnSpPr>
          <p:spPr>
            <a:xfrm flipV="1">
              <a:off x="7056142" y="1472451"/>
              <a:ext cx="152778" cy="512871"/>
            </a:xfrm>
            <a:prstGeom prst="line">
              <a:avLst/>
            </a:prstGeom>
            <a:ln w="19050">
              <a:solidFill>
                <a:schemeClr val="accent5"/>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flipV="1">
              <a:off x="7056142" y="1497433"/>
              <a:ext cx="1034592" cy="489299"/>
            </a:xfrm>
            <a:prstGeom prst="line">
              <a:avLst/>
            </a:prstGeom>
            <a:ln w="19050">
              <a:solidFill>
                <a:schemeClr val="accent5"/>
              </a:solidFill>
              <a:prstDash val="sysDot"/>
              <a:headEnd type="oval" w="med" len="med"/>
              <a:tailEnd type="oval" w="med" len="med"/>
            </a:ln>
          </p:spPr>
          <p:style>
            <a:lnRef idx="1">
              <a:schemeClr val="accent1"/>
            </a:lnRef>
            <a:fillRef idx="0">
              <a:schemeClr val="accent1"/>
            </a:fillRef>
            <a:effectRef idx="0">
              <a:schemeClr val="accent1"/>
            </a:effectRef>
            <a:fontRef idx="minor">
              <a:schemeClr val="tx1"/>
            </a:fontRef>
          </p:style>
        </p:cxnSp>
        <p:pic>
          <p:nvPicPr>
            <p:cNvPr id="111" name="Picture 110" descr="Laptop.emf"/>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84406" y="893461"/>
              <a:ext cx="668829" cy="405765"/>
            </a:xfrm>
            <a:prstGeom prst="rect">
              <a:avLst/>
            </a:prstGeom>
          </p:spPr>
        </p:pic>
        <p:grpSp>
          <p:nvGrpSpPr>
            <p:cNvPr id="234" name="Group 111"/>
            <p:cNvGrpSpPr/>
            <p:nvPr/>
          </p:nvGrpSpPr>
          <p:grpSpPr>
            <a:xfrm>
              <a:off x="6902953" y="980516"/>
              <a:ext cx="481765" cy="401410"/>
              <a:chOff x="9372153" y="5559635"/>
              <a:chExt cx="775294" cy="646148"/>
            </a:xfrm>
          </p:grpSpPr>
          <p:pic>
            <p:nvPicPr>
              <p:cNvPr id="113" name="Picture 112" descr="Tablet.emf"/>
              <p:cNvPicPr>
                <a:picLocks noChangeAspect="1"/>
              </p:cNvPicPr>
              <p:nvPr/>
            </p:nvPicPr>
            <p:blipFill>
              <a:blip r:embed="rId5" cstate="email">
                <a:grayscl/>
                <a:extLst>
                  <a:ext uri="{28A0092B-C50C-407E-A947-70E740481C1C}">
                    <a14:useLocalDpi xmlns:a14="http://schemas.microsoft.com/office/drawing/2010/main"/>
                  </a:ext>
                </a:extLst>
              </a:blip>
              <a:stretch>
                <a:fillRect/>
              </a:stretch>
            </p:blipFill>
            <p:spPr>
              <a:xfrm rot="5400000">
                <a:off x="9629213" y="5687549"/>
                <a:ext cx="586502" cy="449966"/>
              </a:xfrm>
              <a:prstGeom prst="rect">
                <a:avLst/>
              </a:prstGeom>
              <a:noFill/>
              <a:ln>
                <a:noFill/>
              </a:ln>
            </p:spPr>
          </p:pic>
          <p:pic>
            <p:nvPicPr>
              <p:cNvPr id="114" name="Picture 113" descr="Smartphone.emf"/>
              <p:cNvPicPr>
                <a:picLocks noChangeAspect="1"/>
              </p:cNvPicPr>
              <p:nvPr/>
            </p:nvPicPr>
            <p:blipFill>
              <a:blip r:embed="rId6" cstate="email">
                <a:grayscl/>
                <a:extLst>
                  <a:ext uri="{28A0092B-C50C-407E-A947-70E740481C1C}">
                    <a14:useLocalDpi xmlns:a14="http://schemas.microsoft.com/office/drawing/2010/main"/>
                  </a:ext>
                </a:extLst>
              </a:blip>
              <a:stretch>
                <a:fillRect/>
              </a:stretch>
            </p:blipFill>
            <p:spPr>
              <a:xfrm>
                <a:off x="9372153" y="5559635"/>
                <a:ext cx="286006" cy="437420"/>
              </a:xfrm>
              <a:prstGeom prst="rect">
                <a:avLst/>
              </a:prstGeom>
              <a:noFill/>
              <a:ln>
                <a:noFill/>
              </a:ln>
            </p:spPr>
          </p:pic>
        </p:grpSp>
        <p:grpSp>
          <p:nvGrpSpPr>
            <p:cNvPr id="239" name="Group 119"/>
            <p:cNvGrpSpPr/>
            <p:nvPr/>
          </p:nvGrpSpPr>
          <p:grpSpPr>
            <a:xfrm>
              <a:off x="8397211" y="785123"/>
              <a:ext cx="160078" cy="194688"/>
              <a:chOff x="2322747" y="1197939"/>
              <a:chExt cx="198707" cy="241668"/>
            </a:xfrm>
          </p:grpSpPr>
          <p:sp>
            <p:nvSpPr>
              <p:cNvPr id="121" name="Rectangle 120"/>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122" name="Rectangle 121"/>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123" name="Freeform 122"/>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grpSp>
        <p:grpSp>
          <p:nvGrpSpPr>
            <p:cNvPr id="241" name="Group 123"/>
            <p:cNvGrpSpPr/>
            <p:nvPr/>
          </p:nvGrpSpPr>
          <p:grpSpPr>
            <a:xfrm>
              <a:off x="7331530" y="877586"/>
              <a:ext cx="160078" cy="194688"/>
              <a:chOff x="2322747" y="1197939"/>
              <a:chExt cx="198707" cy="241668"/>
            </a:xfrm>
          </p:grpSpPr>
          <p:sp>
            <p:nvSpPr>
              <p:cNvPr id="125" name="Rectangle 124"/>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126" name="Rectangle 125"/>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127" name="Freeform 126"/>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grpSp>
        <p:sp>
          <p:nvSpPr>
            <p:cNvPr id="143" name="Rounded Rectangle 142"/>
            <p:cNvSpPr/>
            <p:nvPr/>
          </p:nvSpPr>
          <p:spPr>
            <a:xfrm>
              <a:off x="3775370" y="2495550"/>
              <a:ext cx="1828800" cy="273151"/>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b="1" dirty="0">
                  <a:solidFill>
                    <a:srgbClr val="435153"/>
                  </a:solidFill>
                </a:rPr>
                <a:t>AMP for Endpoints</a:t>
              </a:r>
            </a:p>
          </p:txBody>
        </p:sp>
        <p:sp>
          <p:nvSpPr>
            <p:cNvPr id="144" name="Rounded Rectangle 143"/>
            <p:cNvSpPr/>
            <p:nvPr/>
          </p:nvSpPr>
          <p:spPr>
            <a:xfrm rot="4480115">
              <a:off x="8476423" y="4167848"/>
              <a:ext cx="772493" cy="360535"/>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000" b="1" dirty="0">
                  <a:solidFill>
                    <a:srgbClr val="FFFFFF"/>
                  </a:solidFill>
                </a:rPr>
                <a:t>Data Center</a:t>
              </a:r>
            </a:p>
          </p:txBody>
        </p:sp>
        <p:sp>
          <p:nvSpPr>
            <p:cNvPr id="145" name="Oval 144"/>
            <p:cNvSpPr/>
            <p:nvPr/>
          </p:nvSpPr>
          <p:spPr>
            <a:xfrm>
              <a:off x="6416033" y="415504"/>
              <a:ext cx="2668281" cy="1201572"/>
            </a:xfrm>
            <a:prstGeom prst="ellipse">
              <a:avLst/>
            </a:prstGeom>
            <a:noFill/>
            <a:ln w="19050">
              <a:solidFill>
                <a:schemeClr val="accent5"/>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defRPr/>
              </a:pPr>
              <a:endParaRPr lang="en-US" dirty="0">
                <a:solidFill>
                  <a:srgbClr val="FFFFFF"/>
                </a:solidFill>
              </a:endParaRPr>
            </a:p>
          </p:txBody>
        </p:sp>
        <p:sp>
          <p:nvSpPr>
            <p:cNvPr id="148" name="Rounded Rectangle 147"/>
            <p:cNvSpPr/>
            <p:nvPr/>
          </p:nvSpPr>
          <p:spPr>
            <a:xfrm>
              <a:off x="6677796" y="577598"/>
              <a:ext cx="1828800" cy="273151"/>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b="1" dirty="0">
                  <a:solidFill>
                    <a:srgbClr val="435153"/>
                  </a:solidFill>
                </a:rPr>
                <a:t>AMP for Endpoints</a:t>
              </a:r>
            </a:p>
          </p:txBody>
        </p:sp>
        <p:sp>
          <p:nvSpPr>
            <p:cNvPr id="149" name="Rounded Rectangle 148"/>
            <p:cNvSpPr/>
            <p:nvPr/>
          </p:nvSpPr>
          <p:spPr>
            <a:xfrm>
              <a:off x="6858000" y="333375"/>
              <a:ext cx="1381789" cy="207586"/>
            </a:xfrm>
            <a:prstGeom prst="roundRect">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900" b="1" dirty="0">
                  <a:solidFill>
                    <a:srgbClr val="FFFFFF"/>
                  </a:solidFill>
                </a:rPr>
                <a:t>Remote Endpoints</a:t>
              </a:r>
            </a:p>
          </p:txBody>
        </p:sp>
        <p:grpSp>
          <p:nvGrpSpPr>
            <p:cNvPr id="242" name="Group 128"/>
            <p:cNvGrpSpPr/>
            <p:nvPr/>
          </p:nvGrpSpPr>
          <p:grpSpPr>
            <a:xfrm>
              <a:off x="5800725" y="1385460"/>
              <a:ext cx="805437" cy="548196"/>
              <a:chOff x="5800725" y="1385460"/>
              <a:chExt cx="805437" cy="548196"/>
            </a:xfrm>
          </p:grpSpPr>
          <p:sp>
            <p:nvSpPr>
              <p:cNvPr id="120" name="Rectangle 119"/>
              <p:cNvSpPr/>
              <p:nvPr/>
            </p:nvSpPr>
            <p:spPr>
              <a:xfrm>
                <a:off x="5800725" y="1562100"/>
                <a:ext cx="444500" cy="9842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FFFFFF"/>
                  </a:solidFill>
                </a:endParaRPr>
              </a:p>
            </p:txBody>
          </p:sp>
          <p:sp>
            <p:nvSpPr>
              <p:cNvPr id="207" name="Freeform 25"/>
              <p:cNvSpPr>
                <a:spLocks noChangeAspect="1" noEditPoints="1"/>
              </p:cNvSpPr>
              <p:nvPr/>
            </p:nvSpPr>
            <p:spPr bwMode="auto">
              <a:xfrm>
                <a:off x="5836607" y="1385460"/>
                <a:ext cx="769555" cy="548196"/>
              </a:xfrm>
              <a:custGeom>
                <a:avLst/>
                <a:gdLst>
                  <a:gd name="T0" fmla="*/ 79 w 471"/>
                  <a:gd name="T1" fmla="*/ 102 h 312"/>
                  <a:gd name="T2" fmla="*/ 115 w 471"/>
                  <a:gd name="T3" fmla="*/ 69 h 312"/>
                  <a:gd name="T4" fmla="*/ 169 w 471"/>
                  <a:gd name="T5" fmla="*/ 58 h 312"/>
                  <a:gd name="T6" fmla="*/ 381 w 471"/>
                  <a:gd name="T7" fmla="*/ 99 h 312"/>
                  <a:gd name="T8" fmla="*/ 178 w 471"/>
                  <a:gd name="T9" fmla="*/ 40 h 312"/>
                  <a:gd name="T10" fmla="*/ 186 w 471"/>
                  <a:gd name="T11" fmla="*/ 37 h 312"/>
                  <a:gd name="T12" fmla="*/ 326 w 471"/>
                  <a:gd name="T13" fmla="*/ 17 h 312"/>
                  <a:gd name="T14" fmla="*/ 295 w 471"/>
                  <a:gd name="T15" fmla="*/ 8 h 312"/>
                  <a:gd name="T16" fmla="*/ 288 w 471"/>
                  <a:gd name="T17" fmla="*/ 2 h 312"/>
                  <a:gd name="T18" fmla="*/ 377 w 471"/>
                  <a:gd name="T19" fmla="*/ 107 h 312"/>
                  <a:gd name="T20" fmla="*/ 393 w 471"/>
                  <a:gd name="T21" fmla="*/ 118 h 312"/>
                  <a:gd name="T22" fmla="*/ 421 w 471"/>
                  <a:gd name="T23" fmla="*/ 155 h 312"/>
                  <a:gd name="T24" fmla="*/ 381 w 471"/>
                  <a:gd name="T25" fmla="*/ 308 h 312"/>
                  <a:gd name="T26" fmla="*/ 309 w 471"/>
                  <a:gd name="T27" fmla="*/ 308 h 312"/>
                  <a:gd name="T28" fmla="*/ 280 w 471"/>
                  <a:gd name="T29" fmla="*/ 312 h 312"/>
                  <a:gd name="T30" fmla="*/ 220 w 471"/>
                  <a:gd name="T31" fmla="*/ 308 h 312"/>
                  <a:gd name="T32" fmla="*/ 168 w 471"/>
                  <a:gd name="T33" fmla="*/ 312 h 312"/>
                  <a:gd name="T34" fmla="*/ 140 w 471"/>
                  <a:gd name="T35" fmla="*/ 308 h 312"/>
                  <a:gd name="T36" fmla="*/ 100 w 471"/>
                  <a:gd name="T37" fmla="*/ 308 h 312"/>
                  <a:gd name="T38" fmla="*/ 51 w 471"/>
                  <a:gd name="T39" fmla="*/ 296 h 312"/>
                  <a:gd name="T40" fmla="*/ 42 w 471"/>
                  <a:gd name="T41" fmla="*/ 295 h 312"/>
                  <a:gd name="T42" fmla="*/ 464 w 471"/>
                  <a:gd name="T43" fmla="*/ 265 h 312"/>
                  <a:gd name="T44" fmla="*/ 463 w 471"/>
                  <a:gd name="T45" fmla="*/ 256 h 312"/>
                  <a:gd name="T46" fmla="*/ 467 w 471"/>
                  <a:gd name="T47" fmla="*/ 237 h 312"/>
                  <a:gd name="T48" fmla="*/ 470 w 471"/>
                  <a:gd name="T49" fmla="*/ 217 h 312"/>
                  <a:gd name="T50" fmla="*/ 7 w 471"/>
                  <a:gd name="T51" fmla="*/ 175 h 312"/>
                  <a:gd name="T52" fmla="*/ 13 w 471"/>
                  <a:gd name="T53" fmla="*/ 169 h 312"/>
                  <a:gd name="T54" fmla="*/ 46 w 471"/>
                  <a:gd name="T55" fmla="*/ 131 h 312"/>
                  <a:gd name="T56" fmla="*/ 261 w 471"/>
                  <a:gd name="T57" fmla="*/ 161 h 312"/>
                  <a:gd name="T58" fmla="*/ 149 w 471"/>
                  <a:gd name="T59" fmla="*/ 172 h 312"/>
                  <a:gd name="T60" fmla="*/ 79 w 471"/>
                  <a:gd name="T61" fmla="*/ 234 h 312"/>
                  <a:gd name="T62" fmla="*/ 393 w 471"/>
                  <a:gd name="T63" fmla="*/ 169 h 312"/>
                  <a:gd name="T64" fmla="*/ 164 w 471"/>
                  <a:gd name="T65" fmla="*/ 175 h 312"/>
                  <a:gd name="T66" fmla="*/ 184 w 471"/>
                  <a:gd name="T67" fmla="*/ 176 h 312"/>
                  <a:gd name="T68" fmla="*/ 224 w 471"/>
                  <a:gd name="T69" fmla="*/ 154 h 312"/>
                  <a:gd name="T70" fmla="*/ 278 w 471"/>
                  <a:gd name="T71" fmla="*/ 189 h 312"/>
                  <a:gd name="T72" fmla="*/ 307 w 471"/>
                  <a:gd name="T73" fmla="*/ 189 h 312"/>
                  <a:gd name="T74" fmla="*/ 385 w 471"/>
                  <a:gd name="T75" fmla="*/ 286 h 312"/>
                  <a:gd name="T76" fmla="*/ 349 w 471"/>
                  <a:gd name="T77" fmla="*/ 289 h 312"/>
                  <a:gd name="T78" fmla="*/ 325 w 471"/>
                  <a:gd name="T79" fmla="*/ 293 h 312"/>
                  <a:gd name="T80" fmla="*/ 277 w 471"/>
                  <a:gd name="T81" fmla="*/ 289 h 312"/>
                  <a:gd name="T82" fmla="*/ 237 w 471"/>
                  <a:gd name="T83" fmla="*/ 293 h 312"/>
                  <a:gd name="T84" fmla="*/ 213 w 471"/>
                  <a:gd name="T85" fmla="*/ 289 h 312"/>
                  <a:gd name="T86" fmla="*/ 157 w 471"/>
                  <a:gd name="T87" fmla="*/ 289 h 312"/>
                  <a:gd name="T88" fmla="*/ 133 w 471"/>
                  <a:gd name="T89" fmla="*/ 293 h 312"/>
                  <a:gd name="T90" fmla="*/ 101 w 471"/>
                  <a:gd name="T91" fmla="*/ 293 h 312"/>
                  <a:gd name="T92" fmla="*/ 93 w 471"/>
                  <a:gd name="T93" fmla="*/ 260 h 312"/>
                  <a:gd name="T94" fmla="*/ 89 w 471"/>
                  <a:gd name="T95" fmla="*/ 252 h 312"/>
                  <a:gd name="T96" fmla="*/ 89 w 471"/>
                  <a:gd name="T97" fmla="*/ 236 h 312"/>
                  <a:gd name="T98" fmla="*/ 358 w 471"/>
                  <a:gd name="T99" fmla="*/ 231 h 312"/>
                  <a:gd name="T100" fmla="*/ 334 w 471"/>
                  <a:gd name="T101" fmla="*/ 227 h 312"/>
                  <a:gd name="T102" fmla="*/ 278 w 471"/>
                  <a:gd name="T103" fmla="*/ 227 h 312"/>
                  <a:gd name="T104" fmla="*/ 254 w 471"/>
                  <a:gd name="T105" fmla="*/ 231 h 312"/>
                  <a:gd name="T106" fmla="*/ 206 w 471"/>
                  <a:gd name="T107" fmla="*/ 227 h 312"/>
                  <a:gd name="T108" fmla="*/ 166 w 471"/>
                  <a:gd name="T109" fmla="*/ 231 h 312"/>
                  <a:gd name="T110" fmla="*/ 142 w 471"/>
                  <a:gd name="T111" fmla="*/ 227 h 312"/>
                  <a:gd name="T112" fmla="*/ 150 w 471"/>
                  <a:gd name="T113" fmla="*/ 248 h 312"/>
                  <a:gd name="T114" fmla="*/ 234 w 471"/>
                  <a:gd name="T115" fmla="*/ 272 h 312"/>
                  <a:gd name="T116" fmla="*/ 291 w 471"/>
                  <a:gd name="T117" fmla="*/ 248 h 312"/>
                  <a:gd name="T118" fmla="*/ 126 w 471"/>
                  <a:gd name="T119" fmla="*/ 279 h 312"/>
                  <a:gd name="T120" fmla="*/ 141 w 471"/>
                  <a:gd name="T121" fmla="*/ 245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1" h="312">
                    <a:moveTo>
                      <a:pt x="72" y="119"/>
                    </a:moveTo>
                    <a:cubicBezTo>
                      <a:pt x="70" y="116"/>
                      <a:pt x="70" y="116"/>
                      <a:pt x="70" y="116"/>
                    </a:cubicBezTo>
                    <a:cubicBezTo>
                      <a:pt x="72" y="115"/>
                      <a:pt x="74" y="115"/>
                      <a:pt x="75" y="114"/>
                    </a:cubicBezTo>
                    <a:cubicBezTo>
                      <a:pt x="76" y="113"/>
                      <a:pt x="76" y="111"/>
                      <a:pt x="77" y="110"/>
                    </a:cubicBezTo>
                    <a:cubicBezTo>
                      <a:pt x="80" y="111"/>
                      <a:pt x="80" y="111"/>
                      <a:pt x="80" y="111"/>
                    </a:cubicBezTo>
                    <a:cubicBezTo>
                      <a:pt x="80" y="113"/>
                      <a:pt x="79" y="115"/>
                      <a:pt x="79" y="117"/>
                    </a:cubicBezTo>
                    <a:cubicBezTo>
                      <a:pt x="78" y="118"/>
                      <a:pt x="78" y="118"/>
                      <a:pt x="78" y="118"/>
                    </a:cubicBezTo>
                    <a:cubicBezTo>
                      <a:pt x="77" y="118"/>
                      <a:pt x="77" y="118"/>
                      <a:pt x="77" y="118"/>
                    </a:cubicBezTo>
                    <a:cubicBezTo>
                      <a:pt x="75" y="118"/>
                      <a:pt x="73" y="119"/>
                      <a:pt x="72" y="119"/>
                    </a:cubicBezTo>
                    <a:close/>
                    <a:moveTo>
                      <a:pt x="88" y="94"/>
                    </a:moveTo>
                    <a:cubicBezTo>
                      <a:pt x="85" y="92"/>
                      <a:pt x="85" y="92"/>
                      <a:pt x="85" y="92"/>
                    </a:cubicBezTo>
                    <a:cubicBezTo>
                      <a:pt x="83" y="95"/>
                      <a:pt x="81" y="99"/>
                      <a:pt x="79" y="102"/>
                    </a:cubicBezTo>
                    <a:cubicBezTo>
                      <a:pt x="83" y="104"/>
                      <a:pt x="83" y="104"/>
                      <a:pt x="83" y="104"/>
                    </a:cubicBezTo>
                    <a:cubicBezTo>
                      <a:pt x="85" y="101"/>
                      <a:pt x="86" y="97"/>
                      <a:pt x="88" y="94"/>
                    </a:cubicBezTo>
                    <a:close/>
                    <a:moveTo>
                      <a:pt x="100" y="80"/>
                    </a:moveTo>
                    <a:cubicBezTo>
                      <a:pt x="97" y="77"/>
                      <a:pt x="97" y="77"/>
                      <a:pt x="97" y="77"/>
                    </a:cubicBezTo>
                    <a:cubicBezTo>
                      <a:pt x="95" y="80"/>
                      <a:pt x="92" y="83"/>
                      <a:pt x="89" y="86"/>
                    </a:cubicBezTo>
                    <a:cubicBezTo>
                      <a:pt x="93" y="88"/>
                      <a:pt x="93" y="88"/>
                      <a:pt x="93" y="88"/>
                    </a:cubicBezTo>
                    <a:cubicBezTo>
                      <a:pt x="95" y="85"/>
                      <a:pt x="97" y="82"/>
                      <a:pt x="100" y="80"/>
                    </a:cubicBezTo>
                    <a:close/>
                    <a:moveTo>
                      <a:pt x="115" y="69"/>
                    </a:moveTo>
                    <a:cubicBezTo>
                      <a:pt x="113" y="66"/>
                      <a:pt x="113" y="66"/>
                      <a:pt x="113" y="66"/>
                    </a:cubicBezTo>
                    <a:cubicBezTo>
                      <a:pt x="110" y="68"/>
                      <a:pt x="106" y="70"/>
                      <a:pt x="103" y="72"/>
                    </a:cubicBezTo>
                    <a:cubicBezTo>
                      <a:pt x="106" y="75"/>
                      <a:pt x="106" y="75"/>
                      <a:pt x="106" y="75"/>
                    </a:cubicBezTo>
                    <a:cubicBezTo>
                      <a:pt x="109" y="73"/>
                      <a:pt x="112" y="71"/>
                      <a:pt x="115" y="69"/>
                    </a:cubicBezTo>
                    <a:close/>
                    <a:moveTo>
                      <a:pt x="132" y="63"/>
                    </a:moveTo>
                    <a:cubicBezTo>
                      <a:pt x="132" y="59"/>
                      <a:pt x="132" y="59"/>
                      <a:pt x="132" y="59"/>
                    </a:cubicBezTo>
                    <a:cubicBezTo>
                      <a:pt x="128" y="60"/>
                      <a:pt x="124" y="61"/>
                      <a:pt x="120" y="63"/>
                    </a:cubicBezTo>
                    <a:cubicBezTo>
                      <a:pt x="122" y="66"/>
                      <a:pt x="122" y="66"/>
                      <a:pt x="122" y="66"/>
                    </a:cubicBezTo>
                    <a:cubicBezTo>
                      <a:pt x="125" y="65"/>
                      <a:pt x="129" y="64"/>
                      <a:pt x="132" y="63"/>
                    </a:cubicBezTo>
                    <a:close/>
                    <a:moveTo>
                      <a:pt x="151" y="62"/>
                    </a:moveTo>
                    <a:cubicBezTo>
                      <a:pt x="151" y="58"/>
                      <a:pt x="151" y="58"/>
                      <a:pt x="151" y="58"/>
                    </a:cubicBezTo>
                    <a:cubicBezTo>
                      <a:pt x="147" y="58"/>
                      <a:pt x="143" y="58"/>
                      <a:pt x="139" y="58"/>
                    </a:cubicBezTo>
                    <a:cubicBezTo>
                      <a:pt x="140" y="62"/>
                      <a:pt x="140" y="62"/>
                      <a:pt x="140" y="62"/>
                    </a:cubicBezTo>
                    <a:cubicBezTo>
                      <a:pt x="143" y="62"/>
                      <a:pt x="147" y="62"/>
                      <a:pt x="151" y="62"/>
                    </a:cubicBezTo>
                    <a:close/>
                    <a:moveTo>
                      <a:pt x="166" y="63"/>
                    </a:moveTo>
                    <a:cubicBezTo>
                      <a:pt x="167" y="62"/>
                      <a:pt x="168" y="60"/>
                      <a:pt x="169" y="58"/>
                    </a:cubicBezTo>
                    <a:cubicBezTo>
                      <a:pt x="166" y="56"/>
                      <a:pt x="166" y="56"/>
                      <a:pt x="166" y="56"/>
                    </a:cubicBezTo>
                    <a:cubicBezTo>
                      <a:pt x="165" y="58"/>
                      <a:pt x="164" y="59"/>
                      <a:pt x="163" y="60"/>
                    </a:cubicBezTo>
                    <a:cubicBezTo>
                      <a:pt x="162" y="60"/>
                      <a:pt x="160" y="59"/>
                      <a:pt x="159" y="59"/>
                    </a:cubicBezTo>
                    <a:cubicBezTo>
                      <a:pt x="158" y="63"/>
                      <a:pt x="158" y="63"/>
                      <a:pt x="158" y="63"/>
                    </a:cubicBezTo>
                    <a:cubicBezTo>
                      <a:pt x="160" y="63"/>
                      <a:pt x="162" y="64"/>
                      <a:pt x="164" y="64"/>
                    </a:cubicBezTo>
                    <a:cubicBezTo>
                      <a:pt x="165" y="65"/>
                      <a:pt x="165" y="65"/>
                      <a:pt x="165" y="65"/>
                    </a:cubicBezTo>
                    <a:lnTo>
                      <a:pt x="166" y="63"/>
                    </a:lnTo>
                    <a:close/>
                    <a:moveTo>
                      <a:pt x="381" y="99"/>
                    </a:moveTo>
                    <a:cubicBezTo>
                      <a:pt x="380" y="95"/>
                      <a:pt x="380" y="91"/>
                      <a:pt x="379" y="87"/>
                    </a:cubicBezTo>
                    <a:cubicBezTo>
                      <a:pt x="375" y="88"/>
                      <a:pt x="375" y="88"/>
                      <a:pt x="375" y="88"/>
                    </a:cubicBezTo>
                    <a:cubicBezTo>
                      <a:pt x="376" y="92"/>
                      <a:pt x="376" y="95"/>
                      <a:pt x="377" y="99"/>
                    </a:cubicBezTo>
                    <a:lnTo>
                      <a:pt x="381" y="99"/>
                    </a:lnTo>
                    <a:close/>
                    <a:moveTo>
                      <a:pt x="377" y="79"/>
                    </a:moveTo>
                    <a:cubicBezTo>
                      <a:pt x="375" y="75"/>
                      <a:pt x="374" y="71"/>
                      <a:pt x="372" y="68"/>
                    </a:cubicBezTo>
                    <a:cubicBezTo>
                      <a:pt x="368" y="69"/>
                      <a:pt x="368" y="69"/>
                      <a:pt x="368" y="69"/>
                    </a:cubicBezTo>
                    <a:cubicBezTo>
                      <a:pt x="370" y="73"/>
                      <a:pt x="371" y="76"/>
                      <a:pt x="373" y="80"/>
                    </a:cubicBezTo>
                    <a:lnTo>
                      <a:pt x="377" y="79"/>
                    </a:lnTo>
                    <a:close/>
                    <a:moveTo>
                      <a:pt x="369" y="60"/>
                    </a:moveTo>
                    <a:cubicBezTo>
                      <a:pt x="367" y="57"/>
                      <a:pt x="364" y="53"/>
                      <a:pt x="362" y="50"/>
                    </a:cubicBezTo>
                    <a:cubicBezTo>
                      <a:pt x="359" y="52"/>
                      <a:pt x="359" y="52"/>
                      <a:pt x="359" y="52"/>
                    </a:cubicBezTo>
                    <a:cubicBezTo>
                      <a:pt x="361" y="55"/>
                      <a:pt x="363" y="59"/>
                      <a:pt x="365" y="62"/>
                    </a:cubicBezTo>
                    <a:lnTo>
                      <a:pt x="369" y="60"/>
                    </a:lnTo>
                    <a:close/>
                    <a:moveTo>
                      <a:pt x="181" y="42"/>
                    </a:moveTo>
                    <a:cubicBezTo>
                      <a:pt x="178" y="40"/>
                      <a:pt x="178" y="40"/>
                      <a:pt x="178" y="40"/>
                    </a:cubicBezTo>
                    <a:cubicBezTo>
                      <a:pt x="175" y="43"/>
                      <a:pt x="172" y="46"/>
                      <a:pt x="170" y="49"/>
                    </a:cubicBezTo>
                    <a:cubicBezTo>
                      <a:pt x="173" y="52"/>
                      <a:pt x="173" y="52"/>
                      <a:pt x="173" y="52"/>
                    </a:cubicBezTo>
                    <a:cubicBezTo>
                      <a:pt x="176" y="49"/>
                      <a:pt x="178" y="45"/>
                      <a:pt x="181" y="42"/>
                    </a:cubicBezTo>
                    <a:close/>
                    <a:moveTo>
                      <a:pt x="357" y="43"/>
                    </a:moveTo>
                    <a:cubicBezTo>
                      <a:pt x="355" y="40"/>
                      <a:pt x="352" y="37"/>
                      <a:pt x="349" y="34"/>
                    </a:cubicBezTo>
                    <a:cubicBezTo>
                      <a:pt x="346" y="37"/>
                      <a:pt x="346" y="37"/>
                      <a:pt x="346" y="37"/>
                    </a:cubicBezTo>
                    <a:cubicBezTo>
                      <a:pt x="349" y="40"/>
                      <a:pt x="352" y="43"/>
                      <a:pt x="354" y="46"/>
                    </a:cubicBezTo>
                    <a:lnTo>
                      <a:pt x="357" y="43"/>
                    </a:lnTo>
                    <a:close/>
                    <a:moveTo>
                      <a:pt x="195" y="29"/>
                    </a:moveTo>
                    <a:cubicBezTo>
                      <a:pt x="192" y="26"/>
                      <a:pt x="192" y="26"/>
                      <a:pt x="192" y="26"/>
                    </a:cubicBezTo>
                    <a:cubicBezTo>
                      <a:pt x="189" y="28"/>
                      <a:pt x="186" y="31"/>
                      <a:pt x="183" y="34"/>
                    </a:cubicBezTo>
                    <a:cubicBezTo>
                      <a:pt x="186" y="37"/>
                      <a:pt x="186" y="37"/>
                      <a:pt x="186" y="37"/>
                    </a:cubicBezTo>
                    <a:cubicBezTo>
                      <a:pt x="189" y="34"/>
                      <a:pt x="192" y="31"/>
                      <a:pt x="195" y="29"/>
                    </a:cubicBezTo>
                    <a:close/>
                    <a:moveTo>
                      <a:pt x="343" y="29"/>
                    </a:moveTo>
                    <a:cubicBezTo>
                      <a:pt x="340" y="26"/>
                      <a:pt x="337" y="23"/>
                      <a:pt x="333" y="21"/>
                    </a:cubicBezTo>
                    <a:cubicBezTo>
                      <a:pt x="331" y="24"/>
                      <a:pt x="331" y="24"/>
                      <a:pt x="331" y="24"/>
                    </a:cubicBezTo>
                    <a:cubicBezTo>
                      <a:pt x="334" y="27"/>
                      <a:pt x="337" y="29"/>
                      <a:pt x="340" y="32"/>
                    </a:cubicBezTo>
                    <a:lnTo>
                      <a:pt x="343" y="29"/>
                    </a:lnTo>
                    <a:close/>
                    <a:moveTo>
                      <a:pt x="211" y="18"/>
                    </a:moveTo>
                    <a:cubicBezTo>
                      <a:pt x="209" y="14"/>
                      <a:pt x="209" y="14"/>
                      <a:pt x="209" y="14"/>
                    </a:cubicBezTo>
                    <a:cubicBezTo>
                      <a:pt x="206" y="16"/>
                      <a:pt x="202" y="19"/>
                      <a:pt x="199" y="21"/>
                    </a:cubicBezTo>
                    <a:cubicBezTo>
                      <a:pt x="201" y="24"/>
                      <a:pt x="201" y="24"/>
                      <a:pt x="201" y="24"/>
                    </a:cubicBezTo>
                    <a:cubicBezTo>
                      <a:pt x="204" y="22"/>
                      <a:pt x="208" y="20"/>
                      <a:pt x="211" y="18"/>
                    </a:cubicBezTo>
                    <a:close/>
                    <a:moveTo>
                      <a:pt x="326" y="17"/>
                    </a:moveTo>
                    <a:cubicBezTo>
                      <a:pt x="323" y="15"/>
                      <a:pt x="319" y="13"/>
                      <a:pt x="316" y="11"/>
                    </a:cubicBezTo>
                    <a:cubicBezTo>
                      <a:pt x="314" y="15"/>
                      <a:pt x="314" y="15"/>
                      <a:pt x="314" y="15"/>
                    </a:cubicBezTo>
                    <a:cubicBezTo>
                      <a:pt x="318" y="16"/>
                      <a:pt x="321" y="18"/>
                      <a:pt x="324" y="20"/>
                    </a:cubicBezTo>
                    <a:lnTo>
                      <a:pt x="326" y="17"/>
                    </a:lnTo>
                    <a:close/>
                    <a:moveTo>
                      <a:pt x="229" y="10"/>
                    </a:moveTo>
                    <a:cubicBezTo>
                      <a:pt x="228" y="6"/>
                      <a:pt x="228" y="6"/>
                      <a:pt x="228" y="6"/>
                    </a:cubicBezTo>
                    <a:cubicBezTo>
                      <a:pt x="224" y="8"/>
                      <a:pt x="220" y="9"/>
                      <a:pt x="217" y="11"/>
                    </a:cubicBezTo>
                    <a:cubicBezTo>
                      <a:pt x="218" y="14"/>
                      <a:pt x="218" y="14"/>
                      <a:pt x="218" y="14"/>
                    </a:cubicBezTo>
                    <a:cubicBezTo>
                      <a:pt x="222" y="13"/>
                      <a:pt x="226" y="11"/>
                      <a:pt x="229" y="10"/>
                    </a:cubicBezTo>
                    <a:close/>
                    <a:moveTo>
                      <a:pt x="308" y="8"/>
                    </a:moveTo>
                    <a:cubicBezTo>
                      <a:pt x="304" y="6"/>
                      <a:pt x="300" y="5"/>
                      <a:pt x="296" y="4"/>
                    </a:cubicBezTo>
                    <a:cubicBezTo>
                      <a:pt x="295" y="8"/>
                      <a:pt x="295" y="8"/>
                      <a:pt x="295" y="8"/>
                    </a:cubicBezTo>
                    <a:cubicBezTo>
                      <a:pt x="299" y="9"/>
                      <a:pt x="303" y="10"/>
                      <a:pt x="307" y="12"/>
                    </a:cubicBezTo>
                    <a:lnTo>
                      <a:pt x="308" y="8"/>
                    </a:lnTo>
                    <a:close/>
                    <a:moveTo>
                      <a:pt x="249" y="5"/>
                    </a:moveTo>
                    <a:cubicBezTo>
                      <a:pt x="248" y="1"/>
                      <a:pt x="248" y="1"/>
                      <a:pt x="248" y="1"/>
                    </a:cubicBezTo>
                    <a:cubicBezTo>
                      <a:pt x="244" y="2"/>
                      <a:pt x="240" y="3"/>
                      <a:pt x="236" y="4"/>
                    </a:cubicBezTo>
                    <a:cubicBezTo>
                      <a:pt x="237" y="8"/>
                      <a:pt x="237" y="8"/>
                      <a:pt x="237" y="8"/>
                    </a:cubicBezTo>
                    <a:cubicBezTo>
                      <a:pt x="241" y="7"/>
                      <a:pt x="245" y="6"/>
                      <a:pt x="249" y="5"/>
                    </a:cubicBezTo>
                    <a:close/>
                    <a:moveTo>
                      <a:pt x="288" y="2"/>
                    </a:moveTo>
                    <a:cubicBezTo>
                      <a:pt x="285" y="1"/>
                      <a:pt x="280" y="1"/>
                      <a:pt x="276" y="1"/>
                    </a:cubicBezTo>
                    <a:cubicBezTo>
                      <a:pt x="276" y="5"/>
                      <a:pt x="276" y="5"/>
                      <a:pt x="276" y="5"/>
                    </a:cubicBezTo>
                    <a:cubicBezTo>
                      <a:pt x="280" y="5"/>
                      <a:pt x="284" y="5"/>
                      <a:pt x="288" y="6"/>
                    </a:cubicBezTo>
                    <a:lnTo>
                      <a:pt x="288" y="2"/>
                    </a:lnTo>
                    <a:close/>
                    <a:moveTo>
                      <a:pt x="266" y="4"/>
                    </a:moveTo>
                    <a:cubicBezTo>
                      <a:pt x="268" y="4"/>
                      <a:pt x="268" y="4"/>
                      <a:pt x="268" y="4"/>
                    </a:cubicBezTo>
                    <a:cubicBezTo>
                      <a:pt x="268" y="0"/>
                      <a:pt x="268" y="0"/>
                      <a:pt x="268" y="0"/>
                    </a:cubicBezTo>
                    <a:cubicBezTo>
                      <a:pt x="266" y="0"/>
                      <a:pt x="266" y="0"/>
                      <a:pt x="266" y="0"/>
                    </a:cubicBezTo>
                    <a:cubicBezTo>
                      <a:pt x="263" y="0"/>
                      <a:pt x="259" y="0"/>
                      <a:pt x="256" y="1"/>
                    </a:cubicBezTo>
                    <a:cubicBezTo>
                      <a:pt x="256" y="5"/>
                      <a:pt x="256" y="5"/>
                      <a:pt x="256" y="5"/>
                    </a:cubicBezTo>
                    <a:cubicBezTo>
                      <a:pt x="260" y="4"/>
                      <a:pt x="263" y="4"/>
                      <a:pt x="266" y="4"/>
                    </a:cubicBezTo>
                    <a:close/>
                    <a:moveTo>
                      <a:pt x="386" y="114"/>
                    </a:moveTo>
                    <a:cubicBezTo>
                      <a:pt x="384" y="113"/>
                      <a:pt x="383" y="113"/>
                      <a:pt x="382" y="112"/>
                    </a:cubicBezTo>
                    <a:cubicBezTo>
                      <a:pt x="382" y="111"/>
                      <a:pt x="382" y="111"/>
                      <a:pt x="382" y="111"/>
                    </a:cubicBezTo>
                    <a:cubicBezTo>
                      <a:pt x="382" y="110"/>
                      <a:pt x="381" y="109"/>
                      <a:pt x="381" y="107"/>
                    </a:cubicBezTo>
                    <a:cubicBezTo>
                      <a:pt x="377" y="107"/>
                      <a:pt x="377" y="107"/>
                      <a:pt x="377" y="107"/>
                    </a:cubicBezTo>
                    <a:cubicBezTo>
                      <a:pt x="377" y="109"/>
                      <a:pt x="378" y="110"/>
                      <a:pt x="378" y="111"/>
                    </a:cubicBezTo>
                    <a:cubicBezTo>
                      <a:pt x="377" y="115"/>
                      <a:pt x="377" y="115"/>
                      <a:pt x="377" y="115"/>
                    </a:cubicBezTo>
                    <a:cubicBezTo>
                      <a:pt x="379" y="115"/>
                      <a:pt x="379" y="115"/>
                      <a:pt x="379" y="115"/>
                    </a:cubicBezTo>
                    <a:cubicBezTo>
                      <a:pt x="381" y="116"/>
                      <a:pt x="382" y="117"/>
                      <a:pt x="384" y="118"/>
                    </a:cubicBezTo>
                    <a:lnTo>
                      <a:pt x="386" y="114"/>
                    </a:lnTo>
                    <a:close/>
                    <a:moveTo>
                      <a:pt x="412" y="141"/>
                    </a:moveTo>
                    <a:cubicBezTo>
                      <a:pt x="411" y="138"/>
                      <a:pt x="409" y="134"/>
                      <a:pt x="406" y="131"/>
                    </a:cubicBezTo>
                    <a:cubicBezTo>
                      <a:pt x="403" y="134"/>
                      <a:pt x="403" y="134"/>
                      <a:pt x="403" y="134"/>
                    </a:cubicBezTo>
                    <a:cubicBezTo>
                      <a:pt x="405" y="137"/>
                      <a:pt x="407" y="140"/>
                      <a:pt x="409" y="143"/>
                    </a:cubicBezTo>
                    <a:lnTo>
                      <a:pt x="412" y="141"/>
                    </a:lnTo>
                    <a:close/>
                    <a:moveTo>
                      <a:pt x="401" y="125"/>
                    </a:moveTo>
                    <a:cubicBezTo>
                      <a:pt x="399" y="123"/>
                      <a:pt x="396" y="120"/>
                      <a:pt x="393" y="118"/>
                    </a:cubicBezTo>
                    <a:cubicBezTo>
                      <a:pt x="390" y="121"/>
                      <a:pt x="390" y="121"/>
                      <a:pt x="390" y="121"/>
                    </a:cubicBezTo>
                    <a:cubicBezTo>
                      <a:pt x="393" y="123"/>
                      <a:pt x="396" y="126"/>
                      <a:pt x="398" y="128"/>
                    </a:cubicBezTo>
                    <a:lnTo>
                      <a:pt x="401" y="125"/>
                    </a:lnTo>
                    <a:close/>
                    <a:moveTo>
                      <a:pt x="421" y="155"/>
                    </a:moveTo>
                    <a:cubicBezTo>
                      <a:pt x="420" y="154"/>
                      <a:pt x="418" y="154"/>
                      <a:pt x="417" y="153"/>
                    </a:cubicBezTo>
                    <a:cubicBezTo>
                      <a:pt x="416" y="152"/>
                      <a:pt x="416" y="150"/>
                      <a:pt x="415" y="148"/>
                    </a:cubicBezTo>
                    <a:cubicBezTo>
                      <a:pt x="412" y="150"/>
                      <a:pt x="412" y="150"/>
                      <a:pt x="412" y="150"/>
                    </a:cubicBezTo>
                    <a:cubicBezTo>
                      <a:pt x="412" y="151"/>
                      <a:pt x="413" y="153"/>
                      <a:pt x="413" y="155"/>
                    </a:cubicBezTo>
                    <a:cubicBezTo>
                      <a:pt x="413" y="156"/>
                      <a:pt x="413" y="156"/>
                      <a:pt x="413" y="156"/>
                    </a:cubicBezTo>
                    <a:cubicBezTo>
                      <a:pt x="414" y="157"/>
                      <a:pt x="414" y="157"/>
                      <a:pt x="414" y="157"/>
                    </a:cubicBezTo>
                    <a:cubicBezTo>
                      <a:pt x="416" y="157"/>
                      <a:pt x="418" y="158"/>
                      <a:pt x="420" y="159"/>
                    </a:cubicBezTo>
                    <a:lnTo>
                      <a:pt x="421" y="155"/>
                    </a:lnTo>
                    <a:close/>
                    <a:moveTo>
                      <a:pt x="401" y="312"/>
                    </a:moveTo>
                    <a:cubicBezTo>
                      <a:pt x="401" y="308"/>
                      <a:pt x="401" y="308"/>
                      <a:pt x="401" y="308"/>
                    </a:cubicBezTo>
                    <a:cubicBezTo>
                      <a:pt x="398" y="308"/>
                      <a:pt x="396" y="308"/>
                      <a:pt x="394" y="308"/>
                    </a:cubicBezTo>
                    <a:cubicBezTo>
                      <a:pt x="389" y="308"/>
                      <a:pt x="389" y="308"/>
                      <a:pt x="389" y="308"/>
                    </a:cubicBezTo>
                    <a:cubicBezTo>
                      <a:pt x="389" y="312"/>
                      <a:pt x="389" y="312"/>
                      <a:pt x="389" y="312"/>
                    </a:cubicBezTo>
                    <a:cubicBezTo>
                      <a:pt x="394" y="312"/>
                      <a:pt x="394" y="312"/>
                      <a:pt x="394" y="312"/>
                    </a:cubicBezTo>
                    <a:cubicBezTo>
                      <a:pt x="396" y="312"/>
                      <a:pt x="399" y="312"/>
                      <a:pt x="401" y="312"/>
                    </a:cubicBezTo>
                    <a:close/>
                    <a:moveTo>
                      <a:pt x="381" y="308"/>
                    </a:moveTo>
                    <a:cubicBezTo>
                      <a:pt x="369" y="308"/>
                      <a:pt x="369" y="308"/>
                      <a:pt x="369" y="308"/>
                    </a:cubicBezTo>
                    <a:cubicBezTo>
                      <a:pt x="369" y="312"/>
                      <a:pt x="369" y="312"/>
                      <a:pt x="369" y="312"/>
                    </a:cubicBezTo>
                    <a:cubicBezTo>
                      <a:pt x="381" y="312"/>
                      <a:pt x="381" y="312"/>
                      <a:pt x="381" y="312"/>
                    </a:cubicBezTo>
                    <a:lnTo>
                      <a:pt x="381" y="308"/>
                    </a:lnTo>
                    <a:close/>
                    <a:moveTo>
                      <a:pt x="361" y="308"/>
                    </a:moveTo>
                    <a:cubicBezTo>
                      <a:pt x="349" y="308"/>
                      <a:pt x="349" y="308"/>
                      <a:pt x="349" y="308"/>
                    </a:cubicBezTo>
                    <a:cubicBezTo>
                      <a:pt x="349" y="312"/>
                      <a:pt x="349" y="312"/>
                      <a:pt x="349" y="312"/>
                    </a:cubicBezTo>
                    <a:cubicBezTo>
                      <a:pt x="361" y="312"/>
                      <a:pt x="361" y="312"/>
                      <a:pt x="361" y="312"/>
                    </a:cubicBezTo>
                    <a:lnTo>
                      <a:pt x="361" y="308"/>
                    </a:lnTo>
                    <a:close/>
                    <a:moveTo>
                      <a:pt x="341" y="308"/>
                    </a:moveTo>
                    <a:cubicBezTo>
                      <a:pt x="329" y="308"/>
                      <a:pt x="329" y="308"/>
                      <a:pt x="329" y="308"/>
                    </a:cubicBezTo>
                    <a:cubicBezTo>
                      <a:pt x="329" y="312"/>
                      <a:pt x="329" y="312"/>
                      <a:pt x="329" y="312"/>
                    </a:cubicBezTo>
                    <a:cubicBezTo>
                      <a:pt x="341" y="312"/>
                      <a:pt x="341" y="312"/>
                      <a:pt x="341" y="312"/>
                    </a:cubicBezTo>
                    <a:lnTo>
                      <a:pt x="341" y="308"/>
                    </a:lnTo>
                    <a:close/>
                    <a:moveTo>
                      <a:pt x="321" y="308"/>
                    </a:moveTo>
                    <a:cubicBezTo>
                      <a:pt x="309" y="308"/>
                      <a:pt x="309" y="308"/>
                      <a:pt x="309" y="308"/>
                    </a:cubicBezTo>
                    <a:cubicBezTo>
                      <a:pt x="309" y="312"/>
                      <a:pt x="309" y="312"/>
                      <a:pt x="309" y="312"/>
                    </a:cubicBezTo>
                    <a:cubicBezTo>
                      <a:pt x="321" y="312"/>
                      <a:pt x="321" y="312"/>
                      <a:pt x="321" y="312"/>
                    </a:cubicBezTo>
                    <a:lnTo>
                      <a:pt x="321" y="308"/>
                    </a:lnTo>
                    <a:close/>
                    <a:moveTo>
                      <a:pt x="301" y="308"/>
                    </a:moveTo>
                    <a:cubicBezTo>
                      <a:pt x="288" y="308"/>
                      <a:pt x="288" y="308"/>
                      <a:pt x="288" y="308"/>
                    </a:cubicBezTo>
                    <a:cubicBezTo>
                      <a:pt x="288" y="312"/>
                      <a:pt x="288" y="312"/>
                      <a:pt x="288" y="312"/>
                    </a:cubicBezTo>
                    <a:cubicBezTo>
                      <a:pt x="301" y="312"/>
                      <a:pt x="301" y="312"/>
                      <a:pt x="301" y="312"/>
                    </a:cubicBezTo>
                    <a:lnTo>
                      <a:pt x="301" y="308"/>
                    </a:lnTo>
                    <a:close/>
                    <a:moveTo>
                      <a:pt x="280" y="308"/>
                    </a:moveTo>
                    <a:cubicBezTo>
                      <a:pt x="268" y="308"/>
                      <a:pt x="268" y="308"/>
                      <a:pt x="268" y="308"/>
                    </a:cubicBezTo>
                    <a:cubicBezTo>
                      <a:pt x="268" y="312"/>
                      <a:pt x="268" y="312"/>
                      <a:pt x="268" y="312"/>
                    </a:cubicBezTo>
                    <a:cubicBezTo>
                      <a:pt x="280" y="312"/>
                      <a:pt x="280" y="312"/>
                      <a:pt x="280" y="312"/>
                    </a:cubicBezTo>
                    <a:lnTo>
                      <a:pt x="280" y="308"/>
                    </a:lnTo>
                    <a:close/>
                    <a:moveTo>
                      <a:pt x="260" y="308"/>
                    </a:moveTo>
                    <a:cubicBezTo>
                      <a:pt x="248" y="308"/>
                      <a:pt x="248" y="308"/>
                      <a:pt x="248" y="308"/>
                    </a:cubicBezTo>
                    <a:cubicBezTo>
                      <a:pt x="248" y="312"/>
                      <a:pt x="248" y="312"/>
                      <a:pt x="248" y="312"/>
                    </a:cubicBezTo>
                    <a:cubicBezTo>
                      <a:pt x="260" y="312"/>
                      <a:pt x="260" y="312"/>
                      <a:pt x="260" y="312"/>
                    </a:cubicBezTo>
                    <a:lnTo>
                      <a:pt x="260" y="308"/>
                    </a:lnTo>
                    <a:close/>
                    <a:moveTo>
                      <a:pt x="240" y="308"/>
                    </a:moveTo>
                    <a:cubicBezTo>
                      <a:pt x="228" y="308"/>
                      <a:pt x="228" y="308"/>
                      <a:pt x="228" y="308"/>
                    </a:cubicBezTo>
                    <a:cubicBezTo>
                      <a:pt x="228" y="312"/>
                      <a:pt x="228" y="312"/>
                      <a:pt x="228" y="312"/>
                    </a:cubicBezTo>
                    <a:cubicBezTo>
                      <a:pt x="240" y="312"/>
                      <a:pt x="240" y="312"/>
                      <a:pt x="240" y="312"/>
                    </a:cubicBezTo>
                    <a:lnTo>
                      <a:pt x="240" y="308"/>
                    </a:lnTo>
                    <a:close/>
                    <a:moveTo>
                      <a:pt x="220" y="308"/>
                    </a:moveTo>
                    <a:cubicBezTo>
                      <a:pt x="208" y="308"/>
                      <a:pt x="208" y="308"/>
                      <a:pt x="208" y="308"/>
                    </a:cubicBezTo>
                    <a:cubicBezTo>
                      <a:pt x="208" y="312"/>
                      <a:pt x="208" y="312"/>
                      <a:pt x="208" y="312"/>
                    </a:cubicBezTo>
                    <a:cubicBezTo>
                      <a:pt x="220" y="312"/>
                      <a:pt x="220" y="312"/>
                      <a:pt x="220" y="312"/>
                    </a:cubicBezTo>
                    <a:lnTo>
                      <a:pt x="220" y="308"/>
                    </a:lnTo>
                    <a:close/>
                    <a:moveTo>
                      <a:pt x="200" y="308"/>
                    </a:moveTo>
                    <a:cubicBezTo>
                      <a:pt x="188" y="308"/>
                      <a:pt x="188" y="308"/>
                      <a:pt x="188" y="308"/>
                    </a:cubicBezTo>
                    <a:cubicBezTo>
                      <a:pt x="188" y="312"/>
                      <a:pt x="188" y="312"/>
                      <a:pt x="188" y="312"/>
                    </a:cubicBezTo>
                    <a:cubicBezTo>
                      <a:pt x="200" y="312"/>
                      <a:pt x="200" y="312"/>
                      <a:pt x="200" y="312"/>
                    </a:cubicBezTo>
                    <a:lnTo>
                      <a:pt x="200" y="308"/>
                    </a:lnTo>
                    <a:close/>
                    <a:moveTo>
                      <a:pt x="180" y="308"/>
                    </a:moveTo>
                    <a:cubicBezTo>
                      <a:pt x="168" y="308"/>
                      <a:pt x="168" y="308"/>
                      <a:pt x="168" y="308"/>
                    </a:cubicBezTo>
                    <a:cubicBezTo>
                      <a:pt x="168" y="312"/>
                      <a:pt x="168" y="312"/>
                      <a:pt x="168" y="312"/>
                    </a:cubicBezTo>
                    <a:cubicBezTo>
                      <a:pt x="180" y="312"/>
                      <a:pt x="180" y="312"/>
                      <a:pt x="180" y="312"/>
                    </a:cubicBezTo>
                    <a:lnTo>
                      <a:pt x="180" y="308"/>
                    </a:lnTo>
                    <a:close/>
                    <a:moveTo>
                      <a:pt x="160" y="308"/>
                    </a:moveTo>
                    <a:cubicBezTo>
                      <a:pt x="148" y="308"/>
                      <a:pt x="148" y="308"/>
                      <a:pt x="148" y="308"/>
                    </a:cubicBezTo>
                    <a:cubicBezTo>
                      <a:pt x="148" y="312"/>
                      <a:pt x="148" y="312"/>
                      <a:pt x="148" y="312"/>
                    </a:cubicBezTo>
                    <a:cubicBezTo>
                      <a:pt x="160" y="312"/>
                      <a:pt x="160" y="312"/>
                      <a:pt x="160" y="312"/>
                    </a:cubicBezTo>
                    <a:lnTo>
                      <a:pt x="160" y="308"/>
                    </a:lnTo>
                    <a:close/>
                    <a:moveTo>
                      <a:pt x="140" y="308"/>
                    </a:moveTo>
                    <a:cubicBezTo>
                      <a:pt x="128" y="308"/>
                      <a:pt x="128" y="308"/>
                      <a:pt x="128" y="308"/>
                    </a:cubicBezTo>
                    <a:cubicBezTo>
                      <a:pt x="128" y="312"/>
                      <a:pt x="128" y="312"/>
                      <a:pt x="128" y="312"/>
                    </a:cubicBezTo>
                    <a:cubicBezTo>
                      <a:pt x="140" y="312"/>
                      <a:pt x="140" y="312"/>
                      <a:pt x="140" y="312"/>
                    </a:cubicBezTo>
                    <a:lnTo>
                      <a:pt x="140" y="308"/>
                    </a:lnTo>
                    <a:close/>
                    <a:moveTo>
                      <a:pt x="120" y="308"/>
                    </a:moveTo>
                    <a:cubicBezTo>
                      <a:pt x="108" y="308"/>
                      <a:pt x="108" y="308"/>
                      <a:pt x="108" y="308"/>
                    </a:cubicBezTo>
                    <a:cubicBezTo>
                      <a:pt x="108" y="312"/>
                      <a:pt x="108" y="312"/>
                      <a:pt x="108" y="312"/>
                    </a:cubicBezTo>
                    <a:cubicBezTo>
                      <a:pt x="120" y="312"/>
                      <a:pt x="120" y="312"/>
                      <a:pt x="120" y="312"/>
                    </a:cubicBezTo>
                    <a:lnTo>
                      <a:pt x="120" y="308"/>
                    </a:lnTo>
                    <a:close/>
                    <a:moveTo>
                      <a:pt x="100" y="308"/>
                    </a:moveTo>
                    <a:cubicBezTo>
                      <a:pt x="95" y="308"/>
                      <a:pt x="95" y="308"/>
                      <a:pt x="95" y="308"/>
                    </a:cubicBezTo>
                    <a:cubicBezTo>
                      <a:pt x="92" y="308"/>
                      <a:pt x="90" y="308"/>
                      <a:pt x="88" y="308"/>
                    </a:cubicBezTo>
                    <a:cubicBezTo>
                      <a:pt x="88" y="312"/>
                      <a:pt x="88" y="312"/>
                      <a:pt x="88" y="312"/>
                    </a:cubicBezTo>
                    <a:cubicBezTo>
                      <a:pt x="90" y="312"/>
                      <a:pt x="92" y="312"/>
                      <a:pt x="95" y="312"/>
                    </a:cubicBezTo>
                    <a:cubicBezTo>
                      <a:pt x="100" y="312"/>
                      <a:pt x="100" y="312"/>
                      <a:pt x="100" y="312"/>
                    </a:cubicBezTo>
                    <a:lnTo>
                      <a:pt x="100" y="308"/>
                    </a:lnTo>
                    <a:close/>
                    <a:moveTo>
                      <a:pt x="80" y="307"/>
                    </a:moveTo>
                    <a:cubicBezTo>
                      <a:pt x="76" y="306"/>
                      <a:pt x="72" y="305"/>
                      <a:pt x="69" y="304"/>
                    </a:cubicBezTo>
                    <a:cubicBezTo>
                      <a:pt x="68" y="308"/>
                      <a:pt x="68" y="308"/>
                      <a:pt x="68" y="308"/>
                    </a:cubicBezTo>
                    <a:cubicBezTo>
                      <a:pt x="71" y="309"/>
                      <a:pt x="75" y="310"/>
                      <a:pt x="79" y="311"/>
                    </a:cubicBezTo>
                    <a:lnTo>
                      <a:pt x="80" y="307"/>
                    </a:lnTo>
                    <a:close/>
                    <a:moveTo>
                      <a:pt x="421" y="307"/>
                    </a:moveTo>
                    <a:cubicBezTo>
                      <a:pt x="420" y="303"/>
                      <a:pt x="420" y="303"/>
                      <a:pt x="420" y="303"/>
                    </a:cubicBezTo>
                    <a:cubicBezTo>
                      <a:pt x="416" y="305"/>
                      <a:pt x="412" y="306"/>
                      <a:pt x="408" y="307"/>
                    </a:cubicBezTo>
                    <a:cubicBezTo>
                      <a:pt x="409" y="311"/>
                      <a:pt x="409" y="311"/>
                      <a:pt x="409" y="311"/>
                    </a:cubicBezTo>
                    <a:cubicBezTo>
                      <a:pt x="413" y="310"/>
                      <a:pt x="417" y="309"/>
                      <a:pt x="421" y="307"/>
                    </a:cubicBezTo>
                    <a:close/>
                    <a:moveTo>
                      <a:pt x="61" y="302"/>
                    </a:moveTo>
                    <a:cubicBezTo>
                      <a:pt x="58" y="300"/>
                      <a:pt x="54" y="298"/>
                      <a:pt x="51" y="296"/>
                    </a:cubicBezTo>
                    <a:cubicBezTo>
                      <a:pt x="49" y="300"/>
                      <a:pt x="49" y="300"/>
                      <a:pt x="49" y="300"/>
                    </a:cubicBezTo>
                    <a:cubicBezTo>
                      <a:pt x="52" y="302"/>
                      <a:pt x="56" y="304"/>
                      <a:pt x="60" y="305"/>
                    </a:cubicBezTo>
                    <a:lnTo>
                      <a:pt x="61" y="302"/>
                    </a:lnTo>
                    <a:close/>
                    <a:moveTo>
                      <a:pt x="439" y="297"/>
                    </a:moveTo>
                    <a:cubicBezTo>
                      <a:pt x="437" y="294"/>
                      <a:pt x="437" y="294"/>
                      <a:pt x="437" y="294"/>
                    </a:cubicBezTo>
                    <a:cubicBezTo>
                      <a:pt x="433" y="296"/>
                      <a:pt x="430" y="298"/>
                      <a:pt x="427" y="300"/>
                    </a:cubicBezTo>
                    <a:cubicBezTo>
                      <a:pt x="429" y="304"/>
                      <a:pt x="429" y="304"/>
                      <a:pt x="429" y="304"/>
                    </a:cubicBezTo>
                    <a:cubicBezTo>
                      <a:pt x="432" y="302"/>
                      <a:pt x="436" y="300"/>
                      <a:pt x="439" y="297"/>
                    </a:cubicBezTo>
                    <a:close/>
                    <a:moveTo>
                      <a:pt x="44" y="292"/>
                    </a:moveTo>
                    <a:cubicBezTo>
                      <a:pt x="41" y="290"/>
                      <a:pt x="38" y="287"/>
                      <a:pt x="35" y="285"/>
                    </a:cubicBezTo>
                    <a:cubicBezTo>
                      <a:pt x="32" y="288"/>
                      <a:pt x="32" y="288"/>
                      <a:pt x="32" y="288"/>
                    </a:cubicBezTo>
                    <a:cubicBezTo>
                      <a:pt x="35" y="290"/>
                      <a:pt x="39" y="293"/>
                      <a:pt x="42" y="295"/>
                    </a:cubicBezTo>
                    <a:lnTo>
                      <a:pt x="44" y="292"/>
                    </a:lnTo>
                    <a:close/>
                    <a:moveTo>
                      <a:pt x="454" y="283"/>
                    </a:moveTo>
                    <a:cubicBezTo>
                      <a:pt x="450" y="280"/>
                      <a:pt x="450" y="280"/>
                      <a:pt x="450" y="280"/>
                    </a:cubicBezTo>
                    <a:cubicBezTo>
                      <a:pt x="448" y="283"/>
                      <a:pt x="445" y="286"/>
                      <a:pt x="443" y="289"/>
                    </a:cubicBezTo>
                    <a:cubicBezTo>
                      <a:pt x="445" y="292"/>
                      <a:pt x="445" y="292"/>
                      <a:pt x="445" y="292"/>
                    </a:cubicBezTo>
                    <a:cubicBezTo>
                      <a:pt x="448" y="289"/>
                      <a:pt x="451" y="286"/>
                      <a:pt x="454" y="283"/>
                    </a:cubicBezTo>
                    <a:close/>
                    <a:moveTo>
                      <a:pt x="29" y="279"/>
                    </a:moveTo>
                    <a:cubicBezTo>
                      <a:pt x="27" y="276"/>
                      <a:pt x="24" y="273"/>
                      <a:pt x="22" y="270"/>
                    </a:cubicBezTo>
                    <a:cubicBezTo>
                      <a:pt x="19" y="272"/>
                      <a:pt x="19" y="272"/>
                      <a:pt x="19" y="272"/>
                    </a:cubicBezTo>
                    <a:cubicBezTo>
                      <a:pt x="21" y="276"/>
                      <a:pt x="24" y="279"/>
                      <a:pt x="27" y="282"/>
                    </a:cubicBezTo>
                    <a:lnTo>
                      <a:pt x="29" y="279"/>
                    </a:lnTo>
                    <a:close/>
                    <a:moveTo>
                      <a:pt x="464" y="265"/>
                    </a:moveTo>
                    <a:cubicBezTo>
                      <a:pt x="461" y="263"/>
                      <a:pt x="461" y="263"/>
                      <a:pt x="461" y="263"/>
                    </a:cubicBezTo>
                    <a:cubicBezTo>
                      <a:pt x="459" y="267"/>
                      <a:pt x="457" y="271"/>
                      <a:pt x="455" y="274"/>
                    </a:cubicBezTo>
                    <a:cubicBezTo>
                      <a:pt x="458" y="276"/>
                      <a:pt x="458" y="276"/>
                      <a:pt x="458" y="276"/>
                    </a:cubicBezTo>
                    <a:cubicBezTo>
                      <a:pt x="461" y="272"/>
                      <a:pt x="463" y="269"/>
                      <a:pt x="464" y="265"/>
                    </a:cubicBezTo>
                    <a:close/>
                    <a:moveTo>
                      <a:pt x="18" y="263"/>
                    </a:moveTo>
                    <a:cubicBezTo>
                      <a:pt x="16" y="260"/>
                      <a:pt x="14" y="257"/>
                      <a:pt x="12" y="253"/>
                    </a:cubicBezTo>
                    <a:cubicBezTo>
                      <a:pt x="9" y="255"/>
                      <a:pt x="9" y="255"/>
                      <a:pt x="9" y="255"/>
                    </a:cubicBezTo>
                    <a:cubicBezTo>
                      <a:pt x="10" y="258"/>
                      <a:pt x="12" y="262"/>
                      <a:pt x="14" y="265"/>
                    </a:cubicBezTo>
                    <a:lnTo>
                      <a:pt x="18" y="263"/>
                    </a:lnTo>
                    <a:close/>
                    <a:moveTo>
                      <a:pt x="470" y="245"/>
                    </a:moveTo>
                    <a:cubicBezTo>
                      <a:pt x="466" y="245"/>
                      <a:pt x="466" y="245"/>
                      <a:pt x="466" y="245"/>
                    </a:cubicBezTo>
                    <a:cubicBezTo>
                      <a:pt x="466" y="249"/>
                      <a:pt x="465" y="252"/>
                      <a:pt x="463" y="256"/>
                    </a:cubicBezTo>
                    <a:cubicBezTo>
                      <a:pt x="467" y="257"/>
                      <a:pt x="467" y="257"/>
                      <a:pt x="467" y="257"/>
                    </a:cubicBezTo>
                    <a:cubicBezTo>
                      <a:pt x="468" y="254"/>
                      <a:pt x="469" y="249"/>
                      <a:pt x="470" y="245"/>
                    </a:cubicBezTo>
                    <a:close/>
                    <a:moveTo>
                      <a:pt x="9" y="246"/>
                    </a:moveTo>
                    <a:cubicBezTo>
                      <a:pt x="8" y="242"/>
                      <a:pt x="7" y="238"/>
                      <a:pt x="6" y="234"/>
                    </a:cubicBezTo>
                    <a:cubicBezTo>
                      <a:pt x="2" y="235"/>
                      <a:pt x="2" y="235"/>
                      <a:pt x="2" y="235"/>
                    </a:cubicBezTo>
                    <a:cubicBezTo>
                      <a:pt x="3" y="239"/>
                      <a:pt x="4" y="243"/>
                      <a:pt x="6" y="247"/>
                    </a:cubicBezTo>
                    <a:lnTo>
                      <a:pt x="9" y="246"/>
                    </a:lnTo>
                    <a:close/>
                    <a:moveTo>
                      <a:pt x="471" y="231"/>
                    </a:moveTo>
                    <a:cubicBezTo>
                      <a:pt x="471" y="229"/>
                      <a:pt x="471" y="227"/>
                      <a:pt x="471" y="225"/>
                    </a:cubicBezTo>
                    <a:cubicBezTo>
                      <a:pt x="467" y="225"/>
                      <a:pt x="467" y="225"/>
                      <a:pt x="467" y="225"/>
                    </a:cubicBezTo>
                    <a:cubicBezTo>
                      <a:pt x="467" y="227"/>
                      <a:pt x="467" y="229"/>
                      <a:pt x="467" y="231"/>
                    </a:cubicBezTo>
                    <a:cubicBezTo>
                      <a:pt x="467" y="233"/>
                      <a:pt x="467" y="235"/>
                      <a:pt x="467" y="237"/>
                    </a:cubicBezTo>
                    <a:cubicBezTo>
                      <a:pt x="471" y="237"/>
                      <a:pt x="471" y="237"/>
                      <a:pt x="471" y="237"/>
                    </a:cubicBezTo>
                    <a:cubicBezTo>
                      <a:pt x="471" y="235"/>
                      <a:pt x="471" y="233"/>
                      <a:pt x="471" y="231"/>
                    </a:cubicBezTo>
                    <a:close/>
                    <a:moveTo>
                      <a:pt x="5" y="227"/>
                    </a:moveTo>
                    <a:cubicBezTo>
                      <a:pt x="4" y="223"/>
                      <a:pt x="4" y="219"/>
                      <a:pt x="4" y="215"/>
                    </a:cubicBezTo>
                    <a:cubicBezTo>
                      <a:pt x="0" y="215"/>
                      <a:pt x="0" y="215"/>
                      <a:pt x="0" y="215"/>
                    </a:cubicBezTo>
                    <a:cubicBezTo>
                      <a:pt x="0" y="219"/>
                      <a:pt x="0" y="223"/>
                      <a:pt x="1" y="227"/>
                    </a:cubicBezTo>
                    <a:lnTo>
                      <a:pt x="5" y="227"/>
                    </a:lnTo>
                    <a:close/>
                    <a:moveTo>
                      <a:pt x="470" y="217"/>
                    </a:moveTo>
                    <a:cubicBezTo>
                      <a:pt x="470" y="213"/>
                      <a:pt x="469" y="209"/>
                      <a:pt x="467" y="205"/>
                    </a:cubicBezTo>
                    <a:cubicBezTo>
                      <a:pt x="463" y="206"/>
                      <a:pt x="463" y="206"/>
                      <a:pt x="463" y="206"/>
                    </a:cubicBezTo>
                    <a:cubicBezTo>
                      <a:pt x="465" y="210"/>
                      <a:pt x="466" y="214"/>
                      <a:pt x="466" y="217"/>
                    </a:cubicBezTo>
                    <a:lnTo>
                      <a:pt x="470" y="217"/>
                    </a:lnTo>
                    <a:close/>
                    <a:moveTo>
                      <a:pt x="5" y="195"/>
                    </a:moveTo>
                    <a:cubicBezTo>
                      <a:pt x="1" y="195"/>
                      <a:pt x="1" y="195"/>
                      <a:pt x="1" y="195"/>
                    </a:cubicBezTo>
                    <a:cubicBezTo>
                      <a:pt x="0" y="199"/>
                      <a:pt x="0" y="203"/>
                      <a:pt x="0" y="207"/>
                    </a:cubicBezTo>
                    <a:cubicBezTo>
                      <a:pt x="4" y="207"/>
                      <a:pt x="4" y="207"/>
                      <a:pt x="4" y="207"/>
                    </a:cubicBezTo>
                    <a:cubicBezTo>
                      <a:pt x="4" y="203"/>
                      <a:pt x="4" y="199"/>
                      <a:pt x="5" y="195"/>
                    </a:cubicBezTo>
                    <a:close/>
                    <a:moveTo>
                      <a:pt x="464" y="197"/>
                    </a:moveTo>
                    <a:cubicBezTo>
                      <a:pt x="463" y="193"/>
                      <a:pt x="461" y="190"/>
                      <a:pt x="459" y="186"/>
                    </a:cubicBezTo>
                    <a:cubicBezTo>
                      <a:pt x="455" y="188"/>
                      <a:pt x="455" y="188"/>
                      <a:pt x="455" y="188"/>
                    </a:cubicBezTo>
                    <a:cubicBezTo>
                      <a:pt x="457" y="192"/>
                      <a:pt x="459" y="195"/>
                      <a:pt x="461" y="199"/>
                    </a:cubicBezTo>
                    <a:lnTo>
                      <a:pt x="464" y="197"/>
                    </a:lnTo>
                    <a:close/>
                    <a:moveTo>
                      <a:pt x="10" y="176"/>
                    </a:moveTo>
                    <a:cubicBezTo>
                      <a:pt x="7" y="175"/>
                      <a:pt x="7" y="175"/>
                      <a:pt x="7" y="175"/>
                    </a:cubicBezTo>
                    <a:cubicBezTo>
                      <a:pt x="5" y="179"/>
                      <a:pt x="4" y="183"/>
                      <a:pt x="3" y="187"/>
                    </a:cubicBezTo>
                    <a:cubicBezTo>
                      <a:pt x="7" y="188"/>
                      <a:pt x="7" y="188"/>
                      <a:pt x="7" y="188"/>
                    </a:cubicBezTo>
                    <a:cubicBezTo>
                      <a:pt x="8" y="184"/>
                      <a:pt x="9" y="180"/>
                      <a:pt x="10" y="176"/>
                    </a:cubicBezTo>
                    <a:close/>
                    <a:moveTo>
                      <a:pt x="454" y="180"/>
                    </a:moveTo>
                    <a:cubicBezTo>
                      <a:pt x="451" y="176"/>
                      <a:pt x="449" y="173"/>
                      <a:pt x="446" y="170"/>
                    </a:cubicBezTo>
                    <a:cubicBezTo>
                      <a:pt x="443" y="173"/>
                      <a:pt x="443" y="173"/>
                      <a:pt x="443" y="173"/>
                    </a:cubicBezTo>
                    <a:cubicBezTo>
                      <a:pt x="446" y="176"/>
                      <a:pt x="448" y="179"/>
                      <a:pt x="451" y="182"/>
                    </a:cubicBezTo>
                    <a:lnTo>
                      <a:pt x="454" y="180"/>
                    </a:lnTo>
                    <a:close/>
                    <a:moveTo>
                      <a:pt x="19" y="159"/>
                    </a:moveTo>
                    <a:cubicBezTo>
                      <a:pt x="16" y="157"/>
                      <a:pt x="16" y="157"/>
                      <a:pt x="16" y="157"/>
                    </a:cubicBezTo>
                    <a:cubicBezTo>
                      <a:pt x="14" y="160"/>
                      <a:pt x="12" y="164"/>
                      <a:pt x="10" y="167"/>
                    </a:cubicBezTo>
                    <a:cubicBezTo>
                      <a:pt x="13" y="169"/>
                      <a:pt x="13" y="169"/>
                      <a:pt x="13" y="169"/>
                    </a:cubicBezTo>
                    <a:cubicBezTo>
                      <a:pt x="15" y="166"/>
                      <a:pt x="17" y="162"/>
                      <a:pt x="19" y="159"/>
                    </a:cubicBezTo>
                    <a:close/>
                    <a:moveTo>
                      <a:pt x="439" y="165"/>
                    </a:moveTo>
                    <a:cubicBezTo>
                      <a:pt x="436" y="163"/>
                      <a:pt x="433" y="160"/>
                      <a:pt x="429" y="158"/>
                    </a:cubicBezTo>
                    <a:cubicBezTo>
                      <a:pt x="427" y="162"/>
                      <a:pt x="427" y="162"/>
                      <a:pt x="427" y="162"/>
                    </a:cubicBezTo>
                    <a:cubicBezTo>
                      <a:pt x="430" y="164"/>
                      <a:pt x="434" y="166"/>
                      <a:pt x="437" y="168"/>
                    </a:cubicBezTo>
                    <a:lnTo>
                      <a:pt x="439" y="165"/>
                    </a:lnTo>
                    <a:close/>
                    <a:moveTo>
                      <a:pt x="31" y="143"/>
                    </a:moveTo>
                    <a:cubicBezTo>
                      <a:pt x="28" y="141"/>
                      <a:pt x="28" y="141"/>
                      <a:pt x="28" y="141"/>
                    </a:cubicBezTo>
                    <a:cubicBezTo>
                      <a:pt x="26" y="143"/>
                      <a:pt x="23" y="147"/>
                      <a:pt x="20" y="150"/>
                    </a:cubicBezTo>
                    <a:cubicBezTo>
                      <a:pt x="24" y="152"/>
                      <a:pt x="24" y="152"/>
                      <a:pt x="24" y="152"/>
                    </a:cubicBezTo>
                    <a:cubicBezTo>
                      <a:pt x="26" y="149"/>
                      <a:pt x="29" y="146"/>
                      <a:pt x="31" y="143"/>
                    </a:cubicBezTo>
                    <a:close/>
                    <a:moveTo>
                      <a:pt x="46" y="131"/>
                    </a:moveTo>
                    <a:cubicBezTo>
                      <a:pt x="44" y="128"/>
                      <a:pt x="44" y="128"/>
                      <a:pt x="44" y="128"/>
                    </a:cubicBezTo>
                    <a:cubicBezTo>
                      <a:pt x="41" y="130"/>
                      <a:pt x="38" y="132"/>
                      <a:pt x="34" y="135"/>
                    </a:cubicBezTo>
                    <a:cubicBezTo>
                      <a:pt x="37" y="138"/>
                      <a:pt x="37" y="138"/>
                      <a:pt x="37" y="138"/>
                    </a:cubicBezTo>
                    <a:cubicBezTo>
                      <a:pt x="40" y="135"/>
                      <a:pt x="43" y="133"/>
                      <a:pt x="46" y="131"/>
                    </a:cubicBezTo>
                    <a:close/>
                    <a:moveTo>
                      <a:pt x="64" y="122"/>
                    </a:moveTo>
                    <a:cubicBezTo>
                      <a:pt x="62" y="118"/>
                      <a:pt x="62" y="118"/>
                      <a:pt x="62" y="118"/>
                    </a:cubicBezTo>
                    <a:cubicBezTo>
                      <a:pt x="59" y="120"/>
                      <a:pt x="55" y="121"/>
                      <a:pt x="51" y="123"/>
                    </a:cubicBezTo>
                    <a:cubicBezTo>
                      <a:pt x="53" y="127"/>
                      <a:pt x="53" y="127"/>
                      <a:pt x="53" y="127"/>
                    </a:cubicBezTo>
                    <a:cubicBezTo>
                      <a:pt x="57" y="125"/>
                      <a:pt x="60" y="123"/>
                      <a:pt x="64" y="122"/>
                    </a:cubicBezTo>
                    <a:close/>
                    <a:moveTo>
                      <a:pt x="256" y="176"/>
                    </a:moveTo>
                    <a:cubicBezTo>
                      <a:pt x="265" y="176"/>
                      <a:pt x="265" y="176"/>
                      <a:pt x="265" y="176"/>
                    </a:cubicBezTo>
                    <a:cubicBezTo>
                      <a:pt x="261" y="161"/>
                      <a:pt x="261" y="161"/>
                      <a:pt x="261" y="161"/>
                    </a:cubicBezTo>
                    <a:lnTo>
                      <a:pt x="256" y="176"/>
                    </a:lnTo>
                    <a:close/>
                    <a:moveTo>
                      <a:pt x="184" y="160"/>
                    </a:moveTo>
                    <a:cubicBezTo>
                      <a:pt x="180" y="160"/>
                      <a:pt x="180" y="160"/>
                      <a:pt x="180" y="160"/>
                    </a:cubicBezTo>
                    <a:cubicBezTo>
                      <a:pt x="180" y="171"/>
                      <a:pt x="180" y="171"/>
                      <a:pt x="180" y="171"/>
                    </a:cubicBezTo>
                    <a:cubicBezTo>
                      <a:pt x="185" y="171"/>
                      <a:pt x="185" y="171"/>
                      <a:pt x="185" y="171"/>
                    </a:cubicBezTo>
                    <a:cubicBezTo>
                      <a:pt x="186" y="171"/>
                      <a:pt x="188" y="170"/>
                      <a:pt x="189" y="169"/>
                    </a:cubicBezTo>
                    <a:cubicBezTo>
                      <a:pt x="190" y="168"/>
                      <a:pt x="191" y="167"/>
                      <a:pt x="191" y="165"/>
                    </a:cubicBezTo>
                    <a:cubicBezTo>
                      <a:pt x="191" y="163"/>
                      <a:pt x="190" y="162"/>
                      <a:pt x="189" y="161"/>
                    </a:cubicBezTo>
                    <a:cubicBezTo>
                      <a:pt x="188" y="160"/>
                      <a:pt x="186" y="160"/>
                      <a:pt x="184" y="160"/>
                    </a:cubicBezTo>
                    <a:close/>
                    <a:moveTo>
                      <a:pt x="153" y="160"/>
                    </a:moveTo>
                    <a:cubicBezTo>
                      <a:pt x="149" y="160"/>
                      <a:pt x="149" y="160"/>
                      <a:pt x="149" y="160"/>
                    </a:cubicBezTo>
                    <a:cubicBezTo>
                      <a:pt x="149" y="172"/>
                      <a:pt x="149" y="172"/>
                      <a:pt x="149" y="172"/>
                    </a:cubicBezTo>
                    <a:cubicBezTo>
                      <a:pt x="153" y="172"/>
                      <a:pt x="153" y="172"/>
                      <a:pt x="153" y="172"/>
                    </a:cubicBezTo>
                    <a:cubicBezTo>
                      <a:pt x="155" y="172"/>
                      <a:pt x="157" y="171"/>
                      <a:pt x="158" y="170"/>
                    </a:cubicBezTo>
                    <a:cubicBezTo>
                      <a:pt x="159" y="169"/>
                      <a:pt x="160" y="168"/>
                      <a:pt x="160" y="166"/>
                    </a:cubicBezTo>
                    <a:cubicBezTo>
                      <a:pt x="160" y="164"/>
                      <a:pt x="159" y="162"/>
                      <a:pt x="158" y="161"/>
                    </a:cubicBezTo>
                    <a:cubicBezTo>
                      <a:pt x="157" y="160"/>
                      <a:pt x="155" y="160"/>
                      <a:pt x="153" y="160"/>
                    </a:cubicBezTo>
                    <a:close/>
                    <a:moveTo>
                      <a:pt x="446" y="232"/>
                    </a:moveTo>
                    <a:cubicBezTo>
                      <a:pt x="446" y="261"/>
                      <a:pt x="425" y="285"/>
                      <a:pt x="398" y="288"/>
                    </a:cubicBezTo>
                    <a:cubicBezTo>
                      <a:pt x="398" y="287"/>
                      <a:pt x="398" y="287"/>
                      <a:pt x="398" y="286"/>
                    </a:cubicBezTo>
                    <a:cubicBezTo>
                      <a:pt x="398" y="234"/>
                      <a:pt x="398" y="234"/>
                      <a:pt x="398" y="234"/>
                    </a:cubicBezTo>
                    <a:cubicBezTo>
                      <a:pt x="398" y="225"/>
                      <a:pt x="391" y="218"/>
                      <a:pt x="382" y="218"/>
                    </a:cubicBezTo>
                    <a:cubicBezTo>
                      <a:pt x="96" y="218"/>
                      <a:pt x="96" y="218"/>
                      <a:pt x="96" y="218"/>
                    </a:cubicBezTo>
                    <a:cubicBezTo>
                      <a:pt x="87" y="218"/>
                      <a:pt x="79" y="225"/>
                      <a:pt x="79" y="234"/>
                    </a:cubicBezTo>
                    <a:cubicBezTo>
                      <a:pt x="79" y="286"/>
                      <a:pt x="79" y="286"/>
                      <a:pt x="79" y="286"/>
                    </a:cubicBezTo>
                    <a:cubicBezTo>
                      <a:pt x="48" y="278"/>
                      <a:pt x="25" y="248"/>
                      <a:pt x="25" y="213"/>
                    </a:cubicBezTo>
                    <a:cubicBezTo>
                      <a:pt x="25" y="171"/>
                      <a:pt x="56" y="138"/>
                      <a:pt x="95" y="138"/>
                    </a:cubicBezTo>
                    <a:cubicBezTo>
                      <a:pt x="95" y="138"/>
                      <a:pt x="95" y="138"/>
                      <a:pt x="98" y="139"/>
                    </a:cubicBezTo>
                    <a:cubicBezTo>
                      <a:pt x="98" y="137"/>
                      <a:pt x="98" y="136"/>
                      <a:pt x="98" y="136"/>
                    </a:cubicBezTo>
                    <a:cubicBezTo>
                      <a:pt x="98" y="107"/>
                      <a:pt x="120" y="84"/>
                      <a:pt x="146" y="84"/>
                    </a:cubicBezTo>
                    <a:cubicBezTo>
                      <a:pt x="158" y="84"/>
                      <a:pt x="168" y="88"/>
                      <a:pt x="177" y="96"/>
                    </a:cubicBezTo>
                    <a:cubicBezTo>
                      <a:pt x="185" y="56"/>
                      <a:pt x="222" y="26"/>
                      <a:pt x="266" y="26"/>
                    </a:cubicBezTo>
                    <a:cubicBezTo>
                      <a:pt x="316" y="26"/>
                      <a:pt x="356" y="65"/>
                      <a:pt x="356" y="113"/>
                    </a:cubicBezTo>
                    <a:cubicBezTo>
                      <a:pt x="356" y="120"/>
                      <a:pt x="355" y="127"/>
                      <a:pt x="353" y="134"/>
                    </a:cubicBezTo>
                    <a:cubicBezTo>
                      <a:pt x="355" y="134"/>
                      <a:pt x="357" y="134"/>
                      <a:pt x="359" y="134"/>
                    </a:cubicBezTo>
                    <a:cubicBezTo>
                      <a:pt x="378" y="134"/>
                      <a:pt x="393" y="149"/>
                      <a:pt x="393" y="169"/>
                    </a:cubicBezTo>
                    <a:cubicBezTo>
                      <a:pt x="393" y="171"/>
                      <a:pt x="393" y="173"/>
                      <a:pt x="393" y="175"/>
                    </a:cubicBezTo>
                    <a:cubicBezTo>
                      <a:pt x="393" y="175"/>
                      <a:pt x="393" y="175"/>
                      <a:pt x="393" y="175"/>
                    </a:cubicBezTo>
                    <a:cubicBezTo>
                      <a:pt x="422" y="175"/>
                      <a:pt x="446" y="201"/>
                      <a:pt x="446" y="232"/>
                    </a:cubicBezTo>
                    <a:close/>
                    <a:moveTo>
                      <a:pt x="168" y="166"/>
                    </a:moveTo>
                    <a:cubicBezTo>
                      <a:pt x="168" y="162"/>
                      <a:pt x="167" y="159"/>
                      <a:pt x="164" y="157"/>
                    </a:cubicBezTo>
                    <a:cubicBezTo>
                      <a:pt x="162" y="155"/>
                      <a:pt x="158" y="154"/>
                      <a:pt x="153" y="154"/>
                    </a:cubicBezTo>
                    <a:cubicBezTo>
                      <a:pt x="141" y="154"/>
                      <a:pt x="141" y="154"/>
                      <a:pt x="141" y="154"/>
                    </a:cubicBezTo>
                    <a:cubicBezTo>
                      <a:pt x="141" y="189"/>
                      <a:pt x="141" y="189"/>
                      <a:pt x="141" y="189"/>
                    </a:cubicBezTo>
                    <a:cubicBezTo>
                      <a:pt x="149" y="189"/>
                      <a:pt x="149" y="189"/>
                      <a:pt x="149" y="189"/>
                    </a:cubicBezTo>
                    <a:cubicBezTo>
                      <a:pt x="149" y="177"/>
                      <a:pt x="149" y="177"/>
                      <a:pt x="149" y="177"/>
                    </a:cubicBezTo>
                    <a:cubicBezTo>
                      <a:pt x="153" y="177"/>
                      <a:pt x="153" y="177"/>
                      <a:pt x="153" y="177"/>
                    </a:cubicBezTo>
                    <a:cubicBezTo>
                      <a:pt x="158" y="177"/>
                      <a:pt x="162" y="177"/>
                      <a:pt x="164" y="175"/>
                    </a:cubicBezTo>
                    <a:cubicBezTo>
                      <a:pt x="167" y="173"/>
                      <a:pt x="168" y="170"/>
                      <a:pt x="168" y="166"/>
                    </a:cubicBezTo>
                    <a:close/>
                    <a:moveTo>
                      <a:pt x="201" y="189"/>
                    </a:moveTo>
                    <a:cubicBezTo>
                      <a:pt x="192" y="175"/>
                      <a:pt x="192" y="175"/>
                      <a:pt x="192" y="175"/>
                    </a:cubicBezTo>
                    <a:cubicBezTo>
                      <a:pt x="194" y="174"/>
                      <a:pt x="196" y="173"/>
                      <a:pt x="197" y="171"/>
                    </a:cubicBezTo>
                    <a:cubicBezTo>
                      <a:pt x="198" y="170"/>
                      <a:pt x="199" y="168"/>
                      <a:pt x="199" y="165"/>
                    </a:cubicBezTo>
                    <a:cubicBezTo>
                      <a:pt x="199" y="162"/>
                      <a:pt x="198" y="159"/>
                      <a:pt x="195" y="157"/>
                    </a:cubicBezTo>
                    <a:cubicBezTo>
                      <a:pt x="193" y="155"/>
                      <a:pt x="189" y="154"/>
                      <a:pt x="184" y="154"/>
                    </a:cubicBezTo>
                    <a:cubicBezTo>
                      <a:pt x="172" y="154"/>
                      <a:pt x="172" y="154"/>
                      <a:pt x="172" y="154"/>
                    </a:cubicBezTo>
                    <a:cubicBezTo>
                      <a:pt x="172" y="189"/>
                      <a:pt x="172" y="189"/>
                      <a:pt x="172" y="189"/>
                    </a:cubicBezTo>
                    <a:cubicBezTo>
                      <a:pt x="180" y="189"/>
                      <a:pt x="180" y="189"/>
                      <a:pt x="180" y="189"/>
                    </a:cubicBezTo>
                    <a:cubicBezTo>
                      <a:pt x="180" y="176"/>
                      <a:pt x="180" y="176"/>
                      <a:pt x="180" y="176"/>
                    </a:cubicBezTo>
                    <a:cubicBezTo>
                      <a:pt x="184" y="176"/>
                      <a:pt x="184" y="176"/>
                      <a:pt x="184" y="176"/>
                    </a:cubicBezTo>
                    <a:cubicBezTo>
                      <a:pt x="192" y="189"/>
                      <a:pt x="192" y="189"/>
                      <a:pt x="192" y="189"/>
                    </a:cubicBezTo>
                    <a:lnTo>
                      <a:pt x="201" y="189"/>
                    </a:lnTo>
                    <a:close/>
                    <a:moveTo>
                      <a:pt x="212" y="154"/>
                    </a:moveTo>
                    <a:cubicBezTo>
                      <a:pt x="204" y="154"/>
                      <a:pt x="204" y="154"/>
                      <a:pt x="204" y="154"/>
                    </a:cubicBezTo>
                    <a:cubicBezTo>
                      <a:pt x="204" y="189"/>
                      <a:pt x="204" y="189"/>
                      <a:pt x="204" y="189"/>
                    </a:cubicBezTo>
                    <a:cubicBezTo>
                      <a:pt x="212" y="189"/>
                      <a:pt x="212" y="189"/>
                      <a:pt x="212" y="189"/>
                    </a:cubicBezTo>
                    <a:lnTo>
                      <a:pt x="212" y="154"/>
                    </a:lnTo>
                    <a:close/>
                    <a:moveTo>
                      <a:pt x="236" y="189"/>
                    </a:moveTo>
                    <a:cubicBezTo>
                      <a:pt x="247" y="154"/>
                      <a:pt x="247" y="154"/>
                      <a:pt x="247" y="154"/>
                    </a:cubicBezTo>
                    <a:cubicBezTo>
                      <a:pt x="239" y="154"/>
                      <a:pt x="239" y="154"/>
                      <a:pt x="239" y="154"/>
                    </a:cubicBezTo>
                    <a:cubicBezTo>
                      <a:pt x="231" y="183"/>
                      <a:pt x="231" y="183"/>
                      <a:pt x="231" y="183"/>
                    </a:cubicBezTo>
                    <a:cubicBezTo>
                      <a:pt x="224" y="154"/>
                      <a:pt x="224" y="154"/>
                      <a:pt x="224" y="154"/>
                    </a:cubicBezTo>
                    <a:cubicBezTo>
                      <a:pt x="215" y="154"/>
                      <a:pt x="215" y="154"/>
                      <a:pt x="215" y="154"/>
                    </a:cubicBezTo>
                    <a:cubicBezTo>
                      <a:pt x="226" y="189"/>
                      <a:pt x="226" y="189"/>
                      <a:pt x="226" y="189"/>
                    </a:cubicBezTo>
                    <a:lnTo>
                      <a:pt x="236" y="189"/>
                    </a:lnTo>
                    <a:close/>
                    <a:moveTo>
                      <a:pt x="278" y="189"/>
                    </a:moveTo>
                    <a:cubicBezTo>
                      <a:pt x="265" y="154"/>
                      <a:pt x="265" y="154"/>
                      <a:pt x="265" y="154"/>
                    </a:cubicBezTo>
                    <a:cubicBezTo>
                      <a:pt x="256" y="154"/>
                      <a:pt x="256" y="154"/>
                      <a:pt x="256" y="154"/>
                    </a:cubicBezTo>
                    <a:cubicBezTo>
                      <a:pt x="244" y="189"/>
                      <a:pt x="244" y="189"/>
                      <a:pt x="244" y="189"/>
                    </a:cubicBezTo>
                    <a:cubicBezTo>
                      <a:pt x="252" y="189"/>
                      <a:pt x="252" y="189"/>
                      <a:pt x="252" y="189"/>
                    </a:cubicBezTo>
                    <a:cubicBezTo>
                      <a:pt x="254" y="181"/>
                      <a:pt x="254" y="181"/>
                      <a:pt x="254" y="181"/>
                    </a:cubicBezTo>
                    <a:cubicBezTo>
                      <a:pt x="267" y="181"/>
                      <a:pt x="267" y="181"/>
                      <a:pt x="267" y="181"/>
                    </a:cubicBezTo>
                    <a:cubicBezTo>
                      <a:pt x="269" y="189"/>
                      <a:pt x="269" y="189"/>
                      <a:pt x="269" y="189"/>
                    </a:cubicBezTo>
                    <a:lnTo>
                      <a:pt x="278" y="189"/>
                    </a:lnTo>
                    <a:close/>
                    <a:moveTo>
                      <a:pt x="304" y="154"/>
                    </a:moveTo>
                    <a:cubicBezTo>
                      <a:pt x="275" y="154"/>
                      <a:pt x="275" y="154"/>
                      <a:pt x="275" y="154"/>
                    </a:cubicBezTo>
                    <a:cubicBezTo>
                      <a:pt x="275" y="160"/>
                      <a:pt x="275" y="160"/>
                      <a:pt x="275" y="160"/>
                    </a:cubicBezTo>
                    <a:cubicBezTo>
                      <a:pt x="285" y="160"/>
                      <a:pt x="285" y="160"/>
                      <a:pt x="285" y="160"/>
                    </a:cubicBezTo>
                    <a:cubicBezTo>
                      <a:pt x="285" y="189"/>
                      <a:pt x="285" y="189"/>
                      <a:pt x="285" y="189"/>
                    </a:cubicBezTo>
                    <a:cubicBezTo>
                      <a:pt x="293" y="189"/>
                      <a:pt x="293" y="189"/>
                      <a:pt x="293" y="189"/>
                    </a:cubicBezTo>
                    <a:cubicBezTo>
                      <a:pt x="293" y="160"/>
                      <a:pt x="293" y="160"/>
                      <a:pt x="293" y="160"/>
                    </a:cubicBezTo>
                    <a:cubicBezTo>
                      <a:pt x="304" y="160"/>
                      <a:pt x="304" y="160"/>
                      <a:pt x="304" y="160"/>
                    </a:cubicBezTo>
                    <a:lnTo>
                      <a:pt x="304" y="154"/>
                    </a:lnTo>
                    <a:close/>
                    <a:moveTo>
                      <a:pt x="330" y="154"/>
                    </a:moveTo>
                    <a:cubicBezTo>
                      <a:pt x="307" y="154"/>
                      <a:pt x="307" y="154"/>
                      <a:pt x="307" y="154"/>
                    </a:cubicBezTo>
                    <a:cubicBezTo>
                      <a:pt x="307" y="189"/>
                      <a:pt x="307" y="189"/>
                      <a:pt x="307" y="189"/>
                    </a:cubicBezTo>
                    <a:cubicBezTo>
                      <a:pt x="330" y="189"/>
                      <a:pt x="330" y="189"/>
                      <a:pt x="330" y="189"/>
                    </a:cubicBezTo>
                    <a:cubicBezTo>
                      <a:pt x="330" y="183"/>
                      <a:pt x="330" y="183"/>
                      <a:pt x="330" y="183"/>
                    </a:cubicBezTo>
                    <a:cubicBezTo>
                      <a:pt x="315" y="183"/>
                      <a:pt x="315" y="183"/>
                      <a:pt x="315" y="183"/>
                    </a:cubicBezTo>
                    <a:cubicBezTo>
                      <a:pt x="315" y="174"/>
                      <a:pt x="315" y="174"/>
                      <a:pt x="315" y="174"/>
                    </a:cubicBezTo>
                    <a:cubicBezTo>
                      <a:pt x="329" y="174"/>
                      <a:pt x="329" y="174"/>
                      <a:pt x="329" y="174"/>
                    </a:cubicBezTo>
                    <a:cubicBezTo>
                      <a:pt x="329" y="169"/>
                      <a:pt x="329" y="169"/>
                      <a:pt x="329" y="169"/>
                    </a:cubicBezTo>
                    <a:cubicBezTo>
                      <a:pt x="315" y="169"/>
                      <a:pt x="315" y="169"/>
                      <a:pt x="315" y="169"/>
                    </a:cubicBezTo>
                    <a:cubicBezTo>
                      <a:pt x="315" y="160"/>
                      <a:pt x="315" y="160"/>
                      <a:pt x="315" y="160"/>
                    </a:cubicBezTo>
                    <a:cubicBezTo>
                      <a:pt x="330" y="160"/>
                      <a:pt x="330" y="160"/>
                      <a:pt x="330" y="160"/>
                    </a:cubicBezTo>
                    <a:lnTo>
                      <a:pt x="330" y="154"/>
                    </a:lnTo>
                    <a:close/>
                    <a:moveTo>
                      <a:pt x="389" y="287"/>
                    </a:moveTo>
                    <a:cubicBezTo>
                      <a:pt x="385" y="286"/>
                      <a:pt x="385" y="286"/>
                      <a:pt x="385" y="286"/>
                    </a:cubicBezTo>
                    <a:cubicBezTo>
                      <a:pt x="385" y="288"/>
                      <a:pt x="384" y="289"/>
                      <a:pt x="382" y="289"/>
                    </a:cubicBezTo>
                    <a:cubicBezTo>
                      <a:pt x="381" y="289"/>
                      <a:pt x="381" y="289"/>
                      <a:pt x="381" y="289"/>
                    </a:cubicBezTo>
                    <a:cubicBezTo>
                      <a:pt x="381" y="293"/>
                      <a:pt x="381" y="293"/>
                      <a:pt x="381" y="293"/>
                    </a:cubicBezTo>
                    <a:cubicBezTo>
                      <a:pt x="382" y="293"/>
                      <a:pt x="382" y="293"/>
                      <a:pt x="382" y="293"/>
                    </a:cubicBezTo>
                    <a:cubicBezTo>
                      <a:pt x="386" y="293"/>
                      <a:pt x="389" y="290"/>
                      <a:pt x="389" y="287"/>
                    </a:cubicBezTo>
                    <a:close/>
                    <a:moveTo>
                      <a:pt x="373" y="289"/>
                    </a:moveTo>
                    <a:cubicBezTo>
                      <a:pt x="365" y="289"/>
                      <a:pt x="365" y="289"/>
                      <a:pt x="365" y="289"/>
                    </a:cubicBezTo>
                    <a:cubicBezTo>
                      <a:pt x="365" y="293"/>
                      <a:pt x="365" y="293"/>
                      <a:pt x="365" y="293"/>
                    </a:cubicBezTo>
                    <a:cubicBezTo>
                      <a:pt x="373" y="293"/>
                      <a:pt x="373" y="293"/>
                      <a:pt x="373" y="293"/>
                    </a:cubicBezTo>
                    <a:lnTo>
                      <a:pt x="373" y="289"/>
                    </a:lnTo>
                    <a:close/>
                    <a:moveTo>
                      <a:pt x="357" y="289"/>
                    </a:moveTo>
                    <a:cubicBezTo>
                      <a:pt x="349" y="289"/>
                      <a:pt x="349" y="289"/>
                      <a:pt x="349" y="289"/>
                    </a:cubicBezTo>
                    <a:cubicBezTo>
                      <a:pt x="349" y="293"/>
                      <a:pt x="349" y="293"/>
                      <a:pt x="349" y="293"/>
                    </a:cubicBezTo>
                    <a:cubicBezTo>
                      <a:pt x="357" y="293"/>
                      <a:pt x="357" y="293"/>
                      <a:pt x="357" y="293"/>
                    </a:cubicBezTo>
                    <a:lnTo>
                      <a:pt x="357" y="289"/>
                    </a:lnTo>
                    <a:close/>
                    <a:moveTo>
                      <a:pt x="341" y="289"/>
                    </a:moveTo>
                    <a:cubicBezTo>
                      <a:pt x="333" y="289"/>
                      <a:pt x="333" y="289"/>
                      <a:pt x="333" y="289"/>
                    </a:cubicBezTo>
                    <a:cubicBezTo>
                      <a:pt x="333" y="293"/>
                      <a:pt x="333" y="293"/>
                      <a:pt x="333" y="293"/>
                    </a:cubicBezTo>
                    <a:cubicBezTo>
                      <a:pt x="341" y="293"/>
                      <a:pt x="341" y="293"/>
                      <a:pt x="341" y="293"/>
                    </a:cubicBezTo>
                    <a:lnTo>
                      <a:pt x="341" y="289"/>
                    </a:lnTo>
                    <a:close/>
                    <a:moveTo>
                      <a:pt x="325" y="289"/>
                    </a:moveTo>
                    <a:cubicBezTo>
                      <a:pt x="317" y="289"/>
                      <a:pt x="317" y="289"/>
                      <a:pt x="317" y="289"/>
                    </a:cubicBezTo>
                    <a:cubicBezTo>
                      <a:pt x="317" y="293"/>
                      <a:pt x="317" y="293"/>
                      <a:pt x="317" y="293"/>
                    </a:cubicBezTo>
                    <a:cubicBezTo>
                      <a:pt x="325" y="293"/>
                      <a:pt x="325" y="293"/>
                      <a:pt x="325" y="293"/>
                    </a:cubicBezTo>
                    <a:lnTo>
                      <a:pt x="325" y="289"/>
                    </a:lnTo>
                    <a:close/>
                    <a:moveTo>
                      <a:pt x="309" y="289"/>
                    </a:moveTo>
                    <a:cubicBezTo>
                      <a:pt x="301" y="289"/>
                      <a:pt x="301" y="289"/>
                      <a:pt x="301" y="289"/>
                    </a:cubicBezTo>
                    <a:cubicBezTo>
                      <a:pt x="301" y="293"/>
                      <a:pt x="301" y="293"/>
                      <a:pt x="301" y="293"/>
                    </a:cubicBezTo>
                    <a:cubicBezTo>
                      <a:pt x="309" y="293"/>
                      <a:pt x="309" y="293"/>
                      <a:pt x="309" y="293"/>
                    </a:cubicBezTo>
                    <a:lnTo>
                      <a:pt x="309" y="289"/>
                    </a:lnTo>
                    <a:close/>
                    <a:moveTo>
                      <a:pt x="293" y="289"/>
                    </a:moveTo>
                    <a:cubicBezTo>
                      <a:pt x="285" y="289"/>
                      <a:pt x="285" y="289"/>
                      <a:pt x="285" y="289"/>
                    </a:cubicBezTo>
                    <a:cubicBezTo>
                      <a:pt x="285" y="293"/>
                      <a:pt x="285" y="293"/>
                      <a:pt x="285" y="293"/>
                    </a:cubicBezTo>
                    <a:cubicBezTo>
                      <a:pt x="293" y="293"/>
                      <a:pt x="293" y="293"/>
                      <a:pt x="293" y="293"/>
                    </a:cubicBezTo>
                    <a:lnTo>
                      <a:pt x="293" y="289"/>
                    </a:lnTo>
                    <a:close/>
                    <a:moveTo>
                      <a:pt x="277" y="289"/>
                    </a:moveTo>
                    <a:cubicBezTo>
                      <a:pt x="269" y="289"/>
                      <a:pt x="269" y="289"/>
                      <a:pt x="269" y="289"/>
                    </a:cubicBezTo>
                    <a:cubicBezTo>
                      <a:pt x="269" y="293"/>
                      <a:pt x="269" y="293"/>
                      <a:pt x="269" y="293"/>
                    </a:cubicBezTo>
                    <a:cubicBezTo>
                      <a:pt x="277" y="293"/>
                      <a:pt x="277" y="293"/>
                      <a:pt x="277" y="293"/>
                    </a:cubicBezTo>
                    <a:lnTo>
                      <a:pt x="277" y="289"/>
                    </a:lnTo>
                    <a:close/>
                    <a:moveTo>
                      <a:pt x="261" y="289"/>
                    </a:moveTo>
                    <a:cubicBezTo>
                      <a:pt x="253" y="289"/>
                      <a:pt x="253" y="289"/>
                      <a:pt x="253" y="289"/>
                    </a:cubicBezTo>
                    <a:cubicBezTo>
                      <a:pt x="253" y="293"/>
                      <a:pt x="253" y="293"/>
                      <a:pt x="253" y="293"/>
                    </a:cubicBezTo>
                    <a:cubicBezTo>
                      <a:pt x="261" y="293"/>
                      <a:pt x="261" y="293"/>
                      <a:pt x="261" y="293"/>
                    </a:cubicBezTo>
                    <a:lnTo>
                      <a:pt x="261" y="289"/>
                    </a:lnTo>
                    <a:close/>
                    <a:moveTo>
                      <a:pt x="245" y="289"/>
                    </a:moveTo>
                    <a:cubicBezTo>
                      <a:pt x="237" y="289"/>
                      <a:pt x="237" y="289"/>
                      <a:pt x="237" y="289"/>
                    </a:cubicBezTo>
                    <a:cubicBezTo>
                      <a:pt x="237" y="293"/>
                      <a:pt x="237" y="293"/>
                      <a:pt x="237" y="293"/>
                    </a:cubicBezTo>
                    <a:cubicBezTo>
                      <a:pt x="245" y="293"/>
                      <a:pt x="245" y="293"/>
                      <a:pt x="245" y="293"/>
                    </a:cubicBezTo>
                    <a:lnTo>
                      <a:pt x="245" y="289"/>
                    </a:lnTo>
                    <a:close/>
                    <a:moveTo>
                      <a:pt x="229" y="289"/>
                    </a:moveTo>
                    <a:cubicBezTo>
                      <a:pt x="221" y="289"/>
                      <a:pt x="221" y="289"/>
                      <a:pt x="221" y="289"/>
                    </a:cubicBezTo>
                    <a:cubicBezTo>
                      <a:pt x="221" y="293"/>
                      <a:pt x="221" y="293"/>
                      <a:pt x="221" y="293"/>
                    </a:cubicBezTo>
                    <a:cubicBezTo>
                      <a:pt x="229" y="293"/>
                      <a:pt x="229" y="293"/>
                      <a:pt x="229" y="293"/>
                    </a:cubicBezTo>
                    <a:lnTo>
                      <a:pt x="229" y="289"/>
                    </a:lnTo>
                    <a:close/>
                    <a:moveTo>
                      <a:pt x="213" y="289"/>
                    </a:moveTo>
                    <a:cubicBezTo>
                      <a:pt x="205" y="289"/>
                      <a:pt x="205" y="289"/>
                      <a:pt x="205" y="289"/>
                    </a:cubicBezTo>
                    <a:cubicBezTo>
                      <a:pt x="205" y="293"/>
                      <a:pt x="205" y="293"/>
                      <a:pt x="205" y="293"/>
                    </a:cubicBezTo>
                    <a:cubicBezTo>
                      <a:pt x="213" y="293"/>
                      <a:pt x="213" y="293"/>
                      <a:pt x="213" y="293"/>
                    </a:cubicBezTo>
                    <a:lnTo>
                      <a:pt x="213" y="289"/>
                    </a:lnTo>
                    <a:close/>
                    <a:moveTo>
                      <a:pt x="197" y="289"/>
                    </a:moveTo>
                    <a:cubicBezTo>
                      <a:pt x="189" y="289"/>
                      <a:pt x="189" y="289"/>
                      <a:pt x="189" y="289"/>
                    </a:cubicBezTo>
                    <a:cubicBezTo>
                      <a:pt x="189" y="293"/>
                      <a:pt x="189" y="293"/>
                      <a:pt x="189" y="293"/>
                    </a:cubicBezTo>
                    <a:cubicBezTo>
                      <a:pt x="197" y="293"/>
                      <a:pt x="197" y="293"/>
                      <a:pt x="197" y="293"/>
                    </a:cubicBezTo>
                    <a:lnTo>
                      <a:pt x="197" y="289"/>
                    </a:lnTo>
                    <a:close/>
                    <a:moveTo>
                      <a:pt x="181" y="289"/>
                    </a:moveTo>
                    <a:cubicBezTo>
                      <a:pt x="173" y="289"/>
                      <a:pt x="173" y="289"/>
                      <a:pt x="173" y="289"/>
                    </a:cubicBezTo>
                    <a:cubicBezTo>
                      <a:pt x="173" y="293"/>
                      <a:pt x="173" y="293"/>
                      <a:pt x="173" y="293"/>
                    </a:cubicBezTo>
                    <a:cubicBezTo>
                      <a:pt x="181" y="293"/>
                      <a:pt x="181" y="293"/>
                      <a:pt x="181" y="293"/>
                    </a:cubicBezTo>
                    <a:lnTo>
                      <a:pt x="181" y="289"/>
                    </a:lnTo>
                    <a:close/>
                    <a:moveTo>
                      <a:pt x="165" y="289"/>
                    </a:moveTo>
                    <a:cubicBezTo>
                      <a:pt x="157" y="289"/>
                      <a:pt x="157" y="289"/>
                      <a:pt x="157" y="289"/>
                    </a:cubicBezTo>
                    <a:cubicBezTo>
                      <a:pt x="157" y="293"/>
                      <a:pt x="157" y="293"/>
                      <a:pt x="157" y="293"/>
                    </a:cubicBezTo>
                    <a:cubicBezTo>
                      <a:pt x="165" y="293"/>
                      <a:pt x="165" y="293"/>
                      <a:pt x="165" y="293"/>
                    </a:cubicBezTo>
                    <a:lnTo>
                      <a:pt x="165" y="289"/>
                    </a:lnTo>
                    <a:close/>
                    <a:moveTo>
                      <a:pt x="149" y="289"/>
                    </a:moveTo>
                    <a:cubicBezTo>
                      <a:pt x="141" y="289"/>
                      <a:pt x="141" y="289"/>
                      <a:pt x="141" y="289"/>
                    </a:cubicBezTo>
                    <a:cubicBezTo>
                      <a:pt x="141" y="293"/>
                      <a:pt x="141" y="293"/>
                      <a:pt x="141" y="293"/>
                    </a:cubicBezTo>
                    <a:cubicBezTo>
                      <a:pt x="149" y="293"/>
                      <a:pt x="149" y="293"/>
                      <a:pt x="149" y="293"/>
                    </a:cubicBezTo>
                    <a:lnTo>
                      <a:pt x="149" y="289"/>
                    </a:lnTo>
                    <a:close/>
                    <a:moveTo>
                      <a:pt x="133" y="289"/>
                    </a:moveTo>
                    <a:cubicBezTo>
                      <a:pt x="125" y="289"/>
                      <a:pt x="125" y="289"/>
                      <a:pt x="125" y="289"/>
                    </a:cubicBezTo>
                    <a:cubicBezTo>
                      <a:pt x="125" y="293"/>
                      <a:pt x="125" y="293"/>
                      <a:pt x="125" y="293"/>
                    </a:cubicBezTo>
                    <a:cubicBezTo>
                      <a:pt x="133" y="293"/>
                      <a:pt x="133" y="293"/>
                      <a:pt x="133" y="293"/>
                    </a:cubicBezTo>
                    <a:lnTo>
                      <a:pt x="133" y="289"/>
                    </a:lnTo>
                    <a:close/>
                    <a:moveTo>
                      <a:pt x="117" y="289"/>
                    </a:moveTo>
                    <a:cubicBezTo>
                      <a:pt x="109" y="289"/>
                      <a:pt x="109" y="289"/>
                      <a:pt x="109" y="289"/>
                    </a:cubicBezTo>
                    <a:cubicBezTo>
                      <a:pt x="109" y="293"/>
                      <a:pt x="109" y="293"/>
                      <a:pt x="109" y="293"/>
                    </a:cubicBezTo>
                    <a:cubicBezTo>
                      <a:pt x="117" y="293"/>
                      <a:pt x="117" y="293"/>
                      <a:pt x="117" y="293"/>
                    </a:cubicBezTo>
                    <a:lnTo>
                      <a:pt x="117" y="289"/>
                    </a:lnTo>
                    <a:close/>
                    <a:moveTo>
                      <a:pt x="101" y="289"/>
                    </a:moveTo>
                    <a:cubicBezTo>
                      <a:pt x="96" y="289"/>
                      <a:pt x="96" y="289"/>
                      <a:pt x="96" y="289"/>
                    </a:cubicBezTo>
                    <a:cubicBezTo>
                      <a:pt x="95" y="289"/>
                      <a:pt x="95" y="289"/>
                      <a:pt x="94" y="289"/>
                    </a:cubicBezTo>
                    <a:cubicBezTo>
                      <a:pt x="93" y="292"/>
                      <a:pt x="93" y="292"/>
                      <a:pt x="93" y="292"/>
                    </a:cubicBezTo>
                    <a:cubicBezTo>
                      <a:pt x="93" y="293"/>
                      <a:pt x="95" y="293"/>
                      <a:pt x="96" y="293"/>
                    </a:cubicBezTo>
                    <a:cubicBezTo>
                      <a:pt x="101" y="293"/>
                      <a:pt x="101" y="293"/>
                      <a:pt x="101" y="293"/>
                    </a:cubicBezTo>
                    <a:lnTo>
                      <a:pt x="101" y="289"/>
                    </a:lnTo>
                    <a:close/>
                    <a:moveTo>
                      <a:pt x="93" y="276"/>
                    </a:moveTo>
                    <a:cubicBezTo>
                      <a:pt x="89" y="276"/>
                      <a:pt x="89" y="276"/>
                      <a:pt x="89" y="276"/>
                    </a:cubicBezTo>
                    <a:cubicBezTo>
                      <a:pt x="89" y="284"/>
                      <a:pt x="89" y="284"/>
                      <a:pt x="89" y="284"/>
                    </a:cubicBezTo>
                    <a:cubicBezTo>
                      <a:pt x="93" y="284"/>
                      <a:pt x="93" y="284"/>
                      <a:pt x="93" y="284"/>
                    </a:cubicBezTo>
                    <a:lnTo>
                      <a:pt x="93" y="276"/>
                    </a:lnTo>
                    <a:close/>
                    <a:moveTo>
                      <a:pt x="389" y="271"/>
                    </a:moveTo>
                    <a:cubicBezTo>
                      <a:pt x="385" y="271"/>
                      <a:pt x="385" y="271"/>
                      <a:pt x="385" y="271"/>
                    </a:cubicBezTo>
                    <a:cubicBezTo>
                      <a:pt x="385" y="279"/>
                      <a:pt x="385" y="279"/>
                      <a:pt x="385" y="279"/>
                    </a:cubicBezTo>
                    <a:cubicBezTo>
                      <a:pt x="389" y="279"/>
                      <a:pt x="389" y="279"/>
                      <a:pt x="389" y="279"/>
                    </a:cubicBezTo>
                    <a:lnTo>
                      <a:pt x="389" y="271"/>
                    </a:lnTo>
                    <a:close/>
                    <a:moveTo>
                      <a:pt x="93" y="260"/>
                    </a:moveTo>
                    <a:cubicBezTo>
                      <a:pt x="89" y="260"/>
                      <a:pt x="89" y="260"/>
                      <a:pt x="89" y="260"/>
                    </a:cubicBezTo>
                    <a:cubicBezTo>
                      <a:pt x="89" y="268"/>
                      <a:pt x="89" y="268"/>
                      <a:pt x="89" y="268"/>
                    </a:cubicBezTo>
                    <a:cubicBezTo>
                      <a:pt x="93" y="268"/>
                      <a:pt x="93" y="268"/>
                      <a:pt x="93" y="268"/>
                    </a:cubicBezTo>
                    <a:lnTo>
                      <a:pt x="93" y="260"/>
                    </a:lnTo>
                    <a:close/>
                    <a:moveTo>
                      <a:pt x="389" y="255"/>
                    </a:moveTo>
                    <a:cubicBezTo>
                      <a:pt x="385" y="255"/>
                      <a:pt x="385" y="255"/>
                      <a:pt x="385" y="255"/>
                    </a:cubicBezTo>
                    <a:cubicBezTo>
                      <a:pt x="385" y="263"/>
                      <a:pt x="385" y="263"/>
                      <a:pt x="385" y="263"/>
                    </a:cubicBezTo>
                    <a:cubicBezTo>
                      <a:pt x="389" y="263"/>
                      <a:pt x="389" y="263"/>
                      <a:pt x="389" y="263"/>
                    </a:cubicBezTo>
                    <a:lnTo>
                      <a:pt x="389" y="255"/>
                    </a:lnTo>
                    <a:close/>
                    <a:moveTo>
                      <a:pt x="93" y="244"/>
                    </a:moveTo>
                    <a:cubicBezTo>
                      <a:pt x="89" y="244"/>
                      <a:pt x="89" y="244"/>
                      <a:pt x="89" y="244"/>
                    </a:cubicBezTo>
                    <a:cubicBezTo>
                      <a:pt x="89" y="252"/>
                      <a:pt x="89" y="252"/>
                      <a:pt x="89" y="252"/>
                    </a:cubicBezTo>
                    <a:cubicBezTo>
                      <a:pt x="93" y="252"/>
                      <a:pt x="93" y="252"/>
                      <a:pt x="93" y="252"/>
                    </a:cubicBezTo>
                    <a:lnTo>
                      <a:pt x="93" y="244"/>
                    </a:lnTo>
                    <a:close/>
                    <a:moveTo>
                      <a:pt x="389" y="239"/>
                    </a:moveTo>
                    <a:cubicBezTo>
                      <a:pt x="385" y="239"/>
                      <a:pt x="385" y="239"/>
                      <a:pt x="385" y="239"/>
                    </a:cubicBezTo>
                    <a:cubicBezTo>
                      <a:pt x="385" y="247"/>
                      <a:pt x="385" y="247"/>
                      <a:pt x="385" y="247"/>
                    </a:cubicBezTo>
                    <a:cubicBezTo>
                      <a:pt x="389" y="247"/>
                      <a:pt x="389" y="247"/>
                      <a:pt x="389" y="247"/>
                    </a:cubicBezTo>
                    <a:lnTo>
                      <a:pt x="389" y="239"/>
                    </a:lnTo>
                    <a:close/>
                    <a:moveTo>
                      <a:pt x="93" y="234"/>
                    </a:moveTo>
                    <a:cubicBezTo>
                      <a:pt x="93" y="233"/>
                      <a:pt x="94" y="231"/>
                      <a:pt x="95" y="231"/>
                    </a:cubicBezTo>
                    <a:cubicBezTo>
                      <a:pt x="93" y="227"/>
                      <a:pt x="93" y="227"/>
                      <a:pt x="93" y="227"/>
                    </a:cubicBezTo>
                    <a:cubicBezTo>
                      <a:pt x="91" y="228"/>
                      <a:pt x="89" y="231"/>
                      <a:pt x="89" y="234"/>
                    </a:cubicBezTo>
                    <a:cubicBezTo>
                      <a:pt x="89" y="236"/>
                      <a:pt x="89" y="236"/>
                      <a:pt x="89" y="236"/>
                    </a:cubicBezTo>
                    <a:cubicBezTo>
                      <a:pt x="93" y="236"/>
                      <a:pt x="93" y="236"/>
                      <a:pt x="93" y="236"/>
                    </a:cubicBezTo>
                    <a:lnTo>
                      <a:pt x="93" y="234"/>
                    </a:lnTo>
                    <a:close/>
                    <a:moveTo>
                      <a:pt x="388" y="230"/>
                    </a:moveTo>
                    <a:cubicBezTo>
                      <a:pt x="386" y="228"/>
                      <a:pt x="384" y="227"/>
                      <a:pt x="382" y="227"/>
                    </a:cubicBezTo>
                    <a:cubicBezTo>
                      <a:pt x="374" y="227"/>
                      <a:pt x="374" y="227"/>
                      <a:pt x="374" y="227"/>
                    </a:cubicBezTo>
                    <a:cubicBezTo>
                      <a:pt x="374" y="231"/>
                      <a:pt x="374" y="231"/>
                      <a:pt x="374" y="231"/>
                    </a:cubicBezTo>
                    <a:cubicBezTo>
                      <a:pt x="382" y="231"/>
                      <a:pt x="382" y="231"/>
                      <a:pt x="382" y="231"/>
                    </a:cubicBezTo>
                    <a:cubicBezTo>
                      <a:pt x="383" y="231"/>
                      <a:pt x="384" y="231"/>
                      <a:pt x="384" y="232"/>
                    </a:cubicBezTo>
                    <a:lnTo>
                      <a:pt x="388" y="230"/>
                    </a:lnTo>
                    <a:close/>
                    <a:moveTo>
                      <a:pt x="366" y="227"/>
                    </a:moveTo>
                    <a:cubicBezTo>
                      <a:pt x="358" y="227"/>
                      <a:pt x="358" y="227"/>
                      <a:pt x="358" y="227"/>
                    </a:cubicBezTo>
                    <a:cubicBezTo>
                      <a:pt x="358" y="231"/>
                      <a:pt x="358" y="231"/>
                      <a:pt x="358" y="231"/>
                    </a:cubicBezTo>
                    <a:cubicBezTo>
                      <a:pt x="366" y="231"/>
                      <a:pt x="366" y="231"/>
                      <a:pt x="366" y="231"/>
                    </a:cubicBezTo>
                    <a:lnTo>
                      <a:pt x="366" y="227"/>
                    </a:lnTo>
                    <a:close/>
                    <a:moveTo>
                      <a:pt x="350" y="227"/>
                    </a:moveTo>
                    <a:cubicBezTo>
                      <a:pt x="342" y="227"/>
                      <a:pt x="342" y="227"/>
                      <a:pt x="342" y="227"/>
                    </a:cubicBezTo>
                    <a:cubicBezTo>
                      <a:pt x="342" y="231"/>
                      <a:pt x="342" y="231"/>
                      <a:pt x="342" y="231"/>
                    </a:cubicBezTo>
                    <a:cubicBezTo>
                      <a:pt x="350" y="231"/>
                      <a:pt x="350" y="231"/>
                      <a:pt x="350" y="231"/>
                    </a:cubicBezTo>
                    <a:lnTo>
                      <a:pt x="350" y="227"/>
                    </a:lnTo>
                    <a:close/>
                    <a:moveTo>
                      <a:pt x="334" y="227"/>
                    </a:moveTo>
                    <a:cubicBezTo>
                      <a:pt x="326" y="227"/>
                      <a:pt x="326" y="227"/>
                      <a:pt x="326" y="227"/>
                    </a:cubicBezTo>
                    <a:cubicBezTo>
                      <a:pt x="326" y="231"/>
                      <a:pt x="326" y="231"/>
                      <a:pt x="326" y="231"/>
                    </a:cubicBezTo>
                    <a:cubicBezTo>
                      <a:pt x="334" y="231"/>
                      <a:pt x="334" y="231"/>
                      <a:pt x="334" y="231"/>
                    </a:cubicBezTo>
                    <a:lnTo>
                      <a:pt x="334" y="227"/>
                    </a:lnTo>
                    <a:close/>
                    <a:moveTo>
                      <a:pt x="318" y="227"/>
                    </a:moveTo>
                    <a:cubicBezTo>
                      <a:pt x="310" y="227"/>
                      <a:pt x="310" y="227"/>
                      <a:pt x="310" y="227"/>
                    </a:cubicBezTo>
                    <a:cubicBezTo>
                      <a:pt x="310" y="231"/>
                      <a:pt x="310" y="231"/>
                      <a:pt x="310" y="231"/>
                    </a:cubicBezTo>
                    <a:cubicBezTo>
                      <a:pt x="318" y="231"/>
                      <a:pt x="318" y="231"/>
                      <a:pt x="318" y="231"/>
                    </a:cubicBezTo>
                    <a:lnTo>
                      <a:pt x="318" y="227"/>
                    </a:lnTo>
                    <a:close/>
                    <a:moveTo>
                      <a:pt x="302" y="227"/>
                    </a:moveTo>
                    <a:cubicBezTo>
                      <a:pt x="294" y="227"/>
                      <a:pt x="294" y="227"/>
                      <a:pt x="294" y="227"/>
                    </a:cubicBezTo>
                    <a:cubicBezTo>
                      <a:pt x="294" y="231"/>
                      <a:pt x="294" y="231"/>
                      <a:pt x="294" y="231"/>
                    </a:cubicBezTo>
                    <a:cubicBezTo>
                      <a:pt x="302" y="231"/>
                      <a:pt x="302" y="231"/>
                      <a:pt x="302" y="231"/>
                    </a:cubicBezTo>
                    <a:lnTo>
                      <a:pt x="302" y="227"/>
                    </a:lnTo>
                    <a:close/>
                    <a:moveTo>
                      <a:pt x="286" y="227"/>
                    </a:moveTo>
                    <a:cubicBezTo>
                      <a:pt x="278" y="227"/>
                      <a:pt x="278" y="227"/>
                      <a:pt x="278" y="227"/>
                    </a:cubicBezTo>
                    <a:cubicBezTo>
                      <a:pt x="278" y="231"/>
                      <a:pt x="278" y="231"/>
                      <a:pt x="278" y="231"/>
                    </a:cubicBezTo>
                    <a:cubicBezTo>
                      <a:pt x="286" y="231"/>
                      <a:pt x="286" y="231"/>
                      <a:pt x="286" y="231"/>
                    </a:cubicBezTo>
                    <a:lnTo>
                      <a:pt x="286" y="227"/>
                    </a:lnTo>
                    <a:close/>
                    <a:moveTo>
                      <a:pt x="270" y="227"/>
                    </a:moveTo>
                    <a:cubicBezTo>
                      <a:pt x="262" y="227"/>
                      <a:pt x="262" y="227"/>
                      <a:pt x="262" y="227"/>
                    </a:cubicBezTo>
                    <a:cubicBezTo>
                      <a:pt x="262" y="231"/>
                      <a:pt x="262" y="231"/>
                      <a:pt x="262" y="231"/>
                    </a:cubicBezTo>
                    <a:cubicBezTo>
                      <a:pt x="270" y="231"/>
                      <a:pt x="270" y="231"/>
                      <a:pt x="270" y="231"/>
                    </a:cubicBezTo>
                    <a:lnTo>
                      <a:pt x="270" y="227"/>
                    </a:lnTo>
                    <a:close/>
                    <a:moveTo>
                      <a:pt x="254" y="227"/>
                    </a:moveTo>
                    <a:cubicBezTo>
                      <a:pt x="246" y="227"/>
                      <a:pt x="246" y="227"/>
                      <a:pt x="246" y="227"/>
                    </a:cubicBezTo>
                    <a:cubicBezTo>
                      <a:pt x="246" y="231"/>
                      <a:pt x="246" y="231"/>
                      <a:pt x="246" y="231"/>
                    </a:cubicBezTo>
                    <a:cubicBezTo>
                      <a:pt x="254" y="231"/>
                      <a:pt x="254" y="231"/>
                      <a:pt x="254" y="231"/>
                    </a:cubicBezTo>
                    <a:lnTo>
                      <a:pt x="254" y="227"/>
                    </a:lnTo>
                    <a:close/>
                    <a:moveTo>
                      <a:pt x="238" y="227"/>
                    </a:moveTo>
                    <a:cubicBezTo>
                      <a:pt x="230" y="227"/>
                      <a:pt x="230" y="227"/>
                      <a:pt x="230" y="227"/>
                    </a:cubicBezTo>
                    <a:cubicBezTo>
                      <a:pt x="230" y="231"/>
                      <a:pt x="230" y="231"/>
                      <a:pt x="230" y="231"/>
                    </a:cubicBezTo>
                    <a:cubicBezTo>
                      <a:pt x="238" y="231"/>
                      <a:pt x="238" y="231"/>
                      <a:pt x="238" y="231"/>
                    </a:cubicBezTo>
                    <a:lnTo>
                      <a:pt x="238" y="227"/>
                    </a:lnTo>
                    <a:close/>
                    <a:moveTo>
                      <a:pt x="222" y="227"/>
                    </a:moveTo>
                    <a:cubicBezTo>
                      <a:pt x="214" y="227"/>
                      <a:pt x="214" y="227"/>
                      <a:pt x="214" y="227"/>
                    </a:cubicBezTo>
                    <a:cubicBezTo>
                      <a:pt x="214" y="231"/>
                      <a:pt x="214" y="231"/>
                      <a:pt x="214" y="231"/>
                    </a:cubicBezTo>
                    <a:cubicBezTo>
                      <a:pt x="222" y="231"/>
                      <a:pt x="222" y="231"/>
                      <a:pt x="222" y="231"/>
                    </a:cubicBezTo>
                    <a:lnTo>
                      <a:pt x="222" y="227"/>
                    </a:lnTo>
                    <a:close/>
                    <a:moveTo>
                      <a:pt x="206" y="227"/>
                    </a:moveTo>
                    <a:cubicBezTo>
                      <a:pt x="198" y="227"/>
                      <a:pt x="198" y="227"/>
                      <a:pt x="198" y="227"/>
                    </a:cubicBezTo>
                    <a:cubicBezTo>
                      <a:pt x="198" y="231"/>
                      <a:pt x="198" y="231"/>
                      <a:pt x="198" y="231"/>
                    </a:cubicBezTo>
                    <a:cubicBezTo>
                      <a:pt x="206" y="231"/>
                      <a:pt x="206" y="231"/>
                      <a:pt x="206" y="231"/>
                    </a:cubicBezTo>
                    <a:lnTo>
                      <a:pt x="206" y="227"/>
                    </a:lnTo>
                    <a:close/>
                    <a:moveTo>
                      <a:pt x="190" y="227"/>
                    </a:moveTo>
                    <a:cubicBezTo>
                      <a:pt x="182" y="227"/>
                      <a:pt x="182" y="227"/>
                      <a:pt x="182" y="227"/>
                    </a:cubicBezTo>
                    <a:cubicBezTo>
                      <a:pt x="182" y="231"/>
                      <a:pt x="182" y="231"/>
                      <a:pt x="182" y="231"/>
                    </a:cubicBezTo>
                    <a:cubicBezTo>
                      <a:pt x="190" y="231"/>
                      <a:pt x="190" y="231"/>
                      <a:pt x="190" y="231"/>
                    </a:cubicBezTo>
                    <a:lnTo>
                      <a:pt x="190" y="227"/>
                    </a:lnTo>
                    <a:close/>
                    <a:moveTo>
                      <a:pt x="174" y="227"/>
                    </a:moveTo>
                    <a:cubicBezTo>
                      <a:pt x="166" y="227"/>
                      <a:pt x="166" y="227"/>
                      <a:pt x="166" y="227"/>
                    </a:cubicBezTo>
                    <a:cubicBezTo>
                      <a:pt x="166" y="231"/>
                      <a:pt x="166" y="231"/>
                      <a:pt x="166" y="231"/>
                    </a:cubicBezTo>
                    <a:cubicBezTo>
                      <a:pt x="174" y="231"/>
                      <a:pt x="174" y="231"/>
                      <a:pt x="174" y="231"/>
                    </a:cubicBezTo>
                    <a:lnTo>
                      <a:pt x="174" y="227"/>
                    </a:lnTo>
                    <a:close/>
                    <a:moveTo>
                      <a:pt x="158" y="227"/>
                    </a:moveTo>
                    <a:cubicBezTo>
                      <a:pt x="150" y="227"/>
                      <a:pt x="150" y="227"/>
                      <a:pt x="150" y="227"/>
                    </a:cubicBezTo>
                    <a:cubicBezTo>
                      <a:pt x="150" y="231"/>
                      <a:pt x="150" y="231"/>
                      <a:pt x="150" y="231"/>
                    </a:cubicBezTo>
                    <a:cubicBezTo>
                      <a:pt x="158" y="231"/>
                      <a:pt x="158" y="231"/>
                      <a:pt x="158" y="231"/>
                    </a:cubicBezTo>
                    <a:lnTo>
                      <a:pt x="158" y="227"/>
                    </a:lnTo>
                    <a:close/>
                    <a:moveTo>
                      <a:pt x="142" y="227"/>
                    </a:moveTo>
                    <a:cubicBezTo>
                      <a:pt x="134" y="227"/>
                      <a:pt x="134" y="227"/>
                      <a:pt x="134" y="227"/>
                    </a:cubicBezTo>
                    <a:cubicBezTo>
                      <a:pt x="134" y="231"/>
                      <a:pt x="134" y="231"/>
                      <a:pt x="134" y="231"/>
                    </a:cubicBezTo>
                    <a:cubicBezTo>
                      <a:pt x="142" y="231"/>
                      <a:pt x="142" y="231"/>
                      <a:pt x="142" y="231"/>
                    </a:cubicBezTo>
                    <a:lnTo>
                      <a:pt x="142" y="227"/>
                    </a:lnTo>
                    <a:close/>
                    <a:moveTo>
                      <a:pt x="126" y="227"/>
                    </a:moveTo>
                    <a:cubicBezTo>
                      <a:pt x="118" y="227"/>
                      <a:pt x="118" y="227"/>
                      <a:pt x="118" y="227"/>
                    </a:cubicBezTo>
                    <a:cubicBezTo>
                      <a:pt x="118" y="231"/>
                      <a:pt x="118" y="231"/>
                      <a:pt x="118" y="231"/>
                    </a:cubicBezTo>
                    <a:cubicBezTo>
                      <a:pt x="126" y="231"/>
                      <a:pt x="126" y="231"/>
                      <a:pt x="126" y="231"/>
                    </a:cubicBezTo>
                    <a:lnTo>
                      <a:pt x="126" y="227"/>
                    </a:lnTo>
                    <a:close/>
                    <a:moveTo>
                      <a:pt x="110" y="227"/>
                    </a:moveTo>
                    <a:cubicBezTo>
                      <a:pt x="102" y="227"/>
                      <a:pt x="102" y="227"/>
                      <a:pt x="102" y="227"/>
                    </a:cubicBezTo>
                    <a:cubicBezTo>
                      <a:pt x="102" y="231"/>
                      <a:pt x="102" y="231"/>
                      <a:pt x="102" y="231"/>
                    </a:cubicBezTo>
                    <a:cubicBezTo>
                      <a:pt x="110" y="231"/>
                      <a:pt x="110" y="231"/>
                      <a:pt x="110" y="231"/>
                    </a:cubicBezTo>
                    <a:lnTo>
                      <a:pt x="110" y="227"/>
                    </a:lnTo>
                    <a:close/>
                    <a:moveTo>
                      <a:pt x="193" y="248"/>
                    </a:moveTo>
                    <a:cubicBezTo>
                      <a:pt x="150" y="248"/>
                      <a:pt x="150" y="248"/>
                      <a:pt x="150" y="248"/>
                    </a:cubicBezTo>
                    <a:cubicBezTo>
                      <a:pt x="150" y="272"/>
                      <a:pt x="150" y="272"/>
                      <a:pt x="150" y="272"/>
                    </a:cubicBezTo>
                    <a:cubicBezTo>
                      <a:pt x="193" y="272"/>
                      <a:pt x="193" y="272"/>
                      <a:pt x="193" y="272"/>
                    </a:cubicBezTo>
                    <a:lnTo>
                      <a:pt x="193" y="248"/>
                    </a:lnTo>
                    <a:close/>
                    <a:moveTo>
                      <a:pt x="215" y="248"/>
                    </a:moveTo>
                    <a:cubicBezTo>
                      <a:pt x="204" y="248"/>
                      <a:pt x="204" y="248"/>
                      <a:pt x="204" y="248"/>
                    </a:cubicBezTo>
                    <a:cubicBezTo>
                      <a:pt x="204" y="272"/>
                      <a:pt x="204" y="272"/>
                      <a:pt x="204" y="272"/>
                    </a:cubicBezTo>
                    <a:cubicBezTo>
                      <a:pt x="215" y="272"/>
                      <a:pt x="215" y="272"/>
                      <a:pt x="215" y="272"/>
                    </a:cubicBezTo>
                    <a:lnTo>
                      <a:pt x="215" y="248"/>
                    </a:lnTo>
                    <a:close/>
                    <a:moveTo>
                      <a:pt x="234" y="248"/>
                    </a:moveTo>
                    <a:cubicBezTo>
                      <a:pt x="223" y="248"/>
                      <a:pt x="223" y="248"/>
                      <a:pt x="223" y="248"/>
                    </a:cubicBezTo>
                    <a:cubicBezTo>
                      <a:pt x="223" y="272"/>
                      <a:pt x="223" y="272"/>
                      <a:pt x="223" y="272"/>
                    </a:cubicBezTo>
                    <a:cubicBezTo>
                      <a:pt x="234" y="272"/>
                      <a:pt x="234" y="272"/>
                      <a:pt x="234" y="272"/>
                    </a:cubicBezTo>
                    <a:lnTo>
                      <a:pt x="234" y="248"/>
                    </a:lnTo>
                    <a:close/>
                    <a:moveTo>
                      <a:pt x="253" y="248"/>
                    </a:moveTo>
                    <a:cubicBezTo>
                      <a:pt x="242" y="248"/>
                      <a:pt x="242" y="248"/>
                      <a:pt x="242" y="248"/>
                    </a:cubicBezTo>
                    <a:cubicBezTo>
                      <a:pt x="242" y="272"/>
                      <a:pt x="242" y="272"/>
                      <a:pt x="242" y="272"/>
                    </a:cubicBezTo>
                    <a:cubicBezTo>
                      <a:pt x="253" y="272"/>
                      <a:pt x="253" y="272"/>
                      <a:pt x="253" y="272"/>
                    </a:cubicBezTo>
                    <a:lnTo>
                      <a:pt x="253" y="248"/>
                    </a:lnTo>
                    <a:close/>
                    <a:moveTo>
                      <a:pt x="272" y="248"/>
                    </a:moveTo>
                    <a:cubicBezTo>
                      <a:pt x="261" y="248"/>
                      <a:pt x="261" y="248"/>
                      <a:pt x="261" y="248"/>
                    </a:cubicBezTo>
                    <a:cubicBezTo>
                      <a:pt x="261" y="272"/>
                      <a:pt x="261" y="272"/>
                      <a:pt x="261" y="272"/>
                    </a:cubicBezTo>
                    <a:cubicBezTo>
                      <a:pt x="272" y="272"/>
                      <a:pt x="272" y="272"/>
                      <a:pt x="272" y="272"/>
                    </a:cubicBezTo>
                    <a:lnTo>
                      <a:pt x="272" y="248"/>
                    </a:lnTo>
                    <a:close/>
                    <a:moveTo>
                      <a:pt x="291" y="248"/>
                    </a:moveTo>
                    <a:cubicBezTo>
                      <a:pt x="280" y="248"/>
                      <a:pt x="280" y="248"/>
                      <a:pt x="280" y="248"/>
                    </a:cubicBezTo>
                    <a:cubicBezTo>
                      <a:pt x="280" y="272"/>
                      <a:pt x="280" y="272"/>
                      <a:pt x="280" y="272"/>
                    </a:cubicBezTo>
                    <a:cubicBezTo>
                      <a:pt x="291" y="272"/>
                      <a:pt x="291" y="272"/>
                      <a:pt x="291" y="272"/>
                    </a:cubicBezTo>
                    <a:lnTo>
                      <a:pt x="291" y="248"/>
                    </a:lnTo>
                    <a:close/>
                    <a:moveTo>
                      <a:pt x="361" y="260"/>
                    </a:moveTo>
                    <a:cubicBezTo>
                      <a:pt x="361" y="256"/>
                      <a:pt x="357" y="253"/>
                      <a:pt x="354" y="253"/>
                    </a:cubicBezTo>
                    <a:cubicBezTo>
                      <a:pt x="350" y="253"/>
                      <a:pt x="346" y="256"/>
                      <a:pt x="346" y="260"/>
                    </a:cubicBezTo>
                    <a:cubicBezTo>
                      <a:pt x="346" y="264"/>
                      <a:pt x="350" y="267"/>
                      <a:pt x="354" y="267"/>
                    </a:cubicBezTo>
                    <a:cubicBezTo>
                      <a:pt x="357" y="267"/>
                      <a:pt x="361" y="264"/>
                      <a:pt x="361" y="260"/>
                    </a:cubicBezTo>
                    <a:close/>
                    <a:moveTo>
                      <a:pt x="141" y="245"/>
                    </a:moveTo>
                    <a:cubicBezTo>
                      <a:pt x="141" y="245"/>
                      <a:pt x="141" y="245"/>
                      <a:pt x="141" y="256"/>
                    </a:cubicBezTo>
                    <a:cubicBezTo>
                      <a:pt x="141" y="266"/>
                      <a:pt x="135" y="275"/>
                      <a:pt x="126" y="279"/>
                    </a:cubicBezTo>
                    <a:cubicBezTo>
                      <a:pt x="116" y="275"/>
                      <a:pt x="110" y="266"/>
                      <a:pt x="110" y="256"/>
                    </a:cubicBezTo>
                    <a:cubicBezTo>
                      <a:pt x="110" y="256"/>
                      <a:pt x="110" y="256"/>
                      <a:pt x="110" y="245"/>
                    </a:cubicBezTo>
                    <a:cubicBezTo>
                      <a:pt x="110" y="245"/>
                      <a:pt x="110" y="245"/>
                      <a:pt x="116" y="243"/>
                    </a:cubicBezTo>
                    <a:cubicBezTo>
                      <a:pt x="116" y="243"/>
                      <a:pt x="116" y="243"/>
                      <a:pt x="116" y="245"/>
                    </a:cubicBezTo>
                    <a:cubicBezTo>
                      <a:pt x="116" y="245"/>
                      <a:pt x="116" y="245"/>
                      <a:pt x="122" y="244"/>
                    </a:cubicBezTo>
                    <a:cubicBezTo>
                      <a:pt x="122" y="244"/>
                      <a:pt x="122" y="244"/>
                      <a:pt x="122" y="242"/>
                    </a:cubicBezTo>
                    <a:cubicBezTo>
                      <a:pt x="122" y="242"/>
                      <a:pt x="122" y="242"/>
                      <a:pt x="126" y="241"/>
                    </a:cubicBezTo>
                    <a:cubicBezTo>
                      <a:pt x="126" y="241"/>
                      <a:pt x="126" y="241"/>
                      <a:pt x="129" y="242"/>
                    </a:cubicBezTo>
                    <a:cubicBezTo>
                      <a:pt x="129" y="242"/>
                      <a:pt x="129" y="242"/>
                      <a:pt x="129" y="244"/>
                    </a:cubicBezTo>
                    <a:cubicBezTo>
                      <a:pt x="129" y="244"/>
                      <a:pt x="129" y="244"/>
                      <a:pt x="136" y="245"/>
                    </a:cubicBezTo>
                    <a:cubicBezTo>
                      <a:pt x="136" y="245"/>
                      <a:pt x="136" y="245"/>
                      <a:pt x="136" y="243"/>
                    </a:cubicBezTo>
                    <a:lnTo>
                      <a:pt x="141" y="245"/>
                    </a:lnTo>
                    <a:close/>
                    <a:moveTo>
                      <a:pt x="137" y="250"/>
                    </a:moveTo>
                    <a:cubicBezTo>
                      <a:pt x="137" y="250"/>
                      <a:pt x="137" y="250"/>
                      <a:pt x="126" y="248"/>
                    </a:cubicBezTo>
                    <a:cubicBezTo>
                      <a:pt x="126" y="248"/>
                      <a:pt x="126" y="248"/>
                      <a:pt x="126" y="260"/>
                    </a:cubicBezTo>
                    <a:cubicBezTo>
                      <a:pt x="126" y="260"/>
                      <a:pt x="126" y="260"/>
                      <a:pt x="115" y="260"/>
                    </a:cubicBezTo>
                    <a:cubicBezTo>
                      <a:pt x="116" y="266"/>
                      <a:pt x="120" y="271"/>
                      <a:pt x="126" y="274"/>
                    </a:cubicBezTo>
                    <a:cubicBezTo>
                      <a:pt x="126" y="274"/>
                      <a:pt x="126" y="274"/>
                      <a:pt x="126" y="260"/>
                    </a:cubicBezTo>
                    <a:cubicBezTo>
                      <a:pt x="126" y="260"/>
                      <a:pt x="126" y="260"/>
                      <a:pt x="136" y="260"/>
                    </a:cubicBezTo>
                    <a:cubicBezTo>
                      <a:pt x="137" y="259"/>
                      <a:pt x="137" y="257"/>
                      <a:pt x="137" y="256"/>
                    </a:cubicBezTo>
                    <a:lnTo>
                      <a:pt x="137" y="250"/>
                    </a:ln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a:lnSpc>
                    <a:spcPct val="90000"/>
                  </a:lnSpc>
                  <a:defRPr/>
                </a:pPr>
                <a:endParaRPr lang="en-US" dirty="0">
                  <a:solidFill>
                    <a:srgbClr val="FFFFFF"/>
                  </a:solidFill>
                  <a:latin typeface="Arial"/>
                  <a:cs typeface=""/>
                </a:endParaRPr>
              </a:p>
            </p:txBody>
          </p:sp>
        </p:grpSp>
        <p:grpSp>
          <p:nvGrpSpPr>
            <p:cNvPr id="243" name="Group 200"/>
            <p:cNvGrpSpPr/>
            <p:nvPr/>
          </p:nvGrpSpPr>
          <p:grpSpPr>
            <a:xfrm>
              <a:off x="6183438" y="1287181"/>
              <a:ext cx="160078" cy="194688"/>
              <a:chOff x="2322747" y="1197939"/>
              <a:chExt cx="198707" cy="241668"/>
            </a:xfrm>
          </p:grpSpPr>
          <p:sp>
            <p:nvSpPr>
              <p:cNvPr id="136" name="Rectangle 135"/>
              <p:cNvSpPr/>
              <p:nvPr/>
            </p:nvSpPr>
            <p:spPr>
              <a:xfrm>
                <a:off x="2353909" y="1220816"/>
                <a:ext cx="152988"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137" name="Rectangle 136"/>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endParaRPr>
              </a:p>
            </p:txBody>
          </p:sp>
          <p:sp>
            <p:nvSpPr>
              <p:cNvPr id="138" name="Freeform 137"/>
              <p:cNvSpPr>
                <a:spLocks noEditPoints="1"/>
              </p:cNvSpPr>
              <p:nvPr/>
            </p:nvSpPr>
            <p:spPr bwMode="auto">
              <a:xfrm>
                <a:off x="2322747" y="1197939"/>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grpSp>
        <p:grpSp>
          <p:nvGrpSpPr>
            <p:cNvPr id="244" name="Group 119"/>
            <p:cNvGrpSpPr/>
            <p:nvPr/>
          </p:nvGrpSpPr>
          <p:grpSpPr>
            <a:xfrm>
              <a:off x="6168966" y="3148228"/>
              <a:ext cx="657139" cy="375703"/>
              <a:chOff x="8268946" y="1203248"/>
              <a:chExt cx="656653" cy="375427"/>
            </a:xfrm>
          </p:grpSpPr>
          <p:pic>
            <p:nvPicPr>
              <p:cNvPr id="141" name="Picture 140" descr="logo.png"/>
              <p:cNvPicPr>
                <a:picLocks noChangeAspect="1"/>
              </p:cNvPicPr>
              <p:nvPr/>
            </p:nvPicPr>
            <p:blipFill rotWithShape="1">
              <a:blip r:embed="rId14">
                <a:extLst>
                  <a:ext uri="{28A0092B-C50C-407E-A947-70E740481C1C}">
                    <a14:useLocalDpi xmlns:a14="http://schemas.microsoft.com/office/drawing/2010/main" val="0"/>
                  </a:ext>
                </a:extLst>
              </a:blip>
              <a:srcRect r="64859"/>
              <a:stretch/>
            </p:blipFill>
            <p:spPr>
              <a:xfrm>
                <a:off x="8563032" y="1291556"/>
                <a:ext cx="316453" cy="287119"/>
              </a:xfrm>
              <a:prstGeom prst="rect">
                <a:avLst/>
              </a:prstGeom>
            </p:spPr>
          </p:pic>
          <p:pic>
            <p:nvPicPr>
              <p:cNvPr id="142" name="Picture 141" descr="logo_small.png"/>
              <p:cNvPicPr>
                <a:picLocks noChangeAspect="1"/>
              </p:cNvPicPr>
              <p:nvPr/>
            </p:nvPicPr>
            <p:blipFill rotWithShape="1">
              <a:blip r:embed="rId15">
                <a:extLst>
                  <a:ext uri="{28A0092B-C50C-407E-A947-70E740481C1C}">
                    <a14:useLocalDpi xmlns:a14="http://schemas.microsoft.com/office/drawing/2010/main" val="0"/>
                  </a:ext>
                </a:extLst>
              </a:blip>
              <a:srcRect r="73943"/>
              <a:stretch/>
            </p:blipFill>
            <p:spPr>
              <a:xfrm>
                <a:off x="8268946" y="1273565"/>
                <a:ext cx="302638" cy="290358"/>
              </a:xfrm>
              <a:prstGeom prst="rect">
                <a:avLst/>
              </a:prstGeom>
            </p:spPr>
          </p:pic>
          <p:grpSp>
            <p:nvGrpSpPr>
              <p:cNvPr id="245" name="Group 133"/>
              <p:cNvGrpSpPr/>
              <p:nvPr/>
            </p:nvGrpSpPr>
            <p:grpSpPr>
              <a:xfrm>
                <a:off x="8506197" y="1203248"/>
                <a:ext cx="419402" cy="179718"/>
                <a:chOff x="2372033" y="1146271"/>
                <a:chExt cx="639425" cy="258852"/>
              </a:xfrm>
            </p:grpSpPr>
            <p:sp>
              <p:nvSpPr>
                <p:cNvPr id="150" name="Rectangle 149"/>
                <p:cNvSpPr/>
                <p:nvPr/>
              </p:nvSpPr>
              <p:spPr>
                <a:xfrm rot="3622272">
                  <a:off x="2366043" y="1298999"/>
                  <a:ext cx="112114" cy="100133"/>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FFFFFF"/>
                    </a:solidFill>
                  </a:endParaRPr>
                </a:p>
              </p:txBody>
            </p:sp>
            <p:sp>
              <p:nvSpPr>
                <p:cNvPr id="151" name="Freeform 150"/>
                <p:cNvSpPr>
                  <a:spLocks noEditPoints="1"/>
                </p:cNvSpPr>
                <p:nvPr/>
              </p:nvSpPr>
              <p:spPr bwMode="auto">
                <a:xfrm>
                  <a:off x="2812751" y="1146271"/>
                  <a:ext cx="198707" cy="241668"/>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defTabSz="457189">
                    <a:defRPr/>
                  </a:pPr>
                  <a:endParaRPr lang="en-US" dirty="0">
                    <a:solidFill>
                      <a:srgbClr val="FFFFFF"/>
                    </a:solidFill>
                    <a:latin typeface="Arial"/>
                    <a:cs typeface=""/>
                  </a:endParaRPr>
                </a:p>
              </p:txBody>
            </p:sp>
          </p:grpSp>
        </p:grpSp>
        <p:sp>
          <p:nvSpPr>
            <p:cNvPr id="59" name="Rounded Rectangle 58"/>
            <p:cNvSpPr/>
            <p:nvPr/>
          </p:nvSpPr>
          <p:spPr>
            <a:xfrm>
              <a:off x="5455116" y="3298112"/>
              <a:ext cx="365760" cy="250653"/>
            </a:xfrm>
            <a:prstGeom prst="roundRect">
              <a:avLst>
                <a:gd name="adj" fmla="val 9485"/>
              </a:avLst>
            </a:prstGeom>
            <a:solidFill>
              <a:srgbClr val="0B0B0D"/>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defRPr/>
              </a:pPr>
              <a:endParaRPr lang="en-US" dirty="0">
                <a:solidFill>
                  <a:srgbClr val="FFFFFF"/>
                </a:solidFill>
              </a:endParaRPr>
            </a:p>
          </p:txBody>
        </p:sp>
        <p:pic>
          <p:nvPicPr>
            <p:cNvPr id="124" name="Picture 123" descr="apple.jpg"/>
            <p:cNvPicPr>
              <a:picLocks noChangeAspect="1"/>
            </p:cNvPicPr>
            <p:nvPr/>
          </p:nvPicPr>
          <p:blipFill rotWithShape="1">
            <a:blip r:embed="rId16" cstate="email">
              <a:duotone>
                <a:prstClr val="black"/>
                <a:schemeClr val="tx1">
                  <a:tint val="45000"/>
                  <a:satMod val="400000"/>
                </a:schemeClr>
              </a:duotone>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a:ext>
              </a:extLst>
            </a:blip>
            <a:srcRect/>
            <a:stretch/>
          </p:blipFill>
          <p:spPr>
            <a:xfrm>
              <a:off x="5576345" y="3353887"/>
              <a:ext cx="136954" cy="152816"/>
            </a:xfrm>
            <a:prstGeom prst="rect">
              <a:avLst/>
            </a:prstGeom>
          </p:spPr>
        </p:pic>
        <p:pic>
          <p:nvPicPr>
            <p:cNvPr id="194" name="Picture 193"/>
            <p:cNvPicPr>
              <a:picLocks/>
            </p:cNvPicPr>
            <p:nvPr/>
          </p:nvPicPr>
          <p:blipFill>
            <a:blip r:embed="rId17" cstate="print">
              <a:extLst>
                <a:ext uri="{28A0092B-C50C-407E-A947-70E740481C1C}">
                  <a14:useLocalDpi xmlns:a14="http://schemas.microsoft.com/office/drawing/2010/main" val="0"/>
                </a:ext>
              </a:extLst>
            </a:blip>
            <a:stretch>
              <a:fillRect/>
            </a:stretch>
          </p:blipFill>
          <p:spPr>
            <a:xfrm>
              <a:off x="4760527" y="1296408"/>
              <a:ext cx="619240" cy="361844"/>
            </a:xfrm>
            <a:prstGeom prst="rect">
              <a:avLst/>
            </a:prstGeom>
            <a:noFill/>
            <a:ln>
              <a:noFill/>
            </a:ln>
          </p:spPr>
        </p:pic>
      </p:grpSp>
      <p:sp>
        <p:nvSpPr>
          <p:cNvPr id="129" name="Rounded Rectangle 128"/>
          <p:cNvSpPr/>
          <p:nvPr/>
        </p:nvSpPr>
        <p:spPr>
          <a:xfrm>
            <a:off x="-88900" y="3512972"/>
            <a:ext cx="1728123" cy="432031"/>
          </a:xfrm>
          <a:prstGeom prst="round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800" b="1" dirty="0">
                <a:solidFill>
                  <a:srgbClr val="435153"/>
                </a:solidFill>
              </a:rPr>
              <a:t>AMP on Meraki MX</a:t>
            </a:r>
          </a:p>
        </p:txBody>
      </p:sp>
      <p:pic>
        <p:nvPicPr>
          <p:cNvPr id="246" name="Picture 245" descr="mx65w-mantle.jpg"/>
          <p:cNvPicPr>
            <a:picLocks noChangeAspect="1"/>
          </p:cNvPicPr>
          <p:nvPr/>
        </p:nvPicPr>
        <p:blipFill>
          <a:blip r:embed="rId18" cstate="print">
            <a:extLst>
              <a:ext uri="{BEBA8EAE-BF5A-486C-A8C5-ECC9F3942E4B}">
                <a14:imgProps xmlns:a14="http://schemas.microsoft.com/office/drawing/2010/main">
                  <a14:imgLayer r:embed="rId19">
                    <a14:imgEffect>
                      <a14:backgroundRemoval t="0" b="100000" l="1071" r="100000">
                        <a14:foregroundMark x1="83249" y1="58069" x2="83249" y2="58069"/>
                        <a14:foregroundMark x1="57620" y1="58069" x2="57620" y2="58069"/>
                        <a14:foregroundMark x1="68640" y1="56916" x2="68640" y2="56916"/>
                        <a14:foregroundMark x1="74685" y1="56916" x2="74685" y2="56916"/>
                        <a14:foregroundMark x1="79723" y1="58069" x2="79723" y2="58069"/>
                        <a14:foregroundMark x1="75189" y1="15562" x2="75189" y2="15562"/>
                        <a14:foregroundMark x1="76196" y1="62680" x2="76196" y2="62680"/>
                        <a14:backgroundMark x1="87720" y1="64986" x2="87720" y2="64986"/>
                        <a14:backgroundMark x1="81738" y1="64986" x2="81738" y2="64986"/>
                      </a14:backgroundRemoval>
                    </a14:imgEffect>
                  </a14:imgLayer>
                </a14:imgProps>
              </a:ext>
              <a:ext uri="{28A0092B-C50C-407E-A947-70E740481C1C}">
                <a14:useLocalDpi xmlns:a14="http://schemas.microsoft.com/office/drawing/2010/main" val="0"/>
              </a:ext>
            </a:extLst>
          </a:blip>
          <a:stretch>
            <a:fillRect/>
          </a:stretch>
        </p:blipFill>
        <p:spPr>
          <a:xfrm>
            <a:off x="326824" y="3329658"/>
            <a:ext cx="800099" cy="349666"/>
          </a:xfrm>
          <a:prstGeom prst="rect">
            <a:avLst/>
          </a:prstGeom>
        </p:spPr>
      </p:pic>
      <p:sp>
        <p:nvSpPr>
          <p:cNvPr id="133" name="Freeform 132"/>
          <p:cNvSpPr>
            <a:spLocks noEditPoints="1"/>
          </p:cNvSpPr>
          <p:nvPr/>
        </p:nvSpPr>
        <p:spPr bwMode="auto">
          <a:xfrm>
            <a:off x="1003206" y="3287376"/>
            <a:ext cx="151266" cy="183969"/>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a:defRPr/>
            </a:pPr>
            <a:endParaRPr lang="en-US" dirty="0">
              <a:solidFill>
                <a:srgbClr val="FFFFFF"/>
              </a:solidFill>
              <a:latin typeface="Arial"/>
              <a:cs typeface=""/>
            </a:endParaRPr>
          </a:p>
        </p:txBody>
      </p:sp>
      <p:pic>
        <p:nvPicPr>
          <p:cNvPr id="130" name="Picture 2" descr="http://cdn.warer.com/media/AnyConnect-logo.png">
            <a:extLst>
              <a:ext uri="{FF2B5EF4-FFF2-40B4-BE49-F238E27FC236}">
                <a16:creationId xmlns:a16="http://schemas.microsoft.com/office/drawing/2014/main" id="{D8534286-AE85-CC47-A925-3210B3343B97}"/>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059215" y="3420652"/>
            <a:ext cx="246487" cy="246487"/>
          </a:xfrm>
          <a:prstGeom prst="rect">
            <a:avLst/>
          </a:prstGeom>
          <a:noFill/>
          <a:extLst>
            <a:ext uri="{909E8E84-426E-40dd-AFC4-6F175D3DCCD1}">
              <a14:hiddenFill xmlns:a14="http://schemas.microsoft.com/office/drawing/2010/main" xmlns="">
                <a:solidFill>
                  <a:srgbClr val="FFFFFF"/>
                </a:solidFill>
              </a14:hiddenFill>
            </a:ext>
          </a:extLst>
        </p:spPr>
      </p:pic>
      <p:pic>
        <p:nvPicPr>
          <p:cNvPr id="15" name="Picture 14">
            <a:extLst>
              <a:ext uri="{FF2B5EF4-FFF2-40B4-BE49-F238E27FC236}">
                <a16:creationId xmlns:a16="http://schemas.microsoft.com/office/drawing/2014/main" id="{F8553F24-35DD-DA48-944E-61FA1B8C425A}"/>
              </a:ext>
            </a:extLst>
          </p:cNvPr>
          <p:cNvPicPr>
            <a:picLocks noChangeAspect="1"/>
          </p:cNvPicPr>
          <p:nvPr/>
        </p:nvPicPr>
        <p:blipFill>
          <a:blip r:embed="rId21"/>
          <a:stretch>
            <a:fillRect/>
          </a:stretch>
        </p:blipFill>
        <p:spPr>
          <a:xfrm>
            <a:off x="4658141" y="3398209"/>
            <a:ext cx="271599" cy="271599"/>
          </a:xfrm>
          <a:prstGeom prst="rect">
            <a:avLst/>
          </a:prstGeom>
        </p:spPr>
      </p:pic>
      <p:sp>
        <p:nvSpPr>
          <p:cNvPr id="131" name="Freeform 130">
            <a:extLst>
              <a:ext uri="{FF2B5EF4-FFF2-40B4-BE49-F238E27FC236}">
                <a16:creationId xmlns:a16="http://schemas.microsoft.com/office/drawing/2014/main" id="{9921CCF5-50C1-7C40-A63F-0F7442F45696}"/>
              </a:ext>
            </a:extLst>
          </p:cNvPr>
          <p:cNvSpPr>
            <a:spLocks noEditPoints="1"/>
          </p:cNvSpPr>
          <p:nvPr/>
        </p:nvSpPr>
        <p:spPr bwMode="auto">
          <a:xfrm>
            <a:off x="4872381" y="3300778"/>
            <a:ext cx="123158" cy="158550"/>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rgbClr val="C00000"/>
          </a:solidFill>
          <a:ln w="9525">
            <a:noFill/>
            <a:round/>
            <a:headEnd/>
            <a:tailEnd/>
          </a:ln>
          <a:effectLst/>
        </p:spPr>
        <p:txBody>
          <a:bodyPr vert="horz" wrap="square" lIns="91440" tIns="45720" rIns="91440" bIns="45720" numCol="1" anchor="t" anchorCtr="0" compatLnSpc="1">
            <a:prstTxWarp prst="textNoShape">
              <a:avLst/>
            </a:prstTxWarp>
          </a:bodyPr>
          <a:lstStyle/>
          <a:p>
            <a:pPr defTabSz="457189">
              <a:defRPr/>
            </a:pPr>
            <a:endParaRPr lang="en-US" dirty="0">
              <a:solidFill>
                <a:srgbClr val="FFFFFF"/>
              </a:solidFill>
              <a:latin typeface="Arial"/>
              <a:cs typeface=""/>
            </a:endParaRPr>
          </a:p>
        </p:txBody>
      </p:sp>
      <p:sp>
        <p:nvSpPr>
          <p:cNvPr id="132" name="TextBox 131">
            <a:extLst>
              <a:ext uri="{FF2B5EF4-FFF2-40B4-BE49-F238E27FC236}">
                <a16:creationId xmlns:a16="http://schemas.microsoft.com/office/drawing/2014/main" id="{FD3FB009-7BCD-D34E-A7B8-4059658724D8}"/>
              </a:ext>
            </a:extLst>
          </p:cNvPr>
          <p:cNvSpPr txBox="1"/>
          <p:nvPr/>
        </p:nvSpPr>
        <p:spPr>
          <a:xfrm>
            <a:off x="4577220" y="3700527"/>
            <a:ext cx="412122" cy="215444"/>
          </a:xfrm>
          <a:prstGeom prst="rect">
            <a:avLst/>
          </a:prstGeom>
          <a:noFill/>
        </p:spPr>
        <p:txBody>
          <a:bodyPr wrap="square" rtlCol="0">
            <a:spAutoFit/>
          </a:bodyPr>
          <a:lstStyle/>
          <a:p>
            <a:pPr algn="ctr" defTabSz="457189">
              <a:defRPr/>
            </a:pPr>
            <a:r>
              <a:rPr lang="en-US" sz="800" b="1" dirty="0">
                <a:solidFill>
                  <a:srgbClr val="676767"/>
                </a:solidFill>
                <a:latin typeface="Arial"/>
                <a:cs typeface=""/>
              </a:rPr>
              <a:t>ISE</a:t>
            </a:r>
          </a:p>
        </p:txBody>
      </p:sp>
      <p:sp>
        <p:nvSpPr>
          <p:cNvPr id="134" name="TextBox 133">
            <a:extLst>
              <a:ext uri="{FF2B5EF4-FFF2-40B4-BE49-F238E27FC236}">
                <a16:creationId xmlns:a16="http://schemas.microsoft.com/office/drawing/2014/main" id="{0CA50E68-9B04-A04E-B3A3-1810B19A560C}"/>
              </a:ext>
            </a:extLst>
          </p:cNvPr>
          <p:cNvSpPr txBox="1"/>
          <p:nvPr/>
        </p:nvSpPr>
        <p:spPr>
          <a:xfrm>
            <a:off x="4365982" y="3899060"/>
            <a:ext cx="1154043" cy="338554"/>
          </a:xfrm>
          <a:prstGeom prst="rect">
            <a:avLst/>
          </a:prstGeom>
          <a:noFill/>
        </p:spPr>
        <p:txBody>
          <a:bodyPr wrap="square" rtlCol="0">
            <a:spAutoFit/>
          </a:bodyPr>
          <a:lstStyle/>
          <a:p>
            <a:pPr defTabSz="457189">
              <a:defRPr/>
            </a:pPr>
            <a:r>
              <a:rPr lang="en-US" sz="800" b="1" dirty="0">
                <a:solidFill>
                  <a:srgbClr val="676767"/>
                </a:solidFill>
                <a:latin typeface="Arial"/>
                <a:cs typeface=""/>
              </a:rPr>
              <a:t>Threat-centric NAC supported via ISE</a:t>
            </a:r>
          </a:p>
        </p:txBody>
      </p:sp>
      <p:sp>
        <p:nvSpPr>
          <p:cNvPr id="40" name="Rounded Rectangle 39"/>
          <p:cNvSpPr/>
          <p:nvPr/>
        </p:nvSpPr>
        <p:spPr>
          <a:xfrm>
            <a:off x="334720" y="1172846"/>
            <a:ext cx="1935209" cy="602851"/>
          </a:xfrm>
          <a:prstGeom prst="roundRect">
            <a:avLst/>
          </a:prstGeom>
          <a:solidFill>
            <a:srgbClr val="36A4D7"/>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200" dirty="0"/>
              <a:t>Global Trajectory</a:t>
            </a:r>
          </a:p>
          <a:p>
            <a:pPr algn="r"/>
            <a:r>
              <a:rPr lang="en-US" sz="1200" dirty="0"/>
              <a:t>Global Outbreak Control</a:t>
            </a:r>
          </a:p>
        </p:txBody>
      </p:sp>
    </p:spTree>
    <p:extLst>
      <p:ext uri="{BB962C8B-B14F-4D97-AF65-F5344CB8AC3E}">
        <p14:creationId xmlns:p14="http://schemas.microsoft.com/office/powerpoint/2010/main" val="915589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17483" name="think-cell Slide" r:id="rId5" imgW="476" imgH="357" progId="TCLayout.ActiveDocument.1">
                  <p:embed/>
                </p:oleObj>
              </mc:Choice>
              <mc:Fallback>
                <p:oleObj name="think-cell Slide" r:id="rId5" imgW="476" imgH="357"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5128" name="Picture 8" descr="Y:\Production\Cisco Projects\C97 Presentation (PPT-PDF)\C97-738011-00\Supporting File\AR03336.jpg"/>
          <p:cNvPicPr>
            <a:picLocks noChangeAspect="1" noChangeArrowheads="1"/>
          </p:cNvPicPr>
          <p:nvPr/>
        </p:nvPicPr>
        <p:blipFill>
          <a:blip r:embed="rId7"/>
          <a:srcRect t="21079" b="19109"/>
          <a:stretch>
            <a:fillRect/>
          </a:stretch>
        </p:blipFill>
        <p:spPr bwMode="auto">
          <a:xfrm>
            <a:off x="3174" y="812576"/>
            <a:ext cx="9140826" cy="3670300"/>
          </a:xfrm>
          <a:prstGeom prst="rect">
            <a:avLst/>
          </a:prstGeom>
          <a:noFill/>
        </p:spPr>
      </p:pic>
      <p:sp>
        <p:nvSpPr>
          <p:cNvPr id="43" name="Rectangle 42"/>
          <p:cNvSpPr/>
          <p:nvPr/>
        </p:nvSpPr>
        <p:spPr>
          <a:xfrm>
            <a:off x="0" y="812576"/>
            <a:ext cx="9144000" cy="3670300"/>
          </a:xfrm>
          <a:prstGeom prst="rect">
            <a:avLst/>
          </a:prstGeom>
          <a:solidFill>
            <a:schemeClr val="bg1">
              <a:alpha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iscoSansTT ExtraLight" panose="020B0303020201020303" pitchFamily="34" charset="0"/>
            </a:endParaRPr>
          </a:p>
        </p:txBody>
      </p:sp>
      <p:sp>
        <p:nvSpPr>
          <p:cNvPr id="3" name="Title 2"/>
          <p:cNvSpPr>
            <a:spLocks noGrp="1"/>
          </p:cNvSpPr>
          <p:nvPr>
            <p:ph type="title"/>
          </p:nvPr>
        </p:nvSpPr>
        <p:spPr/>
        <p:txBody>
          <a:bodyPr/>
          <a:lstStyle/>
          <a:p>
            <a:r>
              <a:rPr lang="en-US" dirty="0">
                <a:latin typeface="CiscoSans" panose="020B0503020201020303" pitchFamily="34" charset="0"/>
              </a:rPr>
              <a:t>AMP for Endpoints</a:t>
            </a:r>
            <a:br>
              <a:rPr lang="en-US" dirty="0">
                <a:latin typeface="CiscoSans" panose="020B0503020201020303" pitchFamily="34" charset="0"/>
              </a:rPr>
            </a:br>
            <a:r>
              <a:rPr lang="en-US" sz="2000" dirty="0">
                <a:latin typeface="CiscoSans" panose="020B0503020201020303" pitchFamily="34" charset="0"/>
              </a:rPr>
              <a:t>Next Gen Endpoint Security</a:t>
            </a:r>
            <a:endParaRPr lang="en-US" dirty="0">
              <a:latin typeface="CiscoSans" panose="020B0503020201020303" pitchFamily="34" charset="0"/>
            </a:endParaRPr>
          </a:p>
        </p:txBody>
      </p:sp>
      <p:grpSp>
        <p:nvGrpSpPr>
          <p:cNvPr id="41" name="Group 40"/>
          <p:cNvGrpSpPr/>
          <p:nvPr/>
        </p:nvGrpSpPr>
        <p:grpSpPr>
          <a:xfrm>
            <a:off x="282381" y="1465282"/>
            <a:ext cx="8566547" cy="3011509"/>
            <a:chOff x="273050" y="1560491"/>
            <a:chExt cx="8566547" cy="3011509"/>
          </a:xfrm>
        </p:grpSpPr>
        <p:sp>
          <p:nvSpPr>
            <p:cNvPr id="25" name="Rectangle 24"/>
            <p:cNvSpPr/>
            <p:nvPr/>
          </p:nvSpPr>
          <p:spPr>
            <a:xfrm>
              <a:off x="273050" y="2320983"/>
              <a:ext cx="2811950" cy="2251017"/>
            </a:xfrm>
            <a:prstGeom prst="rect">
              <a:avLst/>
            </a:prstGeom>
            <a:solidFill>
              <a:schemeClr val="accent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algn="ctr">
                <a:spcBef>
                  <a:spcPts val="1200"/>
                </a:spcBef>
              </a:pPr>
              <a:r>
                <a:rPr lang="ja-JP" altLang="en-US" sz="2000">
                  <a:solidFill>
                    <a:srgbClr val="FFFFFF"/>
                  </a:solidFill>
                  <a:latin typeface="CiscoSansTT ExtraLight" panose="020B0303020201020303" pitchFamily="34" charset="0"/>
                </a:rPr>
                <a:t>防御</a:t>
              </a:r>
              <a:endParaRPr lang="en-US" sz="2000" dirty="0">
                <a:solidFill>
                  <a:srgbClr val="FFFFFF"/>
                </a:solidFill>
                <a:latin typeface="CiscoSansTT ExtraLight" panose="020B0303020201020303" pitchFamily="34" charset="0"/>
              </a:endParaRPr>
            </a:p>
            <a:p>
              <a:pPr algn="ctr">
                <a:spcBef>
                  <a:spcPts val="1200"/>
                </a:spcBef>
              </a:pPr>
              <a:r>
                <a:rPr lang="ja-JP" altLang="en-US" sz="1600">
                  <a:solidFill>
                    <a:srgbClr val="FFFFFF"/>
                  </a:solidFill>
                  <a:latin typeface="CiscoSansTT ExtraLight" panose="020B0303020201020303" pitchFamily="34" charset="0"/>
                </a:rPr>
                <a:t>リアルタイムなマルウェア防御</a:t>
              </a:r>
              <a:endParaRPr lang="en-US" altLang="ja-JP" sz="1600" dirty="0">
                <a:solidFill>
                  <a:srgbClr val="FFFFFF"/>
                </a:solidFill>
                <a:latin typeface="CiscoSansTT ExtraLight" panose="020B0303020201020303" pitchFamily="34" charset="0"/>
              </a:endParaRPr>
            </a:p>
          </p:txBody>
        </p:sp>
        <p:grpSp>
          <p:nvGrpSpPr>
            <p:cNvPr id="30" name="Group 29"/>
            <p:cNvGrpSpPr/>
            <p:nvPr/>
          </p:nvGrpSpPr>
          <p:grpSpPr>
            <a:xfrm>
              <a:off x="1075666" y="1560491"/>
              <a:ext cx="1206719" cy="1206719"/>
              <a:chOff x="1384081" y="1704037"/>
              <a:chExt cx="1206719" cy="1206719"/>
            </a:xfrm>
          </p:grpSpPr>
          <p:sp>
            <p:nvSpPr>
              <p:cNvPr id="51" name="Oval 50"/>
              <p:cNvSpPr/>
              <p:nvPr/>
            </p:nvSpPr>
            <p:spPr>
              <a:xfrm>
                <a:off x="1384081" y="1704037"/>
                <a:ext cx="1206719" cy="1206719"/>
              </a:xfrm>
              <a:prstGeom prst="ellipse">
                <a:avLst/>
              </a:prstGeom>
              <a:solidFill>
                <a:schemeClr val="accent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iscoSansTT ExtraLight" panose="020B0303020201020303" pitchFamily="34" charset="0"/>
                </a:endParaRPr>
              </a:p>
            </p:txBody>
          </p:sp>
          <p:sp>
            <p:nvSpPr>
              <p:cNvPr id="72" name="Freeform 71"/>
              <p:cNvSpPr>
                <a:spLocks noChangeAspect="1" noEditPoints="1"/>
              </p:cNvSpPr>
              <p:nvPr/>
            </p:nvSpPr>
            <p:spPr bwMode="auto">
              <a:xfrm>
                <a:off x="1722455" y="2005212"/>
                <a:ext cx="522485" cy="635453"/>
              </a:xfrm>
              <a:custGeom>
                <a:avLst/>
                <a:gdLst>
                  <a:gd name="T0" fmla="*/ 214 w 262"/>
                  <a:gd name="T1" fmla="*/ 19 h 312"/>
                  <a:gd name="T2" fmla="*/ 214 w 262"/>
                  <a:gd name="T3" fmla="*/ 36 h 312"/>
                  <a:gd name="T4" fmla="*/ 161 w 262"/>
                  <a:gd name="T5" fmla="*/ 24 h 312"/>
                  <a:gd name="T6" fmla="*/ 161 w 262"/>
                  <a:gd name="T7" fmla="*/ 7 h 312"/>
                  <a:gd name="T8" fmla="*/ 131 w 262"/>
                  <a:gd name="T9" fmla="*/ 0 h 312"/>
                  <a:gd name="T10" fmla="*/ 101 w 262"/>
                  <a:gd name="T11" fmla="*/ 7 h 312"/>
                  <a:gd name="T12" fmla="*/ 101 w 262"/>
                  <a:gd name="T13" fmla="*/ 24 h 312"/>
                  <a:gd name="T14" fmla="*/ 48 w 262"/>
                  <a:gd name="T15" fmla="*/ 36 h 312"/>
                  <a:gd name="T16" fmla="*/ 48 w 262"/>
                  <a:gd name="T17" fmla="*/ 19 h 312"/>
                  <a:gd name="T18" fmla="*/ 0 w 262"/>
                  <a:gd name="T19" fmla="*/ 29 h 312"/>
                  <a:gd name="T20" fmla="*/ 0 w 262"/>
                  <a:gd name="T21" fmla="*/ 122 h 312"/>
                  <a:gd name="T22" fmla="*/ 131 w 262"/>
                  <a:gd name="T23" fmla="*/ 312 h 312"/>
                  <a:gd name="T24" fmla="*/ 262 w 262"/>
                  <a:gd name="T25" fmla="*/ 122 h 312"/>
                  <a:gd name="T26" fmla="*/ 262 w 262"/>
                  <a:gd name="T27" fmla="*/ 29 h 312"/>
                  <a:gd name="T28" fmla="*/ 214 w 262"/>
                  <a:gd name="T29" fmla="*/ 19 h 312"/>
                  <a:gd name="T30" fmla="*/ 226 w 262"/>
                  <a:gd name="T31" fmla="*/ 122 h 312"/>
                  <a:gd name="T32" fmla="*/ 222 w 262"/>
                  <a:gd name="T33" fmla="*/ 156 h 312"/>
                  <a:gd name="T34" fmla="*/ 131 w 262"/>
                  <a:gd name="T35" fmla="*/ 156 h 312"/>
                  <a:gd name="T36" fmla="*/ 131 w 262"/>
                  <a:gd name="T37" fmla="*/ 273 h 312"/>
                  <a:gd name="T38" fmla="*/ 40 w 262"/>
                  <a:gd name="T39" fmla="*/ 156 h 312"/>
                  <a:gd name="T40" fmla="*/ 131 w 262"/>
                  <a:gd name="T41" fmla="*/ 156 h 312"/>
                  <a:gd name="T42" fmla="*/ 131 w 262"/>
                  <a:gd name="T43" fmla="*/ 54 h 312"/>
                  <a:gd name="T44" fmla="*/ 226 w 262"/>
                  <a:gd name="T45" fmla="*/ 76 h 312"/>
                  <a:gd name="T46" fmla="*/ 226 w 262"/>
                  <a:gd name="T47" fmla="*/ 122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312">
                    <a:moveTo>
                      <a:pt x="214" y="19"/>
                    </a:moveTo>
                    <a:cubicBezTo>
                      <a:pt x="214" y="36"/>
                      <a:pt x="214" y="36"/>
                      <a:pt x="214" y="36"/>
                    </a:cubicBezTo>
                    <a:cubicBezTo>
                      <a:pt x="161" y="24"/>
                      <a:pt x="161" y="24"/>
                      <a:pt x="161" y="24"/>
                    </a:cubicBezTo>
                    <a:cubicBezTo>
                      <a:pt x="161" y="7"/>
                      <a:pt x="161" y="7"/>
                      <a:pt x="161" y="7"/>
                    </a:cubicBezTo>
                    <a:cubicBezTo>
                      <a:pt x="131" y="0"/>
                      <a:pt x="131" y="0"/>
                      <a:pt x="131" y="0"/>
                    </a:cubicBezTo>
                    <a:cubicBezTo>
                      <a:pt x="101" y="7"/>
                      <a:pt x="101" y="7"/>
                      <a:pt x="101" y="7"/>
                    </a:cubicBezTo>
                    <a:cubicBezTo>
                      <a:pt x="101" y="24"/>
                      <a:pt x="101" y="24"/>
                      <a:pt x="101" y="24"/>
                    </a:cubicBezTo>
                    <a:cubicBezTo>
                      <a:pt x="48" y="36"/>
                      <a:pt x="48" y="36"/>
                      <a:pt x="48" y="36"/>
                    </a:cubicBezTo>
                    <a:cubicBezTo>
                      <a:pt x="48" y="19"/>
                      <a:pt x="48" y="19"/>
                      <a:pt x="48" y="19"/>
                    </a:cubicBezTo>
                    <a:cubicBezTo>
                      <a:pt x="0" y="29"/>
                      <a:pt x="0" y="29"/>
                      <a:pt x="0" y="29"/>
                    </a:cubicBezTo>
                    <a:cubicBezTo>
                      <a:pt x="0" y="122"/>
                      <a:pt x="0" y="122"/>
                      <a:pt x="0" y="122"/>
                    </a:cubicBezTo>
                    <a:cubicBezTo>
                      <a:pt x="0" y="208"/>
                      <a:pt x="54" y="281"/>
                      <a:pt x="131" y="312"/>
                    </a:cubicBezTo>
                    <a:cubicBezTo>
                      <a:pt x="208" y="281"/>
                      <a:pt x="262" y="208"/>
                      <a:pt x="262" y="122"/>
                    </a:cubicBezTo>
                    <a:cubicBezTo>
                      <a:pt x="262" y="29"/>
                      <a:pt x="262" y="29"/>
                      <a:pt x="262" y="29"/>
                    </a:cubicBezTo>
                    <a:lnTo>
                      <a:pt x="214" y="19"/>
                    </a:lnTo>
                    <a:close/>
                    <a:moveTo>
                      <a:pt x="226" y="122"/>
                    </a:moveTo>
                    <a:cubicBezTo>
                      <a:pt x="226" y="134"/>
                      <a:pt x="225" y="145"/>
                      <a:pt x="222" y="156"/>
                    </a:cubicBezTo>
                    <a:cubicBezTo>
                      <a:pt x="131" y="156"/>
                      <a:pt x="131" y="156"/>
                      <a:pt x="131" y="156"/>
                    </a:cubicBezTo>
                    <a:cubicBezTo>
                      <a:pt x="131" y="273"/>
                      <a:pt x="131" y="273"/>
                      <a:pt x="131" y="273"/>
                    </a:cubicBezTo>
                    <a:cubicBezTo>
                      <a:pt x="84" y="249"/>
                      <a:pt x="50" y="206"/>
                      <a:pt x="40" y="156"/>
                    </a:cubicBezTo>
                    <a:cubicBezTo>
                      <a:pt x="131" y="156"/>
                      <a:pt x="131" y="156"/>
                      <a:pt x="131" y="156"/>
                    </a:cubicBezTo>
                    <a:cubicBezTo>
                      <a:pt x="131" y="54"/>
                      <a:pt x="131" y="54"/>
                      <a:pt x="131" y="54"/>
                    </a:cubicBezTo>
                    <a:cubicBezTo>
                      <a:pt x="226" y="76"/>
                      <a:pt x="226" y="76"/>
                      <a:pt x="226" y="76"/>
                    </a:cubicBezTo>
                    <a:lnTo>
                      <a:pt x="226" y="122"/>
                    </a:lnTo>
                    <a:close/>
                  </a:path>
                </a:pathLst>
              </a:custGeom>
              <a:solidFill>
                <a:schemeClr val="bg1"/>
              </a:solidFill>
              <a:ln w="9525">
                <a:noFill/>
                <a:round/>
                <a:headEnd/>
                <a:tailEnd/>
              </a:ln>
            </p:spPr>
            <p:txBody>
              <a:bodyPr vert="horz" wrap="square" lIns="121936" tIns="60969" rIns="121936" bIns="60969" numCol="1" anchor="t" anchorCtr="0" compatLnSpc="1">
                <a:prstTxWarp prst="textNoShape">
                  <a:avLst/>
                </a:prstTxWarp>
              </a:bodyPr>
              <a:lstStyle/>
              <a:p>
                <a:pPr defTabSz="609507"/>
                <a:endParaRPr lang="en-US" sz="3200" kern="0" dirty="0">
                  <a:solidFill>
                    <a:prstClr val="black"/>
                  </a:solidFill>
                  <a:latin typeface="CiscoSansTT ExtraLight" panose="020B0303020201020303" pitchFamily="34" charset="0"/>
                  <a:ea typeface="ＭＳ Ｐゴシック" charset="0"/>
                </a:endParaRPr>
              </a:p>
            </p:txBody>
          </p:sp>
        </p:grpSp>
        <p:sp>
          <p:nvSpPr>
            <p:cNvPr id="15" name="Rectangle 14"/>
            <p:cNvSpPr/>
            <p:nvPr/>
          </p:nvSpPr>
          <p:spPr>
            <a:xfrm>
              <a:off x="3150349" y="2320983"/>
              <a:ext cx="2811950" cy="2251017"/>
            </a:xfrm>
            <a:prstGeom prst="rect">
              <a:avLst/>
            </a:prstGeom>
            <a:solidFill>
              <a:schemeClr val="tx2">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algn="ctr">
                <a:spcBef>
                  <a:spcPts val="1200"/>
                </a:spcBef>
              </a:pPr>
              <a:r>
                <a:rPr lang="ja-JP" altLang="en-US" sz="2000">
                  <a:solidFill>
                    <a:srgbClr val="FFFFFF"/>
                  </a:solidFill>
                  <a:latin typeface="CiscoSansTT ExtraLight" panose="020B0303020201020303" pitchFamily="34" charset="0"/>
                </a:rPr>
                <a:t>検知</a:t>
              </a:r>
              <a:endParaRPr lang="en-US" sz="2000" dirty="0">
                <a:solidFill>
                  <a:srgbClr val="FFFFFF"/>
                </a:solidFill>
                <a:latin typeface="CiscoSansTT ExtraLight" panose="020B0303020201020303" pitchFamily="34" charset="0"/>
              </a:endParaRPr>
            </a:p>
            <a:p>
              <a:pPr algn="ctr">
                <a:spcBef>
                  <a:spcPts val="1200"/>
                </a:spcBef>
              </a:pPr>
              <a:r>
                <a:rPr lang="ja-JP" altLang="en-US" sz="1600">
                  <a:solidFill>
                    <a:srgbClr val="FFFFFF"/>
                  </a:solidFill>
                  <a:latin typeface="CiscoSansTT ExtraLight" panose="020B0303020201020303" pitchFamily="34" charset="0"/>
                </a:rPr>
                <a:t>レスポンスタイムを短縮する為の継続的な監視</a:t>
              </a:r>
              <a:endParaRPr lang="en-US" sz="1600" dirty="0">
                <a:solidFill>
                  <a:srgbClr val="FFFFFF"/>
                </a:solidFill>
                <a:latin typeface="CiscoSansTT ExtraLight" panose="020B0303020201020303" pitchFamily="34" charset="0"/>
              </a:endParaRPr>
            </a:p>
          </p:txBody>
        </p:sp>
        <p:grpSp>
          <p:nvGrpSpPr>
            <p:cNvPr id="37" name="Group 36"/>
            <p:cNvGrpSpPr/>
            <p:nvPr/>
          </p:nvGrpSpPr>
          <p:grpSpPr>
            <a:xfrm>
              <a:off x="3952965" y="1560491"/>
              <a:ext cx="1206719" cy="1206719"/>
              <a:chOff x="3453741" y="1513836"/>
              <a:chExt cx="1206719" cy="1206719"/>
            </a:xfrm>
          </p:grpSpPr>
          <p:sp>
            <p:nvSpPr>
              <p:cNvPr id="32" name="Oval 31"/>
              <p:cNvSpPr/>
              <p:nvPr/>
            </p:nvSpPr>
            <p:spPr>
              <a:xfrm>
                <a:off x="3453741" y="1513836"/>
                <a:ext cx="1206719" cy="1206719"/>
              </a:xfrm>
              <a:prstGeom prst="ellipse">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iscoSansTT ExtraLight" panose="020B0303020201020303" pitchFamily="34" charset="0"/>
                </a:endParaRPr>
              </a:p>
            </p:txBody>
          </p:sp>
          <p:sp>
            <p:nvSpPr>
              <p:cNvPr id="5126" name="Freeform 6"/>
              <p:cNvSpPr>
                <a:spLocks noEditPoints="1"/>
              </p:cNvSpPr>
              <p:nvPr/>
            </p:nvSpPr>
            <p:spPr bwMode="auto">
              <a:xfrm>
                <a:off x="3732776" y="1852295"/>
                <a:ext cx="682833" cy="563985"/>
              </a:xfrm>
              <a:custGeom>
                <a:avLst/>
                <a:gdLst/>
                <a:ahLst/>
                <a:cxnLst>
                  <a:cxn ang="0">
                    <a:pos x="1896" y="396"/>
                  </a:cxn>
                  <a:cxn ang="0">
                    <a:pos x="0" y="626"/>
                  </a:cxn>
                  <a:cxn ang="0">
                    <a:pos x="499" y="807"/>
                  </a:cxn>
                  <a:cxn ang="0">
                    <a:pos x="498" y="818"/>
                  </a:cxn>
                  <a:cxn ang="0">
                    <a:pos x="502" y="838"/>
                  </a:cxn>
                  <a:cxn ang="0">
                    <a:pos x="513" y="855"/>
                  </a:cxn>
                  <a:cxn ang="0">
                    <a:pos x="530" y="867"/>
                  </a:cxn>
                  <a:cxn ang="0">
                    <a:pos x="981" y="970"/>
                  </a:cxn>
                  <a:cxn ang="0">
                    <a:pos x="992" y="971"/>
                  </a:cxn>
                  <a:cxn ang="0">
                    <a:pos x="1013" y="969"/>
                  </a:cxn>
                  <a:cxn ang="0">
                    <a:pos x="1029" y="957"/>
                  </a:cxn>
                  <a:cxn ang="0">
                    <a:pos x="1041" y="941"/>
                  </a:cxn>
                  <a:cxn ang="0">
                    <a:pos x="1059" y="866"/>
                  </a:cxn>
                  <a:cxn ang="0">
                    <a:pos x="1595" y="823"/>
                  </a:cxn>
                  <a:cxn ang="0">
                    <a:pos x="1727" y="786"/>
                  </a:cxn>
                  <a:cxn ang="0">
                    <a:pos x="1810" y="612"/>
                  </a:cxn>
                  <a:cxn ang="0">
                    <a:pos x="1776" y="567"/>
                  </a:cxn>
                  <a:cxn ang="0">
                    <a:pos x="876" y="994"/>
                  </a:cxn>
                  <a:cxn ang="0">
                    <a:pos x="698" y="1202"/>
                  </a:cxn>
                  <a:cxn ang="0">
                    <a:pos x="688" y="1207"/>
                  </a:cxn>
                  <a:cxn ang="0">
                    <a:pos x="666" y="1223"/>
                  </a:cxn>
                  <a:cxn ang="0">
                    <a:pos x="648" y="1240"/>
                  </a:cxn>
                  <a:cxn ang="0">
                    <a:pos x="631" y="1261"/>
                  </a:cxn>
                  <a:cxn ang="0">
                    <a:pos x="616" y="1283"/>
                  </a:cxn>
                  <a:cxn ang="0">
                    <a:pos x="606" y="1307"/>
                  </a:cxn>
                  <a:cxn ang="0">
                    <a:pos x="599" y="1333"/>
                  </a:cxn>
                  <a:cxn ang="0">
                    <a:pos x="596" y="1359"/>
                  </a:cxn>
                  <a:cxn ang="0">
                    <a:pos x="594" y="1373"/>
                  </a:cxn>
                  <a:cxn ang="0">
                    <a:pos x="598" y="1412"/>
                  </a:cxn>
                  <a:cxn ang="0">
                    <a:pos x="610" y="1449"/>
                  </a:cxn>
                  <a:cxn ang="0">
                    <a:pos x="628" y="1481"/>
                  </a:cxn>
                  <a:cxn ang="0">
                    <a:pos x="652" y="1510"/>
                  </a:cxn>
                  <a:cxn ang="0">
                    <a:pos x="680" y="1533"/>
                  </a:cxn>
                  <a:cxn ang="0">
                    <a:pos x="713" y="1550"/>
                  </a:cxn>
                  <a:cxn ang="0">
                    <a:pos x="748" y="1562"/>
                  </a:cxn>
                  <a:cxn ang="0">
                    <a:pos x="787" y="1566"/>
                  </a:cxn>
                  <a:cxn ang="0">
                    <a:pos x="807" y="1565"/>
                  </a:cxn>
                  <a:cxn ang="0">
                    <a:pos x="844" y="1557"/>
                  </a:cxn>
                  <a:cxn ang="0">
                    <a:pos x="880" y="1543"/>
                  </a:cxn>
                  <a:cxn ang="0">
                    <a:pos x="910" y="1522"/>
                  </a:cxn>
                  <a:cxn ang="0">
                    <a:pos x="936" y="1496"/>
                  </a:cxn>
                  <a:cxn ang="0">
                    <a:pos x="956" y="1466"/>
                  </a:cxn>
                  <a:cxn ang="0">
                    <a:pos x="972" y="1430"/>
                  </a:cxn>
                  <a:cxn ang="0">
                    <a:pos x="980" y="1393"/>
                  </a:cxn>
                  <a:cxn ang="0">
                    <a:pos x="980" y="1373"/>
                  </a:cxn>
                  <a:cxn ang="0">
                    <a:pos x="979" y="1346"/>
                  </a:cxn>
                  <a:cxn ang="0">
                    <a:pos x="972" y="1320"/>
                  </a:cxn>
                  <a:cxn ang="0">
                    <a:pos x="963" y="1295"/>
                  </a:cxn>
                  <a:cxn ang="0">
                    <a:pos x="951" y="1271"/>
                  </a:cxn>
                  <a:cxn ang="0">
                    <a:pos x="936" y="1250"/>
                  </a:cxn>
                  <a:cxn ang="0">
                    <a:pos x="919" y="1231"/>
                  </a:cxn>
                  <a:cxn ang="0">
                    <a:pos x="898" y="1215"/>
                  </a:cxn>
                  <a:cxn ang="0">
                    <a:pos x="876" y="1202"/>
                  </a:cxn>
                </a:cxnLst>
                <a:rect l="0" t="0" r="r" b="b"/>
                <a:pathLst>
                  <a:path w="1896" h="1566">
                    <a:moveTo>
                      <a:pt x="1776" y="567"/>
                    </a:moveTo>
                    <a:lnTo>
                      <a:pt x="1896" y="396"/>
                    </a:lnTo>
                    <a:lnTo>
                      <a:pt x="142" y="0"/>
                    </a:lnTo>
                    <a:lnTo>
                      <a:pt x="0" y="626"/>
                    </a:lnTo>
                    <a:lnTo>
                      <a:pt x="515" y="742"/>
                    </a:lnTo>
                    <a:lnTo>
                      <a:pt x="499" y="807"/>
                    </a:lnTo>
                    <a:lnTo>
                      <a:pt x="499" y="807"/>
                    </a:lnTo>
                    <a:lnTo>
                      <a:pt x="498" y="818"/>
                    </a:lnTo>
                    <a:lnTo>
                      <a:pt x="499" y="828"/>
                    </a:lnTo>
                    <a:lnTo>
                      <a:pt x="502" y="838"/>
                    </a:lnTo>
                    <a:lnTo>
                      <a:pt x="507" y="848"/>
                    </a:lnTo>
                    <a:lnTo>
                      <a:pt x="513" y="855"/>
                    </a:lnTo>
                    <a:lnTo>
                      <a:pt x="521" y="862"/>
                    </a:lnTo>
                    <a:lnTo>
                      <a:pt x="530" y="867"/>
                    </a:lnTo>
                    <a:lnTo>
                      <a:pt x="539" y="871"/>
                    </a:lnTo>
                    <a:lnTo>
                      <a:pt x="981" y="970"/>
                    </a:lnTo>
                    <a:lnTo>
                      <a:pt x="981" y="970"/>
                    </a:lnTo>
                    <a:lnTo>
                      <a:pt x="992" y="971"/>
                    </a:lnTo>
                    <a:lnTo>
                      <a:pt x="1002" y="971"/>
                    </a:lnTo>
                    <a:lnTo>
                      <a:pt x="1013" y="969"/>
                    </a:lnTo>
                    <a:lnTo>
                      <a:pt x="1020" y="964"/>
                    </a:lnTo>
                    <a:lnTo>
                      <a:pt x="1029" y="957"/>
                    </a:lnTo>
                    <a:lnTo>
                      <a:pt x="1036" y="949"/>
                    </a:lnTo>
                    <a:lnTo>
                      <a:pt x="1041" y="941"/>
                    </a:lnTo>
                    <a:lnTo>
                      <a:pt x="1044" y="931"/>
                    </a:lnTo>
                    <a:lnTo>
                      <a:pt x="1059" y="866"/>
                    </a:lnTo>
                    <a:lnTo>
                      <a:pt x="1495" y="965"/>
                    </a:lnTo>
                    <a:lnTo>
                      <a:pt x="1595" y="823"/>
                    </a:lnTo>
                    <a:lnTo>
                      <a:pt x="1712" y="850"/>
                    </a:lnTo>
                    <a:lnTo>
                      <a:pt x="1727" y="786"/>
                    </a:lnTo>
                    <a:lnTo>
                      <a:pt x="1768" y="795"/>
                    </a:lnTo>
                    <a:lnTo>
                      <a:pt x="1810" y="612"/>
                    </a:lnTo>
                    <a:lnTo>
                      <a:pt x="1768" y="602"/>
                    </a:lnTo>
                    <a:lnTo>
                      <a:pt x="1776" y="567"/>
                    </a:lnTo>
                    <a:close/>
                    <a:moveTo>
                      <a:pt x="876" y="1202"/>
                    </a:moveTo>
                    <a:lnTo>
                      <a:pt x="876" y="994"/>
                    </a:lnTo>
                    <a:lnTo>
                      <a:pt x="698" y="952"/>
                    </a:lnTo>
                    <a:lnTo>
                      <a:pt x="698" y="1202"/>
                    </a:lnTo>
                    <a:lnTo>
                      <a:pt x="698" y="1202"/>
                    </a:lnTo>
                    <a:lnTo>
                      <a:pt x="688" y="1207"/>
                    </a:lnTo>
                    <a:lnTo>
                      <a:pt x="676" y="1215"/>
                    </a:lnTo>
                    <a:lnTo>
                      <a:pt x="666" y="1223"/>
                    </a:lnTo>
                    <a:lnTo>
                      <a:pt x="657" y="1231"/>
                    </a:lnTo>
                    <a:lnTo>
                      <a:pt x="648" y="1240"/>
                    </a:lnTo>
                    <a:lnTo>
                      <a:pt x="639" y="1250"/>
                    </a:lnTo>
                    <a:lnTo>
                      <a:pt x="631" y="1261"/>
                    </a:lnTo>
                    <a:lnTo>
                      <a:pt x="623" y="1271"/>
                    </a:lnTo>
                    <a:lnTo>
                      <a:pt x="616" y="1283"/>
                    </a:lnTo>
                    <a:lnTo>
                      <a:pt x="611" y="1295"/>
                    </a:lnTo>
                    <a:lnTo>
                      <a:pt x="606" y="1307"/>
                    </a:lnTo>
                    <a:lnTo>
                      <a:pt x="602" y="1320"/>
                    </a:lnTo>
                    <a:lnTo>
                      <a:pt x="599" y="1333"/>
                    </a:lnTo>
                    <a:lnTo>
                      <a:pt x="597" y="1346"/>
                    </a:lnTo>
                    <a:lnTo>
                      <a:pt x="596" y="1359"/>
                    </a:lnTo>
                    <a:lnTo>
                      <a:pt x="594" y="1373"/>
                    </a:lnTo>
                    <a:lnTo>
                      <a:pt x="594" y="1373"/>
                    </a:lnTo>
                    <a:lnTo>
                      <a:pt x="596" y="1393"/>
                    </a:lnTo>
                    <a:lnTo>
                      <a:pt x="598" y="1412"/>
                    </a:lnTo>
                    <a:lnTo>
                      <a:pt x="603" y="1430"/>
                    </a:lnTo>
                    <a:lnTo>
                      <a:pt x="610" y="1449"/>
                    </a:lnTo>
                    <a:lnTo>
                      <a:pt x="618" y="1466"/>
                    </a:lnTo>
                    <a:lnTo>
                      <a:pt x="628" y="1481"/>
                    </a:lnTo>
                    <a:lnTo>
                      <a:pt x="639" y="1496"/>
                    </a:lnTo>
                    <a:lnTo>
                      <a:pt x="652" y="1510"/>
                    </a:lnTo>
                    <a:lnTo>
                      <a:pt x="665" y="1522"/>
                    </a:lnTo>
                    <a:lnTo>
                      <a:pt x="680" y="1533"/>
                    </a:lnTo>
                    <a:lnTo>
                      <a:pt x="696" y="1543"/>
                    </a:lnTo>
                    <a:lnTo>
                      <a:pt x="713" y="1550"/>
                    </a:lnTo>
                    <a:lnTo>
                      <a:pt x="730" y="1557"/>
                    </a:lnTo>
                    <a:lnTo>
                      <a:pt x="748" y="1562"/>
                    </a:lnTo>
                    <a:lnTo>
                      <a:pt x="768" y="1565"/>
                    </a:lnTo>
                    <a:lnTo>
                      <a:pt x="787" y="1566"/>
                    </a:lnTo>
                    <a:lnTo>
                      <a:pt x="787" y="1566"/>
                    </a:lnTo>
                    <a:lnTo>
                      <a:pt x="807" y="1565"/>
                    </a:lnTo>
                    <a:lnTo>
                      <a:pt x="826" y="1562"/>
                    </a:lnTo>
                    <a:lnTo>
                      <a:pt x="844" y="1557"/>
                    </a:lnTo>
                    <a:lnTo>
                      <a:pt x="863" y="1550"/>
                    </a:lnTo>
                    <a:lnTo>
                      <a:pt x="880" y="1543"/>
                    </a:lnTo>
                    <a:lnTo>
                      <a:pt x="895" y="1533"/>
                    </a:lnTo>
                    <a:lnTo>
                      <a:pt x="910" y="1522"/>
                    </a:lnTo>
                    <a:lnTo>
                      <a:pt x="924" y="1510"/>
                    </a:lnTo>
                    <a:lnTo>
                      <a:pt x="936" y="1496"/>
                    </a:lnTo>
                    <a:lnTo>
                      <a:pt x="947" y="1481"/>
                    </a:lnTo>
                    <a:lnTo>
                      <a:pt x="956" y="1466"/>
                    </a:lnTo>
                    <a:lnTo>
                      <a:pt x="966" y="1449"/>
                    </a:lnTo>
                    <a:lnTo>
                      <a:pt x="972" y="1430"/>
                    </a:lnTo>
                    <a:lnTo>
                      <a:pt x="976" y="1412"/>
                    </a:lnTo>
                    <a:lnTo>
                      <a:pt x="980" y="1393"/>
                    </a:lnTo>
                    <a:lnTo>
                      <a:pt x="980" y="1373"/>
                    </a:lnTo>
                    <a:lnTo>
                      <a:pt x="980" y="1373"/>
                    </a:lnTo>
                    <a:lnTo>
                      <a:pt x="980" y="1359"/>
                    </a:lnTo>
                    <a:lnTo>
                      <a:pt x="979" y="1346"/>
                    </a:lnTo>
                    <a:lnTo>
                      <a:pt x="976" y="1333"/>
                    </a:lnTo>
                    <a:lnTo>
                      <a:pt x="972" y="1320"/>
                    </a:lnTo>
                    <a:lnTo>
                      <a:pt x="968" y="1307"/>
                    </a:lnTo>
                    <a:lnTo>
                      <a:pt x="963" y="1295"/>
                    </a:lnTo>
                    <a:lnTo>
                      <a:pt x="958" y="1283"/>
                    </a:lnTo>
                    <a:lnTo>
                      <a:pt x="951" y="1271"/>
                    </a:lnTo>
                    <a:lnTo>
                      <a:pt x="945" y="1261"/>
                    </a:lnTo>
                    <a:lnTo>
                      <a:pt x="936" y="1250"/>
                    </a:lnTo>
                    <a:lnTo>
                      <a:pt x="928" y="1240"/>
                    </a:lnTo>
                    <a:lnTo>
                      <a:pt x="919" y="1231"/>
                    </a:lnTo>
                    <a:lnTo>
                      <a:pt x="908" y="1223"/>
                    </a:lnTo>
                    <a:lnTo>
                      <a:pt x="898" y="1215"/>
                    </a:lnTo>
                    <a:lnTo>
                      <a:pt x="887" y="1207"/>
                    </a:lnTo>
                    <a:lnTo>
                      <a:pt x="876" y="1202"/>
                    </a:lnTo>
                    <a:lnTo>
                      <a:pt x="876" y="1202"/>
                    </a:lnTo>
                    <a:close/>
                  </a:path>
                </a:pathLst>
              </a:custGeom>
              <a:solidFill>
                <a:schemeClr val="bg2"/>
              </a:solidFill>
              <a:ln w="9525">
                <a:solidFill>
                  <a:schemeClr val="bg2"/>
                </a:solidFill>
                <a:round/>
                <a:headEnd/>
                <a:tailEnd/>
              </a:ln>
            </p:spPr>
            <p:txBody>
              <a:bodyPr vert="horz" wrap="square" lIns="91440" tIns="45720" rIns="91440" bIns="45720" numCol="1" anchor="t" anchorCtr="0" compatLnSpc="1">
                <a:prstTxWarp prst="textNoShape">
                  <a:avLst/>
                </a:prstTxWarp>
              </a:bodyPr>
              <a:lstStyle/>
              <a:p>
                <a:endParaRPr lang="en-US">
                  <a:solidFill>
                    <a:srgbClr val="39393B"/>
                  </a:solidFill>
                  <a:latin typeface="CiscoSansTT ExtraLight" panose="020B0303020201020303" pitchFamily="34" charset="0"/>
                </a:endParaRPr>
              </a:p>
            </p:txBody>
          </p:sp>
        </p:grpSp>
        <p:sp>
          <p:nvSpPr>
            <p:cNvPr id="4" name="Rectangle 3"/>
            <p:cNvSpPr/>
            <p:nvPr/>
          </p:nvSpPr>
          <p:spPr>
            <a:xfrm>
              <a:off x="6027647" y="2320983"/>
              <a:ext cx="2811950" cy="2251017"/>
            </a:xfrm>
            <a:prstGeom prst="rect">
              <a:avLst/>
            </a:prstGeom>
            <a:solidFill>
              <a:schemeClr val="accent1">
                <a:alpha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731520" rtlCol="0" anchor="t"/>
            <a:lstStyle/>
            <a:p>
              <a:pPr algn="ctr">
                <a:spcBef>
                  <a:spcPts val="1200"/>
                </a:spcBef>
              </a:pPr>
              <a:r>
                <a:rPr lang="ja-JP" altLang="en-US" sz="2000">
                  <a:solidFill>
                    <a:srgbClr val="FFFFFF"/>
                  </a:solidFill>
                  <a:latin typeface="CiscoSansTT ExtraLight" panose="020B0303020201020303" pitchFamily="34" charset="0"/>
                </a:rPr>
                <a:t>対応</a:t>
              </a:r>
              <a:endParaRPr lang="en-US" sz="2000" dirty="0">
                <a:solidFill>
                  <a:srgbClr val="FFFFFF"/>
                </a:solidFill>
                <a:latin typeface="CiscoSansTT ExtraLight" panose="020B0303020201020303" pitchFamily="34" charset="0"/>
              </a:endParaRPr>
            </a:p>
            <a:p>
              <a:pPr algn="ctr">
                <a:spcBef>
                  <a:spcPts val="1200"/>
                </a:spcBef>
              </a:pPr>
              <a:r>
                <a:rPr lang="ja-JP" altLang="en-US" sz="1600">
                  <a:solidFill>
                    <a:srgbClr val="FFFFFF"/>
                  </a:solidFill>
                  <a:latin typeface="CiscoSansTT ExtraLight" panose="020B0303020201020303" pitchFamily="34" charset="0"/>
                </a:rPr>
                <a:t>解析速度と対応速度の向上による効果的な対応</a:t>
              </a:r>
              <a:endParaRPr lang="en-US" sz="1600" dirty="0">
                <a:solidFill>
                  <a:srgbClr val="FFFFFF"/>
                </a:solidFill>
                <a:latin typeface="CiscoSansTT ExtraLight" panose="020B0303020201020303" pitchFamily="34" charset="0"/>
              </a:endParaRPr>
            </a:p>
          </p:txBody>
        </p:sp>
        <p:grpSp>
          <p:nvGrpSpPr>
            <p:cNvPr id="36" name="Group 35"/>
            <p:cNvGrpSpPr/>
            <p:nvPr/>
          </p:nvGrpSpPr>
          <p:grpSpPr>
            <a:xfrm>
              <a:off x="6830263" y="1560491"/>
              <a:ext cx="1206719" cy="1206719"/>
              <a:chOff x="5358939" y="1513836"/>
              <a:chExt cx="1206719" cy="1206719"/>
            </a:xfrm>
          </p:grpSpPr>
          <p:sp>
            <p:nvSpPr>
              <p:cNvPr id="35" name="Oval 34"/>
              <p:cNvSpPr/>
              <p:nvPr/>
            </p:nvSpPr>
            <p:spPr>
              <a:xfrm>
                <a:off x="5358939" y="1513836"/>
                <a:ext cx="1206719" cy="1206719"/>
              </a:xfrm>
              <a:prstGeom prst="ellipse">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latin typeface="CiscoSansTT ExtraLight" panose="020B0303020201020303" pitchFamily="34" charset="0"/>
                </a:endParaRPr>
              </a:p>
            </p:txBody>
          </p:sp>
          <p:grpSp>
            <p:nvGrpSpPr>
              <p:cNvPr id="17" name="Group 16"/>
              <p:cNvGrpSpPr/>
              <p:nvPr/>
            </p:nvGrpSpPr>
            <p:grpSpPr>
              <a:xfrm>
                <a:off x="5595578" y="1751128"/>
                <a:ext cx="733441" cy="732134"/>
                <a:chOff x="5181285" y="1755497"/>
                <a:chExt cx="1561267" cy="1558486"/>
              </a:xfrm>
              <a:solidFill>
                <a:schemeClr val="bg1"/>
              </a:solidFill>
            </p:grpSpPr>
            <p:sp>
              <p:nvSpPr>
                <p:cNvPr id="79" name="Freeform 6"/>
                <p:cNvSpPr>
                  <a:spLocks noEditPoints="1"/>
                </p:cNvSpPr>
                <p:nvPr/>
              </p:nvSpPr>
              <p:spPr bwMode="auto">
                <a:xfrm>
                  <a:off x="5181285" y="1755497"/>
                  <a:ext cx="1561267" cy="1558486"/>
                </a:xfrm>
                <a:custGeom>
                  <a:avLst/>
                  <a:gdLst>
                    <a:gd name="T0" fmla="*/ 1257 w 1333"/>
                    <a:gd name="T1" fmla="*/ 957 h 1331"/>
                    <a:gd name="T2" fmla="*/ 1257 w 1333"/>
                    <a:gd name="T3" fmla="*/ 957 h 1331"/>
                    <a:gd name="T4" fmla="*/ 1204 w 1333"/>
                    <a:gd name="T5" fmla="*/ 926 h 1331"/>
                    <a:gd name="T6" fmla="*/ 996 w 1333"/>
                    <a:gd name="T7" fmla="*/ 170 h 1331"/>
                    <a:gd name="T8" fmla="*/ 1029 w 1333"/>
                    <a:gd name="T9" fmla="*/ 113 h 1331"/>
                    <a:gd name="T10" fmla="*/ 1015 w 1333"/>
                    <a:gd name="T11" fmla="*/ 58 h 1331"/>
                    <a:gd name="T12" fmla="*/ 960 w 1333"/>
                    <a:gd name="T13" fmla="*/ 73 h 1331"/>
                    <a:gd name="T14" fmla="*/ 928 w 1333"/>
                    <a:gd name="T15" fmla="*/ 130 h 1331"/>
                    <a:gd name="T16" fmla="*/ 170 w 1333"/>
                    <a:gd name="T17" fmla="*/ 333 h 1331"/>
                    <a:gd name="T18" fmla="*/ 117 w 1333"/>
                    <a:gd name="T19" fmla="*/ 303 h 1331"/>
                    <a:gd name="T20" fmla="*/ 62 w 1333"/>
                    <a:gd name="T21" fmla="*/ 317 h 1331"/>
                    <a:gd name="T22" fmla="*/ 77 w 1333"/>
                    <a:gd name="T23" fmla="*/ 371 h 1331"/>
                    <a:gd name="T24" fmla="*/ 131 w 1333"/>
                    <a:gd name="T25" fmla="*/ 402 h 1331"/>
                    <a:gd name="T26" fmla="*/ 337 w 1333"/>
                    <a:gd name="T27" fmla="*/ 1160 h 1331"/>
                    <a:gd name="T28" fmla="*/ 306 w 1333"/>
                    <a:gd name="T29" fmla="*/ 1214 h 1331"/>
                    <a:gd name="T30" fmla="*/ 321 w 1333"/>
                    <a:gd name="T31" fmla="*/ 1268 h 1331"/>
                    <a:gd name="T32" fmla="*/ 375 w 1333"/>
                    <a:gd name="T33" fmla="*/ 1253 h 1331"/>
                    <a:gd name="T34" fmla="*/ 406 w 1333"/>
                    <a:gd name="T35" fmla="*/ 1200 h 1331"/>
                    <a:gd name="T36" fmla="*/ 1164 w 1333"/>
                    <a:gd name="T37" fmla="*/ 995 h 1331"/>
                    <a:gd name="T38" fmla="*/ 1218 w 1333"/>
                    <a:gd name="T39" fmla="*/ 1026 h 1331"/>
                    <a:gd name="T40" fmla="*/ 1272 w 1333"/>
                    <a:gd name="T41" fmla="*/ 1011 h 1331"/>
                    <a:gd name="T42" fmla="*/ 1257 w 1333"/>
                    <a:gd name="T43" fmla="*/ 957 h 1331"/>
                    <a:gd name="T44" fmla="*/ 436 w 1333"/>
                    <a:gd name="T45" fmla="*/ 1146 h 1331"/>
                    <a:gd name="T46" fmla="*/ 436 w 1333"/>
                    <a:gd name="T47" fmla="*/ 1146 h 1331"/>
                    <a:gd name="T48" fmla="*/ 467 w 1333"/>
                    <a:gd name="T49" fmla="*/ 1093 h 1331"/>
                    <a:gd name="T50" fmla="*/ 452 w 1333"/>
                    <a:gd name="T51" fmla="*/ 1039 h 1331"/>
                    <a:gd name="T52" fmla="*/ 398 w 1333"/>
                    <a:gd name="T53" fmla="*/ 1053 h 1331"/>
                    <a:gd name="T54" fmla="*/ 368 w 1333"/>
                    <a:gd name="T55" fmla="*/ 1107 h 1331"/>
                    <a:gd name="T56" fmla="*/ 184 w 1333"/>
                    <a:gd name="T57" fmla="*/ 433 h 1331"/>
                    <a:gd name="T58" fmla="*/ 236 w 1333"/>
                    <a:gd name="T59" fmla="*/ 463 h 1331"/>
                    <a:gd name="T60" fmla="*/ 290 w 1333"/>
                    <a:gd name="T61" fmla="*/ 448 h 1331"/>
                    <a:gd name="T62" fmla="*/ 275 w 1333"/>
                    <a:gd name="T63" fmla="*/ 394 h 1331"/>
                    <a:gd name="T64" fmla="*/ 226 w 1333"/>
                    <a:gd name="T65" fmla="*/ 365 h 1331"/>
                    <a:gd name="T66" fmla="*/ 897 w 1333"/>
                    <a:gd name="T67" fmla="*/ 184 h 1331"/>
                    <a:gd name="T68" fmla="*/ 868 w 1333"/>
                    <a:gd name="T69" fmla="*/ 234 h 1331"/>
                    <a:gd name="T70" fmla="*/ 883 w 1333"/>
                    <a:gd name="T71" fmla="*/ 288 h 1331"/>
                    <a:gd name="T72" fmla="*/ 937 w 1333"/>
                    <a:gd name="T73" fmla="*/ 273 h 1331"/>
                    <a:gd name="T74" fmla="*/ 966 w 1333"/>
                    <a:gd name="T75" fmla="*/ 223 h 1331"/>
                    <a:gd name="T76" fmla="*/ 1150 w 1333"/>
                    <a:gd name="T77" fmla="*/ 895 h 1331"/>
                    <a:gd name="T78" fmla="*/ 1098 w 1333"/>
                    <a:gd name="T79" fmla="*/ 866 h 1331"/>
                    <a:gd name="T80" fmla="*/ 1044 w 1333"/>
                    <a:gd name="T81" fmla="*/ 880 h 1331"/>
                    <a:gd name="T82" fmla="*/ 1059 w 1333"/>
                    <a:gd name="T83" fmla="*/ 935 h 1331"/>
                    <a:gd name="T84" fmla="*/ 1111 w 1333"/>
                    <a:gd name="T85" fmla="*/ 964 h 1331"/>
                    <a:gd name="T86" fmla="*/ 436 w 1333"/>
                    <a:gd name="T87" fmla="*/ 1146 h 1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333" h="1331">
                      <a:moveTo>
                        <a:pt x="1257" y="957"/>
                      </a:moveTo>
                      <a:lnTo>
                        <a:pt x="1257" y="957"/>
                      </a:lnTo>
                      <a:lnTo>
                        <a:pt x="1204" y="926"/>
                      </a:lnTo>
                      <a:cubicBezTo>
                        <a:pt x="1333" y="657"/>
                        <a:pt x="1245" y="335"/>
                        <a:pt x="996" y="170"/>
                      </a:cubicBezTo>
                      <a:lnTo>
                        <a:pt x="1029" y="113"/>
                      </a:lnTo>
                      <a:cubicBezTo>
                        <a:pt x="1039" y="95"/>
                        <a:pt x="1034" y="69"/>
                        <a:pt x="1015" y="58"/>
                      </a:cubicBezTo>
                      <a:cubicBezTo>
                        <a:pt x="995" y="47"/>
                        <a:pt x="970" y="56"/>
                        <a:pt x="960" y="73"/>
                      </a:cubicBezTo>
                      <a:lnTo>
                        <a:pt x="928" y="130"/>
                      </a:lnTo>
                      <a:cubicBezTo>
                        <a:pt x="661" y="0"/>
                        <a:pt x="337" y="86"/>
                        <a:pt x="170" y="333"/>
                      </a:cubicBezTo>
                      <a:lnTo>
                        <a:pt x="117" y="303"/>
                      </a:lnTo>
                      <a:cubicBezTo>
                        <a:pt x="97" y="292"/>
                        <a:pt x="73" y="298"/>
                        <a:pt x="62" y="317"/>
                      </a:cubicBezTo>
                      <a:cubicBezTo>
                        <a:pt x="51" y="336"/>
                        <a:pt x="58" y="360"/>
                        <a:pt x="77" y="371"/>
                      </a:cubicBezTo>
                      <a:lnTo>
                        <a:pt x="131" y="402"/>
                      </a:lnTo>
                      <a:cubicBezTo>
                        <a:pt x="0" y="670"/>
                        <a:pt x="88" y="995"/>
                        <a:pt x="337" y="1160"/>
                      </a:cubicBezTo>
                      <a:lnTo>
                        <a:pt x="306" y="1214"/>
                      </a:lnTo>
                      <a:cubicBezTo>
                        <a:pt x="295" y="1233"/>
                        <a:pt x="302" y="1257"/>
                        <a:pt x="321" y="1268"/>
                      </a:cubicBezTo>
                      <a:cubicBezTo>
                        <a:pt x="340" y="1279"/>
                        <a:pt x="364" y="1272"/>
                        <a:pt x="375" y="1253"/>
                      </a:cubicBezTo>
                      <a:lnTo>
                        <a:pt x="406" y="1200"/>
                      </a:lnTo>
                      <a:cubicBezTo>
                        <a:pt x="674" y="1331"/>
                        <a:pt x="999" y="1243"/>
                        <a:pt x="1164" y="995"/>
                      </a:cubicBezTo>
                      <a:lnTo>
                        <a:pt x="1218" y="1026"/>
                      </a:lnTo>
                      <a:cubicBezTo>
                        <a:pt x="1237" y="1037"/>
                        <a:pt x="1261" y="1030"/>
                        <a:pt x="1272" y="1011"/>
                      </a:cubicBezTo>
                      <a:cubicBezTo>
                        <a:pt x="1283" y="992"/>
                        <a:pt x="1276" y="968"/>
                        <a:pt x="1257" y="957"/>
                      </a:cubicBezTo>
                      <a:close/>
                      <a:moveTo>
                        <a:pt x="436" y="1146"/>
                      </a:moveTo>
                      <a:lnTo>
                        <a:pt x="436" y="1146"/>
                      </a:lnTo>
                      <a:lnTo>
                        <a:pt x="467" y="1093"/>
                      </a:lnTo>
                      <a:cubicBezTo>
                        <a:pt x="477" y="1076"/>
                        <a:pt x="472" y="1050"/>
                        <a:pt x="452" y="1039"/>
                      </a:cubicBezTo>
                      <a:cubicBezTo>
                        <a:pt x="433" y="1028"/>
                        <a:pt x="408" y="1036"/>
                        <a:pt x="398" y="1053"/>
                      </a:cubicBezTo>
                      <a:lnTo>
                        <a:pt x="368" y="1107"/>
                      </a:lnTo>
                      <a:cubicBezTo>
                        <a:pt x="150" y="959"/>
                        <a:pt x="71" y="670"/>
                        <a:pt x="184" y="433"/>
                      </a:cubicBezTo>
                      <a:lnTo>
                        <a:pt x="236" y="463"/>
                      </a:lnTo>
                      <a:cubicBezTo>
                        <a:pt x="255" y="474"/>
                        <a:pt x="279" y="467"/>
                        <a:pt x="290" y="448"/>
                      </a:cubicBezTo>
                      <a:cubicBezTo>
                        <a:pt x="301" y="429"/>
                        <a:pt x="295" y="405"/>
                        <a:pt x="275" y="394"/>
                      </a:cubicBezTo>
                      <a:lnTo>
                        <a:pt x="226" y="365"/>
                      </a:lnTo>
                      <a:cubicBezTo>
                        <a:pt x="373" y="148"/>
                        <a:pt x="659" y="70"/>
                        <a:pt x="897" y="184"/>
                      </a:cubicBezTo>
                      <a:lnTo>
                        <a:pt x="868" y="234"/>
                      </a:lnTo>
                      <a:cubicBezTo>
                        <a:pt x="857" y="253"/>
                        <a:pt x="864" y="277"/>
                        <a:pt x="883" y="288"/>
                      </a:cubicBezTo>
                      <a:cubicBezTo>
                        <a:pt x="902" y="299"/>
                        <a:pt x="926" y="292"/>
                        <a:pt x="937" y="273"/>
                      </a:cubicBezTo>
                      <a:lnTo>
                        <a:pt x="966" y="223"/>
                      </a:lnTo>
                      <a:cubicBezTo>
                        <a:pt x="1184" y="371"/>
                        <a:pt x="1263" y="658"/>
                        <a:pt x="1150" y="895"/>
                      </a:cubicBezTo>
                      <a:lnTo>
                        <a:pt x="1098" y="866"/>
                      </a:lnTo>
                      <a:cubicBezTo>
                        <a:pt x="1079" y="855"/>
                        <a:pt x="1055" y="861"/>
                        <a:pt x="1044" y="880"/>
                      </a:cubicBezTo>
                      <a:cubicBezTo>
                        <a:pt x="1033" y="899"/>
                        <a:pt x="1040" y="924"/>
                        <a:pt x="1059" y="935"/>
                      </a:cubicBezTo>
                      <a:lnTo>
                        <a:pt x="1111" y="964"/>
                      </a:lnTo>
                      <a:cubicBezTo>
                        <a:pt x="963" y="1182"/>
                        <a:pt x="674" y="1260"/>
                        <a:pt x="436" y="1146"/>
                      </a:cubicBezTo>
                      <a:close/>
                    </a:path>
                  </a:pathLst>
                </a:custGeom>
                <a:grpFill/>
                <a:ln w="0">
                  <a:noFill/>
                  <a:prstDash val="solid"/>
                  <a:round/>
                  <a:headEnd/>
                  <a:tailEnd/>
                </a:ln>
              </p:spPr>
              <p:txBody>
                <a:bodyPr vert="horz" wrap="square" lIns="162560" tIns="81280" rIns="162560" bIns="81280" numCol="1" anchor="t" anchorCtr="0" compatLnSpc="1">
                  <a:prstTxWarp prst="textNoShape">
                    <a:avLst/>
                  </a:prstTxWarp>
                </a:bodyPr>
                <a:lstStyle/>
                <a:p>
                  <a:pPr defTabSz="812549"/>
                  <a:endParaRPr lang="en-US" sz="3200">
                    <a:solidFill>
                      <a:srgbClr val="676767"/>
                    </a:solidFill>
                    <a:latin typeface="CiscoSansTT ExtraLight" panose="020B0303020201020303" pitchFamily="34" charset="0"/>
                    <a:ea typeface="ＭＳ Ｐゴシック" charset="0"/>
                  </a:endParaRPr>
                </a:p>
              </p:txBody>
            </p:sp>
            <p:sp>
              <p:nvSpPr>
                <p:cNvPr id="80" name="Freeform 7"/>
                <p:cNvSpPr>
                  <a:spLocks/>
                </p:cNvSpPr>
                <p:nvPr/>
              </p:nvSpPr>
              <p:spPr bwMode="auto">
                <a:xfrm>
                  <a:off x="5517429" y="2216653"/>
                  <a:ext cx="494494" cy="652842"/>
                </a:xfrm>
                <a:custGeom>
                  <a:avLst/>
                  <a:gdLst>
                    <a:gd name="T0" fmla="*/ 300 w 422"/>
                    <a:gd name="T1" fmla="*/ 50 h 559"/>
                    <a:gd name="T2" fmla="*/ 300 w 422"/>
                    <a:gd name="T3" fmla="*/ 50 h 559"/>
                    <a:gd name="T4" fmla="*/ 252 w 422"/>
                    <a:gd name="T5" fmla="*/ 85 h 559"/>
                    <a:gd name="T6" fmla="*/ 198 w 422"/>
                    <a:gd name="T7" fmla="*/ 14 h 559"/>
                    <a:gd name="T8" fmla="*/ 164 w 422"/>
                    <a:gd name="T9" fmla="*/ 9 h 559"/>
                    <a:gd name="T10" fmla="*/ 162 w 422"/>
                    <a:gd name="T11" fmla="*/ 44 h 559"/>
                    <a:gd name="T12" fmla="*/ 217 w 422"/>
                    <a:gd name="T13" fmla="*/ 118 h 559"/>
                    <a:gd name="T14" fmla="*/ 174 w 422"/>
                    <a:gd name="T15" fmla="*/ 176 h 559"/>
                    <a:gd name="T16" fmla="*/ 94 w 422"/>
                    <a:gd name="T17" fmla="*/ 131 h 559"/>
                    <a:gd name="T18" fmla="*/ 61 w 422"/>
                    <a:gd name="T19" fmla="*/ 139 h 559"/>
                    <a:gd name="T20" fmla="*/ 70 w 422"/>
                    <a:gd name="T21" fmla="*/ 173 h 559"/>
                    <a:gd name="T22" fmla="*/ 150 w 422"/>
                    <a:gd name="T23" fmla="*/ 218 h 559"/>
                    <a:gd name="T24" fmla="*/ 122 w 422"/>
                    <a:gd name="T25" fmla="*/ 285 h 559"/>
                    <a:gd name="T26" fmla="*/ 30 w 422"/>
                    <a:gd name="T27" fmla="*/ 275 h 559"/>
                    <a:gd name="T28" fmla="*/ 0 w 422"/>
                    <a:gd name="T29" fmla="*/ 296 h 559"/>
                    <a:gd name="T30" fmla="*/ 13 w 422"/>
                    <a:gd name="T31" fmla="*/ 321 h 559"/>
                    <a:gd name="T32" fmla="*/ 20 w 422"/>
                    <a:gd name="T33" fmla="*/ 323 h 559"/>
                    <a:gd name="T34" fmla="*/ 114 w 422"/>
                    <a:gd name="T35" fmla="*/ 334 h 559"/>
                    <a:gd name="T36" fmla="*/ 199 w 422"/>
                    <a:gd name="T37" fmla="*/ 559 h 559"/>
                    <a:gd name="T38" fmla="*/ 422 w 422"/>
                    <a:gd name="T39" fmla="*/ 170 h 559"/>
                    <a:gd name="T40" fmla="*/ 306 w 422"/>
                    <a:gd name="T41" fmla="*/ 63 h 559"/>
                    <a:gd name="T42" fmla="*/ 300 w 422"/>
                    <a:gd name="T43" fmla="*/ 50 h 5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2" h="559">
                      <a:moveTo>
                        <a:pt x="300" y="50"/>
                      </a:moveTo>
                      <a:lnTo>
                        <a:pt x="300" y="50"/>
                      </a:lnTo>
                      <a:cubicBezTo>
                        <a:pt x="282" y="59"/>
                        <a:pt x="268" y="71"/>
                        <a:pt x="252" y="85"/>
                      </a:cubicBezTo>
                      <a:lnTo>
                        <a:pt x="198" y="14"/>
                      </a:lnTo>
                      <a:cubicBezTo>
                        <a:pt x="190" y="4"/>
                        <a:pt x="174" y="0"/>
                        <a:pt x="164" y="9"/>
                      </a:cubicBezTo>
                      <a:cubicBezTo>
                        <a:pt x="155" y="17"/>
                        <a:pt x="153" y="33"/>
                        <a:pt x="162" y="44"/>
                      </a:cubicBezTo>
                      <a:lnTo>
                        <a:pt x="217" y="118"/>
                      </a:lnTo>
                      <a:cubicBezTo>
                        <a:pt x="202" y="137"/>
                        <a:pt x="186" y="155"/>
                        <a:pt x="174" y="176"/>
                      </a:cubicBezTo>
                      <a:lnTo>
                        <a:pt x="94" y="131"/>
                      </a:lnTo>
                      <a:cubicBezTo>
                        <a:pt x="81" y="123"/>
                        <a:pt x="69" y="126"/>
                        <a:pt x="61" y="139"/>
                      </a:cubicBezTo>
                      <a:cubicBezTo>
                        <a:pt x="56" y="149"/>
                        <a:pt x="57" y="165"/>
                        <a:pt x="70" y="173"/>
                      </a:cubicBezTo>
                      <a:lnTo>
                        <a:pt x="150" y="218"/>
                      </a:lnTo>
                      <a:cubicBezTo>
                        <a:pt x="137" y="241"/>
                        <a:pt x="129" y="264"/>
                        <a:pt x="122" y="285"/>
                      </a:cubicBezTo>
                      <a:lnTo>
                        <a:pt x="30" y="275"/>
                      </a:lnTo>
                      <a:cubicBezTo>
                        <a:pt x="13" y="273"/>
                        <a:pt x="1" y="284"/>
                        <a:pt x="0" y="296"/>
                      </a:cubicBezTo>
                      <a:cubicBezTo>
                        <a:pt x="0" y="304"/>
                        <a:pt x="6" y="317"/>
                        <a:pt x="13" y="321"/>
                      </a:cubicBezTo>
                      <a:cubicBezTo>
                        <a:pt x="15" y="322"/>
                        <a:pt x="18" y="322"/>
                        <a:pt x="20" y="323"/>
                      </a:cubicBezTo>
                      <a:lnTo>
                        <a:pt x="114" y="334"/>
                      </a:lnTo>
                      <a:cubicBezTo>
                        <a:pt x="105" y="417"/>
                        <a:pt x="141" y="490"/>
                        <a:pt x="199" y="559"/>
                      </a:cubicBezTo>
                      <a:lnTo>
                        <a:pt x="422" y="170"/>
                      </a:lnTo>
                      <a:cubicBezTo>
                        <a:pt x="370" y="140"/>
                        <a:pt x="333" y="101"/>
                        <a:pt x="306" y="63"/>
                      </a:cubicBezTo>
                      <a:cubicBezTo>
                        <a:pt x="306" y="58"/>
                        <a:pt x="303" y="54"/>
                        <a:pt x="300" y="50"/>
                      </a:cubicBezTo>
                      <a:close/>
                    </a:path>
                  </a:pathLst>
                </a:custGeom>
                <a:grpFill/>
                <a:ln w="0">
                  <a:noFill/>
                  <a:prstDash val="solid"/>
                  <a:round/>
                  <a:headEnd/>
                  <a:tailEnd/>
                </a:ln>
              </p:spPr>
              <p:txBody>
                <a:bodyPr vert="horz" wrap="square" lIns="162560" tIns="81280" rIns="162560" bIns="81280" numCol="1" anchor="t" anchorCtr="0" compatLnSpc="1">
                  <a:prstTxWarp prst="textNoShape">
                    <a:avLst/>
                  </a:prstTxWarp>
                </a:bodyPr>
                <a:lstStyle/>
                <a:p>
                  <a:pPr defTabSz="812549"/>
                  <a:endParaRPr lang="en-US" sz="3200">
                    <a:solidFill>
                      <a:srgbClr val="676767"/>
                    </a:solidFill>
                    <a:latin typeface="CiscoSansTT ExtraLight" panose="020B0303020201020303" pitchFamily="34" charset="0"/>
                    <a:ea typeface="ＭＳ Ｐゴシック" charset="0"/>
                  </a:endParaRPr>
                </a:p>
              </p:txBody>
            </p:sp>
            <p:sp>
              <p:nvSpPr>
                <p:cNvPr id="81" name="Freeform 8"/>
                <p:cNvSpPr>
                  <a:spLocks/>
                </p:cNvSpPr>
                <p:nvPr/>
              </p:nvSpPr>
              <p:spPr bwMode="auto">
                <a:xfrm>
                  <a:off x="5778567" y="2430563"/>
                  <a:ext cx="577836" cy="508383"/>
                </a:xfrm>
                <a:custGeom>
                  <a:avLst/>
                  <a:gdLst>
                    <a:gd name="T0" fmla="*/ 396 w 492"/>
                    <a:gd name="T1" fmla="*/ 304 h 435"/>
                    <a:gd name="T2" fmla="*/ 396 w 492"/>
                    <a:gd name="T3" fmla="*/ 304 h 435"/>
                    <a:gd name="T4" fmla="*/ 431 w 492"/>
                    <a:gd name="T5" fmla="*/ 297 h 435"/>
                    <a:gd name="T6" fmla="*/ 422 w 492"/>
                    <a:gd name="T7" fmla="*/ 263 h 435"/>
                    <a:gd name="T8" fmla="*/ 344 w 492"/>
                    <a:gd name="T9" fmla="*/ 219 h 435"/>
                    <a:gd name="T10" fmla="*/ 372 w 492"/>
                    <a:gd name="T11" fmla="*/ 152 h 435"/>
                    <a:gd name="T12" fmla="*/ 464 w 492"/>
                    <a:gd name="T13" fmla="*/ 162 h 435"/>
                    <a:gd name="T14" fmla="*/ 489 w 492"/>
                    <a:gd name="T15" fmla="*/ 141 h 435"/>
                    <a:gd name="T16" fmla="*/ 469 w 492"/>
                    <a:gd name="T17" fmla="*/ 114 h 435"/>
                    <a:gd name="T18" fmla="*/ 383 w 492"/>
                    <a:gd name="T19" fmla="*/ 100 h 435"/>
                    <a:gd name="T20" fmla="*/ 389 w 492"/>
                    <a:gd name="T21" fmla="*/ 45 h 435"/>
                    <a:gd name="T22" fmla="*/ 375 w 492"/>
                    <a:gd name="T23" fmla="*/ 47 h 435"/>
                    <a:gd name="T24" fmla="*/ 223 w 492"/>
                    <a:gd name="T25" fmla="*/ 0 h 435"/>
                    <a:gd name="T26" fmla="*/ 0 w 492"/>
                    <a:gd name="T27" fmla="*/ 389 h 435"/>
                    <a:gd name="T28" fmla="*/ 236 w 492"/>
                    <a:gd name="T29" fmla="*/ 351 h 435"/>
                    <a:gd name="T30" fmla="*/ 291 w 492"/>
                    <a:gd name="T31" fmla="*/ 423 h 435"/>
                    <a:gd name="T32" fmla="*/ 298 w 492"/>
                    <a:gd name="T33" fmla="*/ 429 h 435"/>
                    <a:gd name="T34" fmla="*/ 325 w 492"/>
                    <a:gd name="T35" fmla="*/ 427 h 435"/>
                    <a:gd name="T36" fmla="*/ 332 w 492"/>
                    <a:gd name="T37" fmla="*/ 393 h 435"/>
                    <a:gd name="T38" fmla="*/ 273 w 492"/>
                    <a:gd name="T39" fmla="*/ 319 h 435"/>
                    <a:gd name="T40" fmla="*/ 320 w 492"/>
                    <a:gd name="T41" fmla="*/ 260 h 435"/>
                    <a:gd name="T42" fmla="*/ 396 w 492"/>
                    <a:gd name="T43" fmla="*/ 304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2" h="435">
                      <a:moveTo>
                        <a:pt x="396" y="304"/>
                      </a:moveTo>
                      <a:lnTo>
                        <a:pt x="396" y="304"/>
                      </a:lnTo>
                      <a:cubicBezTo>
                        <a:pt x="409" y="312"/>
                        <a:pt x="424" y="305"/>
                        <a:pt x="431" y="297"/>
                      </a:cubicBezTo>
                      <a:cubicBezTo>
                        <a:pt x="439" y="283"/>
                        <a:pt x="433" y="270"/>
                        <a:pt x="422" y="263"/>
                      </a:cubicBezTo>
                      <a:lnTo>
                        <a:pt x="344" y="219"/>
                      </a:lnTo>
                      <a:cubicBezTo>
                        <a:pt x="357" y="196"/>
                        <a:pt x="365" y="173"/>
                        <a:pt x="372" y="152"/>
                      </a:cubicBezTo>
                      <a:lnTo>
                        <a:pt x="464" y="162"/>
                      </a:lnTo>
                      <a:cubicBezTo>
                        <a:pt x="476" y="164"/>
                        <a:pt x="488" y="153"/>
                        <a:pt x="489" y="141"/>
                      </a:cubicBezTo>
                      <a:cubicBezTo>
                        <a:pt x="492" y="127"/>
                        <a:pt x="480" y="116"/>
                        <a:pt x="469" y="114"/>
                      </a:cubicBezTo>
                      <a:lnTo>
                        <a:pt x="383" y="100"/>
                      </a:lnTo>
                      <a:cubicBezTo>
                        <a:pt x="387" y="85"/>
                        <a:pt x="390" y="66"/>
                        <a:pt x="389" y="45"/>
                      </a:cubicBezTo>
                      <a:cubicBezTo>
                        <a:pt x="384" y="45"/>
                        <a:pt x="379" y="45"/>
                        <a:pt x="375" y="47"/>
                      </a:cubicBezTo>
                      <a:cubicBezTo>
                        <a:pt x="328" y="43"/>
                        <a:pt x="275" y="31"/>
                        <a:pt x="223" y="0"/>
                      </a:cubicBezTo>
                      <a:lnTo>
                        <a:pt x="0" y="389"/>
                      </a:lnTo>
                      <a:cubicBezTo>
                        <a:pt x="85" y="408"/>
                        <a:pt x="168" y="398"/>
                        <a:pt x="236" y="351"/>
                      </a:cubicBezTo>
                      <a:lnTo>
                        <a:pt x="291" y="423"/>
                      </a:lnTo>
                      <a:cubicBezTo>
                        <a:pt x="293" y="424"/>
                        <a:pt x="296" y="428"/>
                        <a:pt x="298" y="429"/>
                      </a:cubicBezTo>
                      <a:cubicBezTo>
                        <a:pt x="308" y="435"/>
                        <a:pt x="320" y="432"/>
                        <a:pt x="325" y="427"/>
                      </a:cubicBezTo>
                      <a:cubicBezTo>
                        <a:pt x="334" y="420"/>
                        <a:pt x="338" y="405"/>
                        <a:pt x="332" y="393"/>
                      </a:cubicBezTo>
                      <a:lnTo>
                        <a:pt x="273" y="319"/>
                      </a:lnTo>
                      <a:cubicBezTo>
                        <a:pt x="291" y="302"/>
                        <a:pt x="307" y="283"/>
                        <a:pt x="320" y="260"/>
                      </a:cubicBezTo>
                      <a:lnTo>
                        <a:pt x="396" y="304"/>
                      </a:lnTo>
                      <a:close/>
                    </a:path>
                  </a:pathLst>
                </a:custGeom>
                <a:grpFill/>
                <a:ln w="0">
                  <a:noFill/>
                  <a:prstDash val="solid"/>
                  <a:round/>
                  <a:headEnd/>
                  <a:tailEnd/>
                </a:ln>
              </p:spPr>
              <p:txBody>
                <a:bodyPr vert="horz" wrap="square" lIns="162560" tIns="81280" rIns="162560" bIns="81280" numCol="1" anchor="t" anchorCtr="0" compatLnSpc="1">
                  <a:prstTxWarp prst="textNoShape">
                    <a:avLst/>
                  </a:prstTxWarp>
                </a:bodyPr>
                <a:lstStyle/>
                <a:p>
                  <a:pPr defTabSz="812549"/>
                  <a:endParaRPr lang="en-US" sz="3200">
                    <a:solidFill>
                      <a:srgbClr val="676767"/>
                    </a:solidFill>
                    <a:latin typeface="CiscoSansTT ExtraLight" panose="020B0303020201020303" pitchFamily="34" charset="0"/>
                    <a:ea typeface="ＭＳ Ｐゴシック" charset="0"/>
                  </a:endParaRPr>
                </a:p>
              </p:txBody>
            </p:sp>
            <p:sp>
              <p:nvSpPr>
                <p:cNvPr id="82" name="Freeform 9"/>
                <p:cNvSpPr>
                  <a:spLocks/>
                </p:cNvSpPr>
                <p:nvPr/>
              </p:nvSpPr>
              <p:spPr bwMode="auto">
                <a:xfrm>
                  <a:off x="5914691" y="2002743"/>
                  <a:ext cx="505606" cy="430598"/>
                </a:xfrm>
                <a:custGeom>
                  <a:avLst/>
                  <a:gdLst>
                    <a:gd name="T0" fmla="*/ 282 w 432"/>
                    <a:gd name="T1" fmla="*/ 367 h 367"/>
                    <a:gd name="T2" fmla="*/ 282 w 432"/>
                    <a:gd name="T3" fmla="*/ 367 h 367"/>
                    <a:gd name="T4" fmla="*/ 263 w 432"/>
                    <a:gd name="T5" fmla="*/ 297 h 367"/>
                    <a:gd name="T6" fmla="*/ 354 w 432"/>
                    <a:gd name="T7" fmla="*/ 268 h 367"/>
                    <a:gd name="T8" fmla="*/ 361 w 432"/>
                    <a:gd name="T9" fmla="*/ 272 h 367"/>
                    <a:gd name="T10" fmla="*/ 421 w 432"/>
                    <a:gd name="T11" fmla="*/ 257 h 367"/>
                    <a:gd name="T12" fmla="*/ 403 w 432"/>
                    <a:gd name="T13" fmla="*/ 200 h 367"/>
                    <a:gd name="T14" fmla="*/ 346 w 432"/>
                    <a:gd name="T15" fmla="*/ 214 h 367"/>
                    <a:gd name="T16" fmla="*/ 340 w 432"/>
                    <a:gd name="T17" fmla="*/ 233 h 367"/>
                    <a:gd name="T18" fmla="*/ 246 w 432"/>
                    <a:gd name="T19" fmla="*/ 263 h 367"/>
                    <a:gd name="T20" fmla="*/ 186 w 432"/>
                    <a:gd name="T21" fmla="*/ 206 h 367"/>
                    <a:gd name="T22" fmla="*/ 101 w 432"/>
                    <a:gd name="T23" fmla="*/ 182 h 367"/>
                    <a:gd name="T24" fmla="*/ 80 w 432"/>
                    <a:gd name="T25" fmla="*/ 84 h 367"/>
                    <a:gd name="T26" fmla="*/ 93 w 432"/>
                    <a:gd name="T27" fmla="*/ 69 h 367"/>
                    <a:gd name="T28" fmla="*/ 75 w 432"/>
                    <a:gd name="T29" fmla="*/ 12 h 367"/>
                    <a:gd name="T30" fmla="*/ 18 w 432"/>
                    <a:gd name="T31" fmla="*/ 26 h 367"/>
                    <a:gd name="T32" fmla="*/ 34 w 432"/>
                    <a:gd name="T33" fmla="*/ 84 h 367"/>
                    <a:gd name="T34" fmla="*/ 43 w 432"/>
                    <a:gd name="T35" fmla="*/ 90 h 367"/>
                    <a:gd name="T36" fmla="*/ 61 w 432"/>
                    <a:gd name="T37" fmla="*/ 184 h 367"/>
                    <a:gd name="T38" fmla="*/ 0 w 432"/>
                    <a:gd name="T39" fmla="*/ 205 h 367"/>
                    <a:gd name="T40" fmla="*/ 4 w 432"/>
                    <a:gd name="T41" fmla="*/ 215 h 367"/>
                    <a:gd name="T42" fmla="*/ 120 w 432"/>
                    <a:gd name="T43" fmla="*/ 321 h 367"/>
                    <a:gd name="T44" fmla="*/ 269 w 432"/>
                    <a:gd name="T45" fmla="*/ 367 h 367"/>
                    <a:gd name="T46" fmla="*/ 282 w 432"/>
                    <a:gd name="T47" fmla="*/ 367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32" h="367">
                      <a:moveTo>
                        <a:pt x="282" y="367"/>
                      </a:moveTo>
                      <a:lnTo>
                        <a:pt x="282" y="367"/>
                      </a:lnTo>
                      <a:cubicBezTo>
                        <a:pt x="281" y="342"/>
                        <a:pt x="274" y="318"/>
                        <a:pt x="263" y="297"/>
                      </a:cubicBezTo>
                      <a:cubicBezTo>
                        <a:pt x="328" y="277"/>
                        <a:pt x="348" y="269"/>
                        <a:pt x="354" y="268"/>
                      </a:cubicBezTo>
                      <a:cubicBezTo>
                        <a:pt x="358" y="270"/>
                        <a:pt x="360" y="271"/>
                        <a:pt x="361" y="272"/>
                      </a:cubicBezTo>
                      <a:cubicBezTo>
                        <a:pt x="383" y="284"/>
                        <a:pt x="410" y="278"/>
                        <a:pt x="421" y="257"/>
                      </a:cubicBezTo>
                      <a:cubicBezTo>
                        <a:pt x="432" y="239"/>
                        <a:pt x="424" y="212"/>
                        <a:pt x="403" y="200"/>
                      </a:cubicBezTo>
                      <a:cubicBezTo>
                        <a:pt x="382" y="188"/>
                        <a:pt x="357" y="195"/>
                        <a:pt x="346" y="214"/>
                      </a:cubicBezTo>
                      <a:cubicBezTo>
                        <a:pt x="342" y="221"/>
                        <a:pt x="340" y="225"/>
                        <a:pt x="340" y="233"/>
                      </a:cubicBezTo>
                      <a:lnTo>
                        <a:pt x="246" y="263"/>
                      </a:lnTo>
                      <a:cubicBezTo>
                        <a:pt x="232" y="240"/>
                        <a:pt x="212" y="221"/>
                        <a:pt x="186" y="206"/>
                      </a:cubicBezTo>
                      <a:cubicBezTo>
                        <a:pt x="159" y="191"/>
                        <a:pt x="131" y="182"/>
                        <a:pt x="101" y="182"/>
                      </a:cubicBezTo>
                      <a:cubicBezTo>
                        <a:pt x="85" y="111"/>
                        <a:pt x="80" y="88"/>
                        <a:pt x="80" y="84"/>
                      </a:cubicBezTo>
                      <a:cubicBezTo>
                        <a:pt x="84" y="81"/>
                        <a:pt x="89" y="77"/>
                        <a:pt x="93" y="69"/>
                      </a:cubicBezTo>
                      <a:cubicBezTo>
                        <a:pt x="104" y="51"/>
                        <a:pt x="96" y="24"/>
                        <a:pt x="75" y="12"/>
                      </a:cubicBezTo>
                      <a:cubicBezTo>
                        <a:pt x="54" y="0"/>
                        <a:pt x="29" y="7"/>
                        <a:pt x="18" y="26"/>
                      </a:cubicBezTo>
                      <a:cubicBezTo>
                        <a:pt x="6" y="46"/>
                        <a:pt x="12" y="72"/>
                        <a:pt x="34" y="84"/>
                      </a:cubicBezTo>
                      <a:cubicBezTo>
                        <a:pt x="37" y="86"/>
                        <a:pt x="39" y="87"/>
                        <a:pt x="43" y="90"/>
                      </a:cubicBezTo>
                      <a:lnTo>
                        <a:pt x="61" y="184"/>
                      </a:lnTo>
                      <a:cubicBezTo>
                        <a:pt x="40" y="189"/>
                        <a:pt x="19" y="194"/>
                        <a:pt x="0" y="205"/>
                      </a:cubicBezTo>
                      <a:cubicBezTo>
                        <a:pt x="1" y="208"/>
                        <a:pt x="2" y="211"/>
                        <a:pt x="4" y="215"/>
                      </a:cubicBezTo>
                      <a:cubicBezTo>
                        <a:pt x="30" y="252"/>
                        <a:pt x="68" y="292"/>
                        <a:pt x="120" y="321"/>
                      </a:cubicBezTo>
                      <a:cubicBezTo>
                        <a:pt x="171" y="350"/>
                        <a:pt x="224" y="364"/>
                        <a:pt x="269" y="367"/>
                      </a:cubicBezTo>
                      <a:cubicBezTo>
                        <a:pt x="274" y="367"/>
                        <a:pt x="277" y="367"/>
                        <a:pt x="282" y="367"/>
                      </a:cubicBezTo>
                      <a:close/>
                    </a:path>
                  </a:pathLst>
                </a:custGeom>
                <a:grpFill/>
                <a:ln w="0">
                  <a:noFill/>
                  <a:prstDash val="solid"/>
                  <a:round/>
                  <a:headEnd/>
                  <a:tailEnd/>
                </a:ln>
              </p:spPr>
              <p:txBody>
                <a:bodyPr vert="horz" wrap="square" lIns="162560" tIns="81280" rIns="162560" bIns="81280" numCol="1" anchor="t" anchorCtr="0" compatLnSpc="1">
                  <a:prstTxWarp prst="textNoShape">
                    <a:avLst/>
                  </a:prstTxWarp>
                </a:bodyPr>
                <a:lstStyle/>
                <a:p>
                  <a:pPr defTabSz="812549"/>
                  <a:endParaRPr lang="en-US" sz="3200">
                    <a:solidFill>
                      <a:srgbClr val="676767"/>
                    </a:solidFill>
                    <a:latin typeface="CiscoSansTT ExtraLight" panose="020B0303020201020303" pitchFamily="34" charset="0"/>
                    <a:ea typeface="ＭＳ Ｐゴシック" charset="0"/>
                  </a:endParaRPr>
                </a:p>
              </p:txBody>
            </p:sp>
          </p:grpSp>
        </p:grpSp>
      </p:grpSp>
    </p:spTree>
    <p:extLst>
      <p:ext uri="{BB962C8B-B14F-4D97-AF65-F5344CB8AC3E}">
        <p14:creationId xmlns:p14="http://schemas.microsoft.com/office/powerpoint/2010/main" val="744022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descr="TalosLogo_dropshadow_ps.png">
            <a:extLst>
              <a:ext uri="{FF2B5EF4-FFF2-40B4-BE49-F238E27FC236}">
                <a16:creationId xmlns:a16="http://schemas.microsoft.com/office/drawing/2014/main" id="{83B1E456-213B-314D-BF75-69CC457856C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73009" y="329139"/>
            <a:ext cx="2867053" cy="955685"/>
          </a:xfrm>
          <a:prstGeom prst="rect">
            <a:avLst/>
          </a:prstGeom>
        </p:spPr>
      </p:pic>
      <p:pic>
        <p:nvPicPr>
          <p:cNvPr id="21" name="Picture 2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37536" y="401057"/>
            <a:ext cx="5336184" cy="855975"/>
          </a:xfrm>
          <a:prstGeom prst="rect">
            <a:avLst/>
          </a:prstGeom>
        </p:spPr>
      </p:pic>
      <p:sp>
        <p:nvSpPr>
          <p:cNvPr id="65" name="Rectangle 64"/>
          <p:cNvSpPr/>
          <p:nvPr/>
        </p:nvSpPr>
        <p:spPr>
          <a:xfrm>
            <a:off x="4833707" y="4552531"/>
            <a:ext cx="4978663" cy="246221"/>
          </a:xfrm>
          <a:prstGeom prst="rect">
            <a:avLst/>
          </a:prstGeom>
        </p:spPr>
        <p:txBody>
          <a:bodyPr wrap="square">
            <a:spAutoFit/>
          </a:bodyPr>
          <a:lstStyle/>
          <a:p>
            <a:r>
              <a:rPr lang="en-US" sz="1000" dirty="0">
                <a:latin typeface="CiscoSansJPN" pitchFamily="2" charset="-128"/>
                <a:ea typeface="CiscoSansJPN" pitchFamily="2" charset="-128"/>
                <a:cs typeface="CiscoSansJPN" pitchFamily="2" charset="-128"/>
              </a:rPr>
              <a:t>Source: AMP Cloud and http://</a:t>
            </a:r>
            <a:r>
              <a:rPr lang="en-US" sz="1000" dirty="0" err="1">
                <a:latin typeface="CiscoSansJPN" pitchFamily="2" charset="-128"/>
                <a:ea typeface="CiscoSansJPN" pitchFamily="2" charset="-128"/>
                <a:cs typeface="CiscoSansJPN" pitchFamily="2" charset="-128"/>
              </a:rPr>
              <a:t>www.internetlivestats.com</a:t>
            </a:r>
            <a:endParaRPr lang="en-US" sz="1000" dirty="0">
              <a:latin typeface="CiscoSansJPN" pitchFamily="2" charset="-128"/>
              <a:ea typeface="CiscoSansJPN" pitchFamily="2" charset="-128"/>
              <a:cs typeface="CiscoSansJPN" pitchFamily="2" charset="-128"/>
            </a:endParaRPr>
          </a:p>
        </p:txBody>
      </p:sp>
      <p:graphicFrame>
        <p:nvGraphicFramePr>
          <p:cNvPr id="66" name="Chart 65"/>
          <p:cNvGraphicFramePr>
            <a:graphicFrameLocks/>
          </p:cNvGraphicFramePr>
          <p:nvPr>
            <p:extLst>
              <p:ext uri="{D42A27DB-BD31-4B8C-83A1-F6EECF244321}">
                <p14:modId xmlns:p14="http://schemas.microsoft.com/office/powerpoint/2010/main" val="2571265508"/>
              </p:ext>
            </p:extLst>
          </p:nvPr>
        </p:nvGraphicFramePr>
        <p:xfrm>
          <a:off x="4402404" y="1284824"/>
          <a:ext cx="4371730" cy="3267707"/>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Box 1"/>
          <p:cNvSpPr txBox="1"/>
          <p:nvPr/>
        </p:nvSpPr>
        <p:spPr>
          <a:xfrm>
            <a:off x="4517522" y="1062047"/>
            <a:ext cx="4477508" cy="276999"/>
          </a:xfrm>
          <a:prstGeom prst="rect">
            <a:avLst/>
          </a:prstGeom>
          <a:noFill/>
        </p:spPr>
        <p:txBody>
          <a:bodyPr wrap="none" rtlCol="0">
            <a:spAutoFit/>
          </a:bodyPr>
          <a:lstStyle/>
          <a:p>
            <a:r>
              <a:rPr lang="ja-JP" altLang="en-US" sz="1200" b="1">
                <a:latin typeface="CiscoSansJPN" pitchFamily="2" charset="-128"/>
                <a:ea typeface="CiscoSansJPN" pitchFamily="2" charset="-128"/>
                <a:cs typeface="CiscoSansJPN" pitchFamily="2" charset="-128"/>
              </a:rPr>
              <a:t>ハッシュのクラウドルックアップ</a:t>
            </a:r>
            <a:r>
              <a:rPr lang="en-US" sz="1200" b="1" dirty="0">
                <a:latin typeface="CiscoSansJPN" pitchFamily="2" charset="-128"/>
                <a:ea typeface="CiscoSansJPN" pitchFamily="2" charset="-128"/>
                <a:cs typeface="CiscoSansJPN" pitchFamily="2" charset="-128"/>
              </a:rPr>
              <a:t>: </a:t>
            </a:r>
            <a:r>
              <a:rPr lang="en-US" altLang="ja-JP" sz="1200" b="1" dirty="0">
                <a:latin typeface="CiscoSansJPN" pitchFamily="2" charset="-128"/>
                <a:ea typeface="CiscoSansJPN" pitchFamily="2" charset="-128"/>
                <a:cs typeface="CiscoSansJPN" pitchFamily="2" charset="-128"/>
              </a:rPr>
              <a:t>2018</a:t>
            </a:r>
            <a:r>
              <a:rPr lang="ja-JP" altLang="en-US" sz="1200" b="1">
                <a:latin typeface="CiscoSansJPN" pitchFamily="2" charset="-128"/>
                <a:ea typeface="CiscoSansJPN" pitchFamily="2" charset="-128"/>
                <a:cs typeface="CiscoSansJPN" pitchFamily="2" charset="-128"/>
              </a:rPr>
              <a:t>年 ピーク時</a:t>
            </a:r>
            <a:r>
              <a:rPr lang="en-US" sz="1200" b="1" dirty="0">
                <a:latin typeface="CiscoSansJPN" pitchFamily="2" charset="-128"/>
                <a:ea typeface="CiscoSansJPN" pitchFamily="2" charset="-128"/>
                <a:cs typeface="CiscoSansJPN" pitchFamily="2" charset="-128"/>
              </a:rPr>
              <a:t>23</a:t>
            </a:r>
            <a:r>
              <a:rPr lang="ja-JP" altLang="en-US" sz="1200" b="1">
                <a:latin typeface="CiscoSansJPN" pitchFamily="2" charset="-128"/>
                <a:ea typeface="CiscoSansJPN" pitchFamily="2" charset="-128"/>
                <a:cs typeface="CiscoSansJPN" pitchFamily="2" charset="-128"/>
              </a:rPr>
              <a:t>万</a:t>
            </a:r>
            <a:r>
              <a:rPr lang="en-US" sz="1200" b="1" dirty="0">
                <a:latin typeface="CiscoSansJPN" pitchFamily="2" charset="-128"/>
                <a:ea typeface="CiscoSansJPN" pitchFamily="2" charset="-128"/>
                <a:cs typeface="CiscoSansJPN" pitchFamily="2" charset="-128"/>
              </a:rPr>
              <a:t> QPS</a:t>
            </a:r>
          </a:p>
        </p:txBody>
      </p:sp>
      <p:graphicFrame>
        <p:nvGraphicFramePr>
          <p:cNvPr id="67" name="Chart 66"/>
          <p:cNvGraphicFramePr>
            <a:graphicFrameLocks/>
          </p:cNvGraphicFramePr>
          <p:nvPr>
            <p:extLst>
              <p:ext uri="{D42A27DB-BD31-4B8C-83A1-F6EECF244321}">
                <p14:modId xmlns:p14="http://schemas.microsoft.com/office/powerpoint/2010/main" val="2552730627"/>
              </p:ext>
            </p:extLst>
          </p:nvPr>
        </p:nvGraphicFramePr>
        <p:xfrm>
          <a:off x="359599" y="1594139"/>
          <a:ext cx="3952447" cy="3320055"/>
        </p:xfrm>
        <a:graphic>
          <a:graphicData uri="http://schemas.openxmlformats.org/drawingml/2006/chart">
            <c:chart xmlns:c="http://schemas.openxmlformats.org/drawingml/2006/chart" xmlns:r="http://schemas.openxmlformats.org/officeDocument/2006/relationships" r:id="rId6"/>
          </a:graphicData>
        </a:graphic>
      </p:graphicFrame>
      <p:sp>
        <p:nvSpPr>
          <p:cNvPr id="68" name="TextBox 67"/>
          <p:cNvSpPr txBox="1"/>
          <p:nvPr/>
        </p:nvSpPr>
        <p:spPr>
          <a:xfrm>
            <a:off x="411788" y="1104516"/>
            <a:ext cx="3425748" cy="461665"/>
          </a:xfrm>
          <a:prstGeom prst="rect">
            <a:avLst/>
          </a:prstGeom>
          <a:noFill/>
        </p:spPr>
        <p:txBody>
          <a:bodyPr wrap="square" rtlCol="0">
            <a:spAutoFit/>
          </a:bodyPr>
          <a:lstStyle/>
          <a:p>
            <a:r>
              <a:rPr kumimoji="1" lang="en-US" altLang="ja-JP" sz="1200" dirty="0">
                <a:latin typeface="CiscoSansJPN" pitchFamily="2" charset="-128"/>
                <a:ea typeface="CiscoSansJPN" pitchFamily="2" charset="-128"/>
                <a:cs typeface="CiscoSansJPN" pitchFamily="2" charset="-128"/>
              </a:rPr>
              <a:t>Talos</a:t>
            </a:r>
            <a:r>
              <a:rPr kumimoji="1" lang="ja-JP" altLang="en-US" sz="1200">
                <a:latin typeface="CiscoSansJPN" pitchFamily="2" charset="-128"/>
                <a:ea typeface="CiscoSansJPN" pitchFamily="2" charset="-128"/>
                <a:cs typeface="CiscoSansJPN" pitchFamily="2" charset="-128"/>
              </a:rPr>
              <a:t>によって発見された</a:t>
            </a:r>
            <a:r>
              <a:rPr kumimoji="1" lang="en-US" altLang="ja-JP" sz="1200" dirty="0">
                <a:latin typeface="CiscoSansJPN" pitchFamily="2" charset="-128"/>
                <a:ea typeface="CiscoSansJPN" pitchFamily="2" charset="-128"/>
                <a:cs typeface="CiscoSansJPN" pitchFamily="2" charset="-128"/>
              </a:rPr>
              <a:t>34</a:t>
            </a:r>
            <a:r>
              <a:rPr kumimoji="1" lang="ja-JP" altLang="en-US" sz="1200">
                <a:latin typeface="CiscoSansJPN" pitchFamily="2" charset="-128"/>
                <a:ea typeface="CiscoSansJPN" pitchFamily="2" charset="-128"/>
                <a:cs typeface="CiscoSansJPN" pitchFamily="2" charset="-128"/>
              </a:rPr>
              <a:t>％以上のファイルは</a:t>
            </a:r>
            <a:r>
              <a:rPr kumimoji="1" lang="en-US" altLang="ja-JP" sz="1200" dirty="0">
                <a:latin typeface="CiscoSansJPN" pitchFamily="2" charset="-128"/>
                <a:ea typeface="CiscoSansJPN" pitchFamily="2" charset="-128"/>
                <a:cs typeface="CiscoSansJPN" pitchFamily="2" charset="-128"/>
              </a:rPr>
              <a:t>Virus</a:t>
            </a:r>
            <a:r>
              <a:rPr kumimoji="1" lang="ja-JP" altLang="en-US" sz="1200">
                <a:latin typeface="CiscoSansJPN" pitchFamily="2" charset="-128"/>
                <a:ea typeface="CiscoSansJPN" pitchFamily="2" charset="-128"/>
                <a:cs typeface="CiscoSansJPN" pitchFamily="2" charset="-128"/>
              </a:rPr>
              <a:t> </a:t>
            </a:r>
            <a:r>
              <a:rPr kumimoji="1" lang="en-US" altLang="ja-JP" sz="1200" dirty="0">
                <a:latin typeface="CiscoSansJPN" pitchFamily="2" charset="-128"/>
                <a:ea typeface="CiscoSansJPN" pitchFamily="2" charset="-128"/>
                <a:cs typeface="CiscoSansJPN" pitchFamily="2" charset="-128"/>
              </a:rPr>
              <a:t>Total</a:t>
            </a:r>
            <a:r>
              <a:rPr kumimoji="1" lang="ja-JP" altLang="en-US" sz="1200">
                <a:latin typeface="CiscoSansJPN" pitchFamily="2" charset="-128"/>
                <a:ea typeface="CiscoSansJPN" pitchFamily="2" charset="-128"/>
                <a:cs typeface="CiscoSansJPN" pitchFamily="2" charset="-128"/>
              </a:rPr>
              <a:t>にはその時点では存在しなかった</a:t>
            </a:r>
            <a:endParaRPr kumimoji="1" lang="zh-CN" altLang="en-US" sz="1200" dirty="0">
              <a:latin typeface="CiscoSansJPN" pitchFamily="2" charset="-128"/>
              <a:ea typeface="CiscoSansJPN" pitchFamily="2" charset="-128"/>
              <a:cs typeface="CiscoSansJPN" pitchFamily="2" charset="-128"/>
            </a:endParaRPr>
          </a:p>
        </p:txBody>
      </p:sp>
      <p:sp>
        <p:nvSpPr>
          <p:cNvPr id="3" name="円/楕円 2">
            <a:extLst>
              <a:ext uri="{FF2B5EF4-FFF2-40B4-BE49-F238E27FC236}">
                <a16:creationId xmlns:a16="http://schemas.microsoft.com/office/drawing/2014/main" id="{5AD94945-1E73-914E-9DF4-0742AEBA9562}"/>
              </a:ext>
            </a:extLst>
          </p:cNvPr>
          <p:cNvSpPr/>
          <p:nvPr/>
        </p:nvSpPr>
        <p:spPr>
          <a:xfrm>
            <a:off x="6413012" y="2068388"/>
            <a:ext cx="2316627" cy="47492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1200" dirty="0">
                <a:latin typeface="CiscoSansJPN" pitchFamily="2" charset="-128"/>
                <a:ea typeface="CiscoSansJPN" pitchFamily="2" charset="-128"/>
                <a:cs typeface="CiscoSansJPN" pitchFamily="2" charset="-128"/>
              </a:rPr>
              <a:t>2018</a:t>
            </a:r>
            <a:r>
              <a:rPr kumimoji="1" lang="ja-JP" altLang="en-US" sz="1200">
                <a:latin typeface="CiscoSansJPN" pitchFamily="2" charset="-128"/>
                <a:ea typeface="CiscoSansJPN" pitchFamily="2" charset="-128"/>
                <a:cs typeface="CiscoSansJPN" pitchFamily="2" charset="-128"/>
              </a:rPr>
              <a:t>年</a:t>
            </a:r>
            <a:r>
              <a:rPr kumimoji="1" lang="en-US" altLang="ja-JP" sz="1200" dirty="0">
                <a:latin typeface="CiscoSansJPN" pitchFamily="2" charset="-128"/>
                <a:ea typeface="CiscoSansJPN" pitchFamily="2" charset="-128"/>
                <a:cs typeface="CiscoSansJPN" pitchFamily="2" charset="-128"/>
              </a:rPr>
              <a:t>9</a:t>
            </a:r>
            <a:r>
              <a:rPr kumimoji="1" lang="ja-JP" altLang="en-US" sz="1200">
                <a:latin typeface="CiscoSansJPN" pitchFamily="2" charset="-128"/>
                <a:ea typeface="CiscoSansJPN" pitchFamily="2" charset="-128"/>
                <a:cs typeface="CiscoSansJPN" pitchFamily="2" charset="-128"/>
              </a:rPr>
              <a:t>月</a:t>
            </a:r>
            <a:r>
              <a:rPr kumimoji="1" lang="en-US" altLang="ja-JP" sz="1200" dirty="0">
                <a:latin typeface="CiscoSansJPN" pitchFamily="2" charset="-128"/>
                <a:ea typeface="CiscoSansJPN" pitchFamily="2" charset="-128"/>
                <a:cs typeface="CiscoSansJPN" pitchFamily="2" charset="-128"/>
              </a:rPr>
              <a:t>14</a:t>
            </a:r>
            <a:r>
              <a:rPr kumimoji="1" lang="ja-JP" altLang="en-US" sz="1200">
                <a:latin typeface="CiscoSansJPN" pitchFamily="2" charset="-128"/>
                <a:ea typeface="CiscoSansJPN" pitchFamily="2" charset="-128"/>
                <a:cs typeface="CiscoSansJPN" pitchFamily="2" charset="-128"/>
              </a:rPr>
              <a:t>日</a:t>
            </a:r>
            <a:endParaRPr kumimoji="1" lang="en-US" altLang="ja-JP" sz="1200" dirty="0">
              <a:latin typeface="CiscoSansJPN" pitchFamily="2" charset="-128"/>
              <a:ea typeface="CiscoSansJPN" pitchFamily="2" charset="-128"/>
              <a:cs typeface="CiscoSansJPN" pitchFamily="2" charset="-128"/>
            </a:endParaRPr>
          </a:p>
          <a:p>
            <a:pPr algn="ctr"/>
            <a:r>
              <a:rPr kumimoji="1" lang="ja-JP" altLang="en-US" sz="1200">
                <a:latin typeface="CiscoSansJPN" pitchFamily="2" charset="-128"/>
                <a:ea typeface="CiscoSansJPN" pitchFamily="2" charset="-128"/>
                <a:cs typeface="CiscoSansJPN" pitchFamily="2" charset="-128"/>
              </a:rPr>
              <a:t>の参考値</a:t>
            </a:r>
            <a:endParaRPr kumimoji="1" lang="ja-JP" altLang="en-US" sz="1200" dirty="0">
              <a:latin typeface="CiscoSansJPN" pitchFamily="2" charset="-128"/>
              <a:ea typeface="CiscoSansJPN" pitchFamily="2" charset="-128"/>
              <a:cs typeface="CiscoSansJPN" pitchFamily="2" charset="-128"/>
            </a:endParaRPr>
          </a:p>
        </p:txBody>
      </p:sp>
    </p:spTree>
    <p:extLst>
      <p:ext uri="{BB962C8B-B14F-4D97-AF65-F5344CB8AC3E}">
        <p14:creationId xmlns:p14="http://schemas.microsoft.com/office/powerpoint/2010/main" val="721354630"/>
      </p:ext>
    </p:extLst>
  </p:cSld>
  <p:clrMapOvr>
    <a:masterClrMapping/>
  </p:clrMapOvr>
  <p:transition spd="med">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US" dirty="0" err="1">
                <a:latin typeface="CiscoSansJPN" pitchFamily="2" charset="-128"/>
                <a:ea typeface="CiscoSansJPN" pitchFamily="2" charset="-128"/>
                <a:cs typeface="CiscoSansJPN" pitchFamily="2" charset="-128"/>
              </a:rPr>
              <a:t>Miercom</a:t>
            </a:r>
            <a:r>
              <a:rPr lang="en-US" dirty="0">
                <a:latin typeface="CiscoSansJPN" pitchFamily="2" charset="-128"/>
                <a:ea typeface="CiscoSansJPN" pitchFamily="2" charset="-128"/>
                <a:cs typeface="CiscoSansJPN" pitchFamily="2" charset="-128"/>
              </a:rPr>
              <a:t> </a:t>
            </a:r>
            <a:r>
              <a:rPr lang="ja-JP" altLang="en-US">
                <a:latin typeface="CiscoSansJPN" pitchFamily="2" charset="-128"/>
                <a:ea typeface="CiscoSansJPN" pitchFamily="2" charset="-128"/>
                <a:cs typeface="CiscoSansJPN" pitchFamily="2" charset="-128"/>
              </a:rPr>
              <a:t>パフォーマンス認定</a:t>
            </a:r>
            <a:endParaRPr lang="en-US" dirty="0">
              <a:latin typeface="CiscoSansJPN" pitchFamily="2" charset="-128"/>
              <a:ea typeface="CiscoSansJPN" pitchFamily="2" charset="-128"/>
              <a:cs typeface="CiscoSansJPN" pitchFamily="2" charset="-128"/>
            </a:endParaRPr>
          </a:p>
        </p:txBody>
      </p:sp>
      <p:pic>
        <p:nvPicPr>
          <p:cNvPr id="5" name="Picture 4"/>
          <p:cNvPicPr/>
          <p:nvPr/>
        </p:nvPicPr>
        <p:blipFill>
          <a:blip r:embed="rId3">
            <a:extLst>
              <a:ext uri="{28A0092B-C50C-407E-A947-70E740481C1C}">
                <a14:useLocalDpi xmlns:a14="http://schemas.microsoft.com/office/drawing/2010/main" val="0"/>
              </a:ext>
            </a:extLst>
          </a:blip>
          <a:stretch>
            <a:fillRect/>
          </a:stretch>
        </p:blipFill>
        <p:spPr>
          <a:xfrm>
            <a:off x="470535" y="950785"/>
            <a:ext cx="3840480" cy="1221105"/>
          </a:xfrm>
          <a:prstGeom prst="rect">
            <a:avLst/>
          </a:prstGeom>
        </p:spPr>
      </p:pic>
      <p:sp>
        <p:nvSpPr>
          <p:cNvPr id="7" name="AutoShape 4" descr="mage result for miercom performance verified certification"/>
          <p:cNvSpPr>
            <a:spLocks noChangeAspect="1" noChangeArrowheads="1"/>
          </p:cNvSpPr>
          <p:nvPr/>
        </p:nvSpPr>
        <p:spPr bwMode="auto">
          <a:xfrm>
            <a:off x="0" y="0"/>
            <a:ext cx="4781550" cy="366712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latin typeface="CiscoSansJPN" pitchFamily="2" charset="-128"/>
              <a:ea typeface="CiscoSansJPN" pitchFamily="2" charset="-128"/>
              <a:cs typeface="CiscoSansJPN" pitchFamily="2" charset="-128"/>
            </a:endParaRPr>
          </a:p>
        </p:txBody>
      </p:sp>
      <p:pic>
        <p:nvPicPr>
          <p:cNvPr id="7174" name="Picture 6" descr="mage result for miercom performance verified certification"/>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36607" y="845573"/>
            <a:ext cx="4058527" cy="3112615"/>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470535" y="2125994"/>
            <a:ext cx="6599692" cy="2369880"/>
          </a:xfrm>
          <a:prstGeom prst="rect">
            <a:avLst/>
          </a:prstGeom>
          <a:noFill/>
        </p:spPr>
        <p:txBody>
          <a:bodyPr wrap="none" rtlCol="0">
            <a:spAutoFit/>
          </a:bodyPr>
          <a:lstStyle/>
          <a:p>
            <a:r>
              <a:rPr lang="en-US" sz="1600" dirty="0">
                <a:latin typeface="CiscoSansJPN" pitchFamily="2" charset="-128"/>
                <a:ea typeface="CiscoSansJPN" pitchFamily="2" charset="-128"/>
                <a:cs typeface="CiscoSansJPN" pitchFamily="2" charset="-128"/>
              </a:rPr>
              <a:t>Phase1: </a:t>
            </a:r>
            <a:r>
              <a:rPr lang="ja-JP" altLang="en-US" sz="1600">
                <a:latin typeface="CiscoSansJPN" pitchFamily="2" charset="-128"/>
                <a:ea typeface="CiscoSansJPN" pitchFamily="2" charset="-128"/>
                <a:cs typeface="CiscoSansJPN" pitchFamily="2" charset="-128"/>
              </a:rPr>
              <a:t>イニシャルマルウェアダウンロード</a:t>
            </a:r>
            <a:endParaRPr lang="en-US" sz="1600" dirty="0">
              <a:latin typeface="CiscoSansJPN" pitchFamily="2" charset="-128"/>
              <a:ea typeface="CiscoSansJPN" pitchFamily="2" charset="-128"/>
              <a:cs typeface="CiscoSansJPN" pitchFamily="2" charset="-128"/>
            </a:endParaRPr>
          </a:p>
          <a:p>
            <a:r>
              <a:rPr lang="en-US" sz="1600" dirty="0">
                <a:latin typeface="CiscoSansJPN" pitchFamily="2" charset="-128"/>
                <a:ea typeface="CiscoSansJPN" pitchFamily="2" charset="-128"/>
                <a:cs typeface="CiscoSansJPN" pitchFamily="2" charset="-128"/>
              </a:rPr>
              <a:t>Phase2: </a:t>
            </a:r>
            <a:r>
              <a:rPr lang="ja-JP" altLang="en-US" sz="1600">
                <a:latin typeface="CiscoSansJPN" pitchFamily="2" charset="-128"/>
                <a:ea typeface="CiscoSansJPN" pitchFamily="2" charset="-128"/>
                <a:cs typeface="CiscoSansJPN" pitchFamily="2" charset="-128"/>
              </a:rPr>
              <a:t>マルウェアの実行</a:t>
            </a:r>
            <a:endParaRPr lang="en-US" sz="1600" dirty="0">
              <a:latin typeface="CiscoSansJPN" pitchFamily="2" charset="-128"/>
              <a:ea typeface="CiscoSansJPN" pitchFamily="2" charset="-128"/>
              <a:cs typeface="CiscoSansJPN" pitchFamily="2" charset="-128"/>
            </a:endParaRPr>
          </a:p>
          <a:p>
            <a:r>
              <a:rPr lang="en-US" sz="1600" dirty="0">
                <a:latin typeface="CiscoSansJPN" pitchFamily="2" charset="-128"/>
                <a:ea typeface="CiscoSansJPN" pitchFamily="2" charset="-128"/>
                <a:cs typeface="CiscoSansJPN" pitchFamily="2" charset="-128"/>
              </a:rPr>
              <a:t>Phase3: </a:t>
            </a:r>
            <a:r>
              <a:rPr lang="ja-JP" altLang="en-US" sz="1600">
                <a:latin typeface="CiscoSansJPN" pitchFamily="2" charset="-128"/>
                <a:ea typeface="CiscoSansJPN" pitchFamily="2" charset="-128"/>
                <a:cs typeface="CiscoSansJPN" pitchFamily="2" charset="-128"/>
              </a:rPr>
              <a:t>ランサムウェア拡散</a:t>
            </a:r>
            <a:endParaRPr lang="en-US" sz="1600" dirty="0">
              <a:latin typeface="CiscoSansJPN" pitchFamily="2" charset="-128"/>
              <a:ea typeface="CiscoSansJPN" pitchFamily="2" charset="-128"/>
              <a:cs typeface="CiscoSansJPN" pitchFamily="2" charset="-128"/>
            </a:endParaRPr>
          </a:p>
          <a:p>
            <a:r>
              <a:rPr lang="en-US" sz="1600" dirty="0">
                <a:latin typeface="CiscoSansJPN" pitchFamily="2" charset="-128"/>
                <a:ea typeface="CiscoSansJPN" pitchFamily="2" charset="-128"/>
                <a:cs typeface="CiscoSansJPN" pitchFamily="2" charset="-128"/>
              </a:rPr>
              <a:t>Phase4: </a:t>
            </a:r>
            <a:r>
              <a:rPr lang="ja-JP" altLang="en-US" sz="1600">
                <a:latin typeface="CiscoSansJPN" pitchFamily="2" charset="-128"/>
                <a:ea typeface="CiscoSansJPN" pitchFamily="2" charset="-128"/>
                <a:cs typeface="CiscoSansJPN" pitchFamily="2" charset="-128"/>
              </a:rPr>
              <a:t>ファイルの暗号化</a:t>
            </a:r>
            <a:endParaRPr lang="en-US" sz="1600" dirty="0">
              <a:latin typeface="CiscoSansJPN" pitchFamily="2" charset="-128"/>
              <a:ea typeface="CiscoSansJPN" pitchFamily="2" charset="-128"/>
              <a:cs typeface="CiscoSansJPN" pitchFamily="2" charset="-128"/>
            </a:endParaRPr>
          </a:p>
          <a:p>
            <a:endParaRPr lang="en-US" dirty="0">
              <a:latin typeface="CiscoSansJPN" pitchFamily="2" charset="-128"/>
              <a:ea typeface="CiscoSansJPN" pitchFamily="2" charset="-128"/>
              <a:cs typeface="CiscoSansJPN" pitchFamily="2" charset="-128"/>
            </a:endParaRPr>
          </a:p>
          <a:p>
            <a:endParaRPr lang="en-US" dirty="0">
              <a:latin typeface="CiscoSansJPN" pitchFamily="2" charset="-128"/>
              <a:ea typeface="CiscoSansJPN" pitchFamily="2" charset="-128"/>
              <a:cs typeface="CiscoSansJPN" pitchFamily="2" charset="-128"/>
            </a:endParaRPr>
          </a:p>
          <a:p>
            <a:endParaRPr lang="en-US" dirty="0">
              <a:latin typeface="CiscoSansJPN" pitchFamily="2" charset="-128"/>
              <a:ea typeface="CiscoSansJPN" pitchFamily="2" charset="-128"/>
              <a:cs typeface="CiscoSansJPN" pitchFamily="2" charset="-128"/>
            </a:endParaRPr>
          </a:p>
          <a:p>
            <a:endParaRPr lang="en-US" dirty="0">
              <a:latin typeface="CiscoSansJPN" pitchFamily="2" charset="-128"/>
              <a:ea typeface="CiscoSansJPN" pitchFamily="2" charset="-128"/>
              <a:cs typeface="CiscoSansJPN" pitchFamily="2" charset="-128"/>
            </a:endParaRPr>
          </a:p>
          <a:p>
            <a:r>
              <a:rPr lang="en-US" sz="1200" dirty="0">
                <a:latin typeface="CiscoSansJPN" pitchFamily="2" charset="-128"/>
                <a:ea typeface="CiscoSansJPN" pitchFamily="2" charset="-128"/>
                <a:cs typeface="CiscoSansJPN" pitchFamily="2" charset="-128"/>
              </a:rPr>
              <a:t>https://</a:t>
            </a:r>
            <a:r>
              <a:rPr lang="en-US" sz="1200" dirty="0" err="1">
                <a:latin typeface="CiscoSansJPN" pitchFamily="2" charset="-128"/>
                <a:ea typeface="CiscoSansJPN" pitchFamily="2" charset="-128"/>
                <a:cs typeface="CiscoSansJPN" pitchFamily="2" charset="-128"/>
              </a:rPr>
              <a:t>blogs.cisco.com</a:t>
            </a:r>
            <a:r>
              <a:rPr lang="en-US" sz="1200" dirty="0">
                <a:latin typeface="CiscoSansJPN" pitchFamily="2" charset="-128"/>
                <a:ea typeface="CiscoSansJPN" pitchFamily="2" charset="-128"/>
                <a:cs typeface="CiscoSansJPN" pitchFamily="2" charset="-128"/>
              </a:rPr>
              <a:t>/security/status-verified-cisco-amp-for-endpoints-hits-the-mark</a:t>
            </a:r>
          </a:p>
        </p:txBody>
      </p:sp>
      <p:pic>
        <p:nvPicPr>
          <p:cNvPr id="2" name="Picture 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0535" y="3310779"/>
            <a:ext cx="3945587" cy="975417"/>
          </a:xfrm>
          <a:prstGeom prst="rect">
            <a:avLst/>
          </a:prstGeom>
        </p:spPr>
      </p:pic>
    </p:spTree>
    <p:extLst>
      <p:ext uri="{BB962C8B-B14F-4D97-AF65-F5344CB8AC3E}">
        <p14:creationId xmlns:p14="http://schemas.microsoft.com/office/powerpoint/2010/main" val="14097822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55" presetClass="entr" presetSubtype="0" fill="hold" nodeType="afterEffect">
                                  <p:stCondLst>
                                    <p:cond delay="0"/>
                                  </p:stCondLst>
                                  <p:childTnLst>
                                    <p:set>
                                      <p:cBhvr>
                                        <p:cTn id="10" dur="1" fill="hold">
                                          <p:stCondLst>
                                            <p:cond delay="0"/>
                                          </p:stCondLst>
                                        </p:cTn>
                                        <p:tgtEl>
                                          <p:spTgt spid="7174"/>
                                        </p:tgtEl>
                                        <p:attrNameLst>
                                          <p:attrName>style.visibility</p:attrName>
                                        </p:attrNameLst>
                                      </p:cBhvr>
                                      <p:to>
                                        <p:strVal val="visible"/>
                                      </p:to>
                                    </p:set>
                                    <p:anim calcmode="lin" valueType="num">
                                      <p:cBhvr>
                                        <p:cTn id="11" dur="1000" fill="hold"/>
                                        <p:tgtEl>
                                          <p:spTgt spid="7174"/>
                                        </p:tgtEl>
                                        <p:attrNameLst>
                                          <p:attrName>ppt_w</p:attrName>
                                        </p:attrNameLst>
                                      </p:cBhvr>
                                      <p:tavLst>
                                        <p:tav tm="0">
                                          <p:val>
                                            <p:strVal val="#ppt_w*0.70"/>
                                          </p:val>
                                        </p:tav>
                                        <p:tav tm="100000">
                                          <p:val>
                                            <p:strVal val="#ppt_w"/>
                                          </p:val>
                                        </p:tav>
                                      </p:tavLst>
                                    </p:anim>
                                    <p:anim calcmode="lin" valueType="num">
                                      <p:cBhvr>
                                        <p:cTn id="12" dur="1000" fill="hold"/>
                                        <p:tgtEl>
                                          <p:spTgt spid="7174"/>
                                        </p:tgtEl>
                                        <p:attrNameLst>
                                          <p:attrName>ppt_h</p:attrName>
                                        </p:attrNameLst>
                                      </p:cBhvr>
                                      <p:tavLst>
                                        <p:tav tm="0">
                                          <p:val>
                                            <p:strVal val="#ppt_h"/>
                                          </p:val>
                                        </p:tav>
                                        <p:tav tm="100000">
                                          <p:val>
                                            <p:strVal val="#ppt_h"/>
                                          </p:val>
                                        </p:tav>
                                      </p:tavLst>
                                    </p:anim>
                                    <p:animEffect transition="in" filter="fade">
                                      <p:cBhvr>
                                        <p:cTn id="13" dur="1000"/>
                                        <p:tgtEl>
                                          <p:spTgt spid="71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9AFDD0F-479A-F840-A476-84EE4BB862E1}"/>
              </a:ext>
            </a:extLst>
          </p:cNvPr>
          <p:cNvSpPr>
            <a:spLocks noGrp="1"/>
          </p:cNvSpPr>
          <p:nvPr>
            <p:ph type="title"/>
          </p:nvPr>
        </p:nvSpPr>
        <p:spPr/>
        <p:txBody>
          <a:bodyPr/>
          <a:lstStyle/>
          <a:p>
            <a:r>
              <a:rPr lang="ja-JP" altLang="en-US">
                <a:latin typeface="CiscoSansJPN" pitchFamily="2" charset="-128"/>
                <a:ea typeface="CiscoSansJPN" pitchFamily="2" charset="-128"/>
                <a:cs typeface="CiscoSansJPN" pitchFamily="2" charset="-128"/>
              </a:rPr>
              <a:t>お客様の声</a:t>
            </a:r>
            <a:endParaRPr lang="en-US" dirty="0">
              <a:latin typeface="CiscoSansJPN" pitchFamily="2" charset="-128"/>
              <a:ea typeface="CiscoSansJPN" pitchFamily="2" charset="-128"/>
              <a:cs typeface="CiscoSansJPN" pitchFamily="2" charset="-128"/>
            </a:endParaRPr>
          </a:p>
        </p:txBody>
      </p:sp>
      <p:sp>
        <p:nvSpPr>
          <p:cNvPr id="6" name="TextBox 5">
            <a:extLst>
              <a:ext uri="{FF2B5EF4-FFF2-40B4-BE49-F238E27FC236}">
                <a16:creationId xmlns:a16="http://schemas.microsoft.com/office/drawing/2014/main" id="{10DE8F36-EB1A-C346-8955-2DD394307E30}"/>
              </a:ext>
            </a:extLst>
          </p:cNvPr>
          <p:cNvSpPr txBox="1"/>
          <p:nvPr/>
        </p:nvSpPr>
        <p:spPr>
          <a:xfrm>
            <a:off x="366758" y="1374200"/>
            <a:ext cx="7421656" cy="562630"/>
          </a:xfrm>
          <a:prstGeom prst="roundRect">
            <a:avLst>
              <a:gd name="adj" fmla="val 50000"/>
            </a:avLst>
          </a:prstGeom>
          <a:solidFill>
            <a:schemeClr val="tx2"/>
          </a:solidFill>
        </p:spPr>
        <p:txBody>
          <a:bodyPr wrap="square" rtlCol="0">
            <a:spAutoFit/>
          </a:bodyPr>
          <a:lstStyle/>
          <a:p>
            <a:pPr marL="444489" defTabSz="457189"/>
            <a:r>
              <a:rPr lang="en-US" sz="2000" dirty="0">
                <a:solidFill>
                  <a:srgbClr val="FFFFFF"/>
                </a:solidFill>
                <a:latin typeface="CiscoSansJPN" pitchFamily="2" charset="-128"/>
                <a:ea typeface="CiscoSansJPN" pitchFamily="2" charset="-128"/>
                <a:cs typeface="CiscoSansJPN" pitchFamily="2" charset="-128"/>
              </a:rPr>
              <a:t>AMP4E</a:t>
            </a:r>
            <a:r>
              <a:rPr lang="ja-JP" altLang="en-US" sz="2000">
                <a:solidFill>
                  <a:srgbClr val="FFFFFF"/>
                </a:solidFill>
                <a:latin typeface="CiscoSansJPN" pitchFamily="2" charset="-128"/>
                <a:ea typeface="CiscoSansJPN" pitchFamily="2" charset="-128"/>
                <a:cs typeface="CiscoSansJPN" pitchFamily="2" charset="-128"/>
              </a:rPr>
              <a:t>と一緒に他のセキュリティ製品をご利用ですか？</a:t>
            </a:r>
            <a:endParaRPr lang="en-US" sz="2000" dirty="0">
              <a:solidFill>
                <a:srgbClr val="FFFFFF"/>
              </a:solidFill>
              <a:latin typeface="CiscoSansJPN" pitchFamily="2" charset="-128"/>
              <a:ea typeface="CiscoSansJPN" pitchFamily="2" charset="-128"/>
              <a:cs typeface="CiscoSansJPN" pitchFamily="2" charset="-128"/>
            </a:endParaRPr>
          </a:p>
        </p:txBody>
      </p:sp>
      <p:sp>
        <p:nvSpPr>
          <p:cNvPr id="13" name="TextBox 12">
            <a:extLst>
              <a:ext uri="{FF2B5EF4-FFF2-40B4-BE49-F238E27FC236}">
                <a16:creationId xmlns:a16="http://schemas.microsoft.com/office/drawing/2014/main" id="{960E7255-8874-C444-A2CC-76F1DDF4C9E2}"/>
              </a:ext>
            </a:extLst>
          </p:cNvPr>
          <p:cNvSpPr txBox="1"/>
          <p:nvPr/>
        </p:nvSpPr>
        <p:spPr>
          <a:xfrm>
            <a:off x="5943279" y="4666738"/>
            <a:ext cx="2554798" cy="261610"/>
          </a:xfrm>
          <a:prstGeom prst="rect">
            <a:avLst/>
          </a:prstGeom>
          <a:noFill/>
        </p:spPr>
        <p:txBody>
          <a:bodyPr wrap="square" rtlCol="0">
            <a:spAutoFit/>
          </a:bodyPr>
          <a:lstStyle/>
          <a:p>
            <a:pPr defTabSz="457189"/>
            <a:r>
              <a:rPr lang="en-US" sz="1100" dirty="0">
                <a:solidFill>
                  <a:srgbClr val="FFFFFF"/>
                </a:solidFill>
                <a:latin typeface="CiscoSansJPN" pitchFamily="2" charset="-128"/>
                <a:ea typeface="CiscoSansJPN" pitchFamily="2" charset="-128"/>
                <a:cs typeface="CiscoSansJPN" pitchFamily="2" charset="-128"/>
              </a:rPr>
              <a:t>*Source: AMP Q3 Customer Briefing </a:t>
            </a:r>
          </a:p>
        </p:txBody>
      </p:sp>
      <p:grpSp>
        <p:nvGrpSpPr>
          <p:cNvPr id="16" name="Group 15"/>
          <p:cNvGrpSpPr/>
          <p:nvPr/>
        </p:nvGrpSpPr>
        <p:grpSpPr>
          <a:xfrm>
            <a:off x="464056" y="1439515"/>
            <a:ext cx="432000" cy="432000"/>
            <a:chOff x="4714853" y="-999700"/>
            <a:chExt cx="2181600" cy="2181600"/>
          </a:xfrm>
        </p:grpSpPr>
        <p:sp>
          <p:nvSpPr>
            <p:cNvPr id="18" name="Oval 17"/>
            <p:cNvSpPr/>
            <p:nvPr/>
          </p:nvSpPr>
          <p:spPr>
            <a:xfrm>
              <a:off x="4714853" y="-999700"/>
              <a:ext cx="2181600" cy="2181600"/>
            </a:xfrm>
            <a:prstGeom prst="ellipse">
              <a:avLst/>
            </a:prstGeom>
            <a:solidFill>
              <a:schemeClr val="accent1"/>
            </a:solidFill>
            <a:ln>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9"/>
              <a:endParaRPr lang="en-US" sz="1600" dirty="0">
                <a:solidFill>
                  <a:srgbClr val="005073"/>
                </a:solidFill>
                <a:latin typeface="CiscoSansJPN" pitchFamily="2" charset="-128"/>
                <a:ea typeface="CiscoSansJPN" pitchFamily="2" charset="-128"/>
                <a:cs typeface="CiscoSansJPN" pitchFamily="2" charset="-128"/>
              </a:endParaRPr>
            </a:p>
          </p:txBody>
        </p:sp>
        <p:grpSp>
          <p:nvGrpSpPr>
            <p:cNvPr id="20" name="Group 19"/>
            <p:cNvGrpSpPr>
              <a:grpSpLocks noChangeAspect="1"/>
            </p:cNvGrpSpPr>
            <p:nvPr/>
          </p:nvGrpSpPr>
          <p:grpSpPr>
            <a:xfrm>
              <a:off x="5381891" y="-591053"/>
              <a:ext cx="847524" cy="1364306"/>
              <a:chOff x="8085527" y="2367556"/>
              <a:chExt cx="368989" cy="593982"/>
            </a:xfrm>
          </p:grpSpPr>
          <p:sp>
            <p:nvSpPr>
              <p:cNvPr id="21" name="Freeform 530"/>
              <p:cNvSpPr>
                <a:spLocks noChangeAspect="1"/>
              </p:cNvSpPr>
              <p:nvPr/>
            </p:nvSpPr>
            <p:spPr bwMode="auto">
              <a:xfrm>
                <a:off x="8085527" y="2367556"/>
                <a:ext cx="368989" cy="243993"/>
              </a:xfrm>
              <a:custGeom>
                <a:avLst/>
                <a:gdLst>
                  <a:gd name="T0" fmla="*/ 78 w 156"/>
                  <a:gd name="T1" fmla="*/ 0 h 103"/>
                  <a:gd name="T2" fmla="*/ 0 w 156"/>
                  <a:gd name="T3" fmla="*/ 78 h 103"/>
                  <a:gd name="T4" fmla="*/ 25 w 156"/>
                  <a:gd name="T5" fmla="*/ 103 h 103"/>
                  <a:gd name="T6" fmla="*/ 51 w 156"/>
                  <a:gd name="T7" fmla="*/ 78 h 103"/>
                  <a:gd name="T8" fmla="*/ 78 w 156"/>
                  <a:gd name="T9" fmla="*/ 51 h 103"/>
                  <a:gd name="T10" fmla="*/ 105 w 156"/>
                  <a:gd name="T11" fmla="*/ 78 h 103"/>
                  <a:gd name="T12" fmla="*/ 105 w 156"/>
                  <a:gd name="T13" fmla="*/ 78 h 103"/>
                  <a:gd name="T14" fmla="*/ 130 w 156"/>
                  <a:gd name="T15" fmla="*/ 52 h 103"/>
                  <a:gd name="T16" fmla="*/ 156 w 156"/>
                  <a:gd name="T17" fmla="*/ 78 h 103"/>
                  <a:gd name="T18" fmla="*/ 78 w 156"/>
                  <a:gd name="T19" fmla="*/ 0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03">
                    <a:moveTo>
                      <a:pt x="78" y="0"/>
                    </a:moveTo>
                    <a:cubicBezTo>
                      <a:pt x="35" y="0"/>
                      <a:pt x="0" y="35"/>
                      <a:pt x="0" y="78"/>
                    </a:cubicBezTo>
                    <a:cubicBezTo>
                      <a:pt x="0" y="92"/>
                      <a:pt x="11" y="103"/>
                      <a:pt x="25" y="103"/>
                    </a:cubicBezTo>
                    <a:cubicBezTo>
                      <a:pt x="39" y="103"/>
                      <a:pt x="51" y="92"/>
                      <a:pt x="51" y="78"/>
                    </a:cubicBezTo>
                    <a:cubicBezTo>
                      <a:pt x="51" y="63"/>
                      <a:pt x="63" y="51"/>
                      <a:pt x="78" y="51"/>
                    </a:cubicBezTo>
                    <a:cubicBezTo>
                      <a:pt x="93" y="51"/>
                      <a:pt x="105" y="63"/>
                      <a:pt x="105" y="78"/>
                    </a:cubicBezTo>
                    <a:cubicBezTo>
                      <a:pt x="105" y="78"/>
                      <a:pt x="105" y="78"/>
                      <a:pt x="105" y="78"/>
                    </a:cubicBezTo>
                    <a:cubicBezTo>
                      <a:pt x="105" y="64"/>
                      <a:pt x="116" y="52"/>
                      <a:pt x="130" y="52"/>
                    </a:cubicBezTo>
                    <a:cubicBezTo>
                      <a:pt x="144" y="52"/>
                      <a:pt x="156" y="64"/>
                      <a:pt x="156" y="78"/>
                    </a:cubicBezTo>
                    <a:cubicBezTo>
                      <a:pt x="156" y="35"/>
                      <a:pt x="121" y="0"/>
                      <a:pt x="78" y="0"/>
                    </a:cubicBezTo>
                  </a:path>
                </a:pathLst>
              </a:custGeom>
              <a:solidFill>
                <a:schemeClr val="bg2"/>
              </a:solidFill>
              <a:ln w="3175">
                <a:noFill/>
              </a:ln>
              <a:extLst/>
            </p:spPr>
            <p:txBody>
              <a:bodyPr vert="horz" wrap="square" lIns="91440" tIns="45720" rIns="91440" bIns="45720" numCol="1" anchor="t" anchorCtr="0" compatLnSpc="1">
                <a:prstTxWarp prst="textNoShape">
                  <a:avLst/>
                </a:prstTxWarp>
              </a:bodyPr>
              <a:lstStyle/>
              <a:p>
                <a:pPr defTabSz="457189"/>
                <a:endParaRPr lang="en-US" sz="1600" dirty="0">
                  <a:solidFill>
                    <a:srgbClr val="FFFFFF"/>
                  </a:solidFill>
                  <a:latin typeface="CiscoSansJPN" pitchFamily="2" charset="-128"/>
                  <a:ea typeface="CiscoSansJPN" pitchFamily="2" charset="-128"/>
                  <a:cs typeface="CiscoSansJPN" pitchFamily="2" charset="-128"/>
                </a:endParaRPr>
              </a:p>
            </p:txBody>
          </p:sp>
          <p:sp>
            <p:nvSpPr>
              <p:cNvPr id="22" name="Oval 531"/>
              <p:cNvSpPr>
                <a:spLocks noChangeAspect="1" noChangeArrowheads="1"/>
              </p:cNvSpPr>
              <p:nvPr/>
            </p:nvSpPr>
            <p:spPr bwMode="auto">
              <a:xfrm>
                <a:off x="8210523" y="2845542"/>
                <a:ext cx="115996" cy="115996"/>
              </a:xfrm>
              <a:prstGeom prst="ellipse">
                <a:avLst/>
              </a:prstGeom>
              <a:solidFill>
                <a:schemeClr val="tx1"/>
              </a:solidFill>
              <a:ln w="3175">
                <a:noFill/>
              </a:ln>
              <a:extLst/>
            </p:spPr>
            <p:txBody>
              <a:bodyPr vert="horz" wrap="square" lIns="91440" tIns="45720" rIns="91440" bIns="45720" numCol="1" anchor="t" anchorCtr="0" compatLnSpc="1">
                <a:prstTxWarp prst="textNoShape">
                  <a:avLst/>
                </a:prstTxWarp>
              </a:bodyPr>
              <a:lstStyle/>
              <a:p>
                <a:pPr defTabSz="457189"/>
                <a:endParaRPr lang="en-US" sz="1600" dirty="0">
                  <a:solidFill>
                    <a:srgbClr val="FFFFFF"/>
                  </a:solidFill>
                  <a:latin typeface="CiscoSansJPN" pitchFamily="2" charset="-128"/>
                  <a:ea typeface="CiscoSansJPN" pitchFamily="2" charset="-128"/>
                  <a:cs typeface="CiscoSansJPN" pitchFamily="2" charset="-128"/>
                </a:endParaRPr>
              </a:p>
            </p:txBody>
          </p:sp>
          <p:sp>
            <p:nvSpPr>
              <p:cNvPr id="23" name="Freeform 532"/>
              <p:cNvSpPr>
                <a:spLocks noChangeAspect="1"/>
              </p:cNvSpPr>
              <p:nvPr/>
            </p:nvSpPr>
            <p:spPr bwMode="auto">
              <a:xfrm>
                <a:off x="8208523" y="2551551"/>
                <a:ext cx="245992" cy="245992"/>
              </a:xfrm>
              <a:custGeom>
                <a:avLst/>
                <a:gdLst>
                  <a:gd name="T0" fmla="*/ 104 w 104"/>
                  <a:gd name="T1" fmla="*/ 0 h 104"/>
                  <a:gd name="T2" fmla="*/ 78 w 104"/>
                  <a:gd name="T3" fmla="*/ 25 h 104"/>
                  <a:gd name="T4" fmla="*/ 53 w 104"/>
                  <a:gd name="T5" fmla="*/ 0 h 104"/>
                  <a:gd name="T6" fmla="*/ 53 w 104"/>
                  <a:gd name="T7" fmla="*/ 0 h 104"/>
                  <a:gd name="T8" fmla="*/ 37 w 104"/>
                  <a:gd name="T9" fmla="*/ 24 h 104"/>
                  <a:gd name="T10" fmla="*/ 0 w 104"/>
                  <a:gd name="T11" fmla="*/ 78 h 104"/>
                  <a:gd name="T12" fmla="*/ 26 w 104"/>
                  <a:gd name="T13" fmla="*/ 104 h 104"/>
                  <a:gd name="T14" fmla="*/ 51 w 104"/>
                  <a:gd name="T15" fmla="*/ 78 h 104"/>
                  <a:gd name="T16" fmla="*/ 59 w 104"/>
                  <a:gd name="T17" fmla="*/ 70 h 104"/>
                  <a:gd name="T18" fmla="*/ 104 w 104"/>
                  <a:gd name="T19"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4" h="104">
                    <a:moveTo>
                      <a:pt x="104" y="0"/>
                    </a:moveTo>
                    <a:cubicBezTo>
                      <a:pt x="104" y="14"/>
                      <a:pt x="92" y="25"/>
                      <a:pt x="78" y="25"/>
                    </a:cubicBezTo>
                    <a:cubicBezTo>
                      <a:pt x="64" y="25"/>
                      <a:pt x="53" y="14"/>
                      <a:pt x="53" y="0"/>
                    </a:cubicBezTo>
                    <a:cubicBezTo>
                      <a:pt x="53" y="0"/>
                      <a:pt x="53" y="0"/>
                      <a:pt x="53" y="0"/>
                    </a:cubicBezTo>
                    <a:cubicBezTo>
                      <a:pt x="53" y="10"/>
                      <a:pt x="47" y="20"/>
                      <a:pt x="37" y="24"/>
                    </a:cubicBezTo>
                    <a:cubicBezTo>
                      <a:pt x="15" y="35"/>
                      <a:pt x="0" y="56"/>
                      <a:pt x="0" y="78"/>
                    </a:cubicBezTo>
                    <a:cubicBezTo>
                      <a:pt x="0" y="92"/>
                      <a:pt x="12" y="104"/>
                      <a:pt x="26" y="104"/>
                    </a:cubicBezTo>
                    <a:cubicBezTo>
                      <a:pt x="40" y="104"/>
                      <a:pt x="51" y="93"/>
                      <a:pt x="51" y="78"/>
                    </a:cubicBezTo>
                    <a:cubicBezTo>
                      <a:pt x="52" y="77"/>
                      <a:pt x="54" y="73"/>
                      <a:pt x="59" y="70"/>
                    </a:cubicBezTo>
                    <a:cubicBezTo>
                      <a:pt x="86" y="57"/>
                      <a:pt x="104" y="30"/>
                      <a:pt x="104" y="0"/>
                    </a:cubicBezTo>
                  </a:path>
                </a:pathLst>
              </a:custGeom>
              <a:solidFill>
                <a:schemeClr val="bg2"/>
              </a:solidFill>
              <a:ln w="3175">
                <a:noFill/>
              </a:ln>
              <a:extLst/>
            </p:spPr>
            <p:txBody>
              <a:bodyPr vert="horz" wrap="square" lIns="91440" tIns="45720" rIns="91440" bIns="45720" numCol="1" anchor="t" anchorCtr="0" compatLnSpc="1">
                <a:prstTxWarp prst="textNoShape">
                  <a:avLst/>
                </a:prstTxWarp>
              </a:bodyPr>
              <a:lstStyle/>
              <a:p>
                <a:pPr defTabSz="457189"/>
                <a:endParaRPr lang="en-US" sz="1600" dirty="0">
                  <a:solidFill>
                    <a:srgbClr val="FFFFFF"/>
                  </a:solidFill>
                  <a:latin typeface="CiscoSansJPN" pitchFamily="2" charset="-128"/>
                  <a:ea typeface="CiscoSansJPN" pitchFamily="2" charset="-128"/>
                  <a:cs typeface="CiscoSansJPN" pitchFamily="2" charset="-128"/>
                </a:endParaRPr>
              </a:p>
            </p:txBody>
          </p:sp>
          <p:sp>
            <p:nvSpPr>
              <p:cNvPr id="24" name="Freeform 533"/>
              <p:cNvSpPr>
                <a:spLocks noChangeAspect="1"/>
              </p:cNvSpPr>
              <p:nvPr/>
            </p:nvSpPr>
            <p:spPr bwMode="auto">
              <a:xfrm>
                <a:off x="8333519" y="2490552"/>
                <a:ext cx="120996" cy="120996"/>
              </a:xfrm>
              <a:custGeom>
                <a:avLst/>
                <a:gdLst>
                  <a:gd name="T0" fmla="*/ 25 w 51"/>
                  <a:gd name="T1" fmla="*/ 0 h 51"/>
                  <a:gd name="T2" fmla="*/ 0 w 51"/>
                  <a:gd name="T3" fmla="*/ 26 h 51"/>
                  <a:gd name="T4" fmla="*/ 0 w 51"/>
                  <a:gd name="T5" fmla="*/ 26 h 51"/>
                  <a:gd name="T6" fmla="*/ 0 w 51"/>
                  <a:gd name="T7" fmla="*/ 26 h 51"/>
                  <a:gd name="T8" fmla="*/ 25 w 51"/>
                  <a:gd name="T9" fmla="*/ 51 h 51"/>
                  <a:gd name="T10" fmla="*/ 51 w 51"/>
                  <a:gd name="T11" fmla="*/ 26 h 51"/>
                  <a:gd name="T12" fmla="*/ 51 w 51"/>
                  <a:gd name="T13" fmla="*/ 26 h 51"/>
                  <a:gd name="T14" fmla="*/ 51 w 51"/>
                  <a:gd name="T15" fmla="*/ 26 h 51"/>
                  <a:gd name="T16" fmla="*/ 25 w 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1" h="51">
                    <a:moveTo>
                      <a:pt x="25" y="0"/>
                    </a:moveTo>
                    <a:cubicBezTo>
                      <a:pt x="11" y="0"/>
                      <a:pt x="0" y="12"/>
                      <a:pt x="0" y="26"/>
                    </a:cubicBezTo>
                    <a:cubicBezTo>
                      <a:pt x="0" y="26"/>
                      <a:pt x="0" y="26"/>
                      <a:pt x="0" y="26"/>
                    </a:cubicBezTo>
                    <a:cubicBezTo>
                      <a:pt x="0" y="26"/>
                      <a:pt x="0" y="26"/>
                      <a:pt x="0" y="26"/>
                    </a:cubicBezTo>
                    <a:cubicBezTo>
                      <a:pt x="0" y="40"/>
                      <a:pt x="11" y="51"/>
                      <a:pt x="25" y="51"/>
                    </a:cubicBezTo>
                    <a:cubicBezTo>
                      <a:pt x="39" y="51"/>
                      <a:pt x="51" y="40"/>
                      <a:pt x="51" y="26"/>
                    </a:cubicBezTo>
                    <a:cubicBezTo>
                      <a:pt x="51" y="26"/>
                      <a:pt x="51" y="26"/>
                      <a:pt x="51" y="26"/>
                    </a:cubicBezTo>
                    <a:cubicBezTo>
                      <a:pt x="51" y="26"/>
                      <a:pt x="51" y="26"/>
                      <a:pt x="51" y="26"/>
                    </a:cubicBezTo>
                    <a:cubicBezTo>
                      <a:pt x="51" y="12"/>
                      <a:pt x="39" y="0"/>
                      <a:pt x="25" y="0"/>
                    </a:cubicBezTo>
                  </a:path>
                </a:pathLst>
              </a:custGeom>
              <a:solidFill>
                <a:schemeClr val="accent2"/>
              </a:solidFill>
              <a:ln w="3175">
                <a:noFill/>
              </a:ln>
              <a:extLst/>
            </p:spPr>
            <p:txBody>
              <a:bodyPr vert="horz" wrap="square" lIns="91440" tIns="45720" rIns="91440" bIns="45720" numCol="1" anchor="t" anchorCtr="0" compatLnSpc="1">
                <a:prstTxWarp prst="textNoShape">
                  <a:avLst/>
                </a:prstTxWarp>
              </a:bodyPr>
              <a:lstStyle/>
              <a:p>
                <a:pPr defTabSz="457189"/>
                <a:endParaRPr lang="en-US" sz="1600" dirty="0">
                  <a:solidFill>
                    <a:srgbClr val="FFFFFF"/>
                  </a:solidFill>
                  <a:latin typeface="CiscoSansJPN" pitchFamily="2" charset="-128"/>
                  <a:ea typeface="CiscoSansJPN" pitchFamily="2" charset="-128"/>
                  <a:cs typeface="CiscoSansJPN" pitchFamily="2" charset="-128"/>
                </a:endParaRPr>
              </a:p>
            </p:txBody>
          </p:sp>
        </p:grpSp>
      </p:grpSp>
      <p:sp>
        <p:nvSpPr>
          <p:cNvPr id="2" name="TextBox 1"/>
          <p:cNvSpPr txBox="1"/>
          <p:nvPr/>
        </p:nvSpPr>
        <p:spPr>
          <a:xfrm>
            <a:off x="1426078" y="2055063"/>
            <a:ext cx="6362336" cy="2426818"/>
          </a:xfrm>
          <a:prstGeom prst="rect">
            <a:avLst/>
          </a:prstGeom>
          <a:noFill/>
        </p:spPr>
        <p:txBody>
          <a:bodyPr wrap="square" rtlCol="0">
            <a:spAutoFit/>
          </a:bodyPr>
          <a:lstStyle/>
          <a:p>
            <a:pPr defTabSz="457189">
              <a:lnSpc>
                <a:spcPct val="250000"/>
              </a:lnSpc>
              <a:spcBef>
                <a:spcPts val="600"/>
              </a:spcBef>
              <a:tabLst>
                <a:tab pos="4852867" algn="r"/>
              </a:tabLst>
            </a:pPr>
            <a:r>
              <a:rPr lang="en-US" sz="2000" dirty="0">
                <a:solidFill>
                  <a:schemeClr val="bg1"/>
                </a:solidFill>
                <a:latin typeface="CiscoSansJPN" pitchFamily="2" charset="-128"/>
                <a:ea typeface="CiscoSansJPN" pitchFamily="2" charset="-128"/>
                <a:cs typeface="CiscoSansJPN" pitchFamily="2" charset="-128"/>
              </a:rPr>
              <a:t>AMP4E</a:t>
            </a:r>
            <a:r>
              <a:rPr lang="ja-JP" altLang="en-US" sz="2000">
                <a:solidFill>
                  <a:schemeClr val="bg1"/>
                </a:solidFill>
                <a:latin typeface="CiscoSansJPN" pitchFamily="2" charset="-128"/>
                <a:ea typeface="CiscoSansJPN" pitchFamily="2" charset="-128"/>
                <a:cs typeface="CiscoSansJPN" pitchFamily="2" charset="-128"/>
              </a:rPr>
              <a:t>のみ</a:t>
            </a:r>
            <a:r>
              <a:rPr lang="en-US" sz="2000" dirty="0">
                <a:solidFill>
                  <a:schemeClr val="bg1"/>
                </a:solidFill>
                <a:latin typeface="CiscoSansJPN" pitchFamily="2" charset="-128"/>
                <a:ea typeface="CiscoSansJPN" pitchFamily="2" charset="-128"/>
                <a:cs typeface="CiscoSansJPN" pitchFamily="2" charset="-128"/>
              </a:rPr>
              <a:t>				</a:t>
            </a:r>
          </a:p>
          <a:p>
            <a:pPr defTabSz="457189">
              <a:lnSpc>
                <a:spcPct val="250000"/>
              </a:lnSpc>
              <a:spcBef>
                <a:spcPts val="600"/>
              </a:spcBef>
              <a:tabLst>
                <a:tab pos="4852867" algn="r"/>
              </a:tabLst>
            </a:pPr>
            <a:r>
              <a:rPr lang="en-US" sz="2000" dirty="0">
                <a:solidFill>
                  <a:schemeClr val="bg1"/>
                </a:solidFill>
                <a:latin typeface="CiscoSansJPN" pitchFamily="2" charset="-128"/>
                <a:ea typeface="CiscoSansJPN" pitchFamily="2" charset="-128"/>
                <a:cs typeface="CiscoSansJPN" pitchFamily="2" charset="-128"/>
              </a:rPr>
              <a:t>AMP4E</a:t>
            </a:r>
            <a:r>
              <a:rPr lang="ja-JP" altLang="en-US" sz="2000">
                <a:solidFill>
                  <a:schemeClr val="bg1"/>
                </a:solidFill>
                <a:latin typeface="CiscoSansJPN" pitchFamily="2" charset="-128"/>
                <a:ea typeface="CiscoSansJPN" pitchFamily="2" charset="-128"/>
                <a:cs typeface="CiscoSansJPN" pitchFamily="2" charset="-128"/>
              </a:rPr>
              <a:t>とトラディショナル</a:t>
            </a:r>
            <a:r>
              <a:rPr lang="en-US" altLang="ja-JP" sz="2000" dirty="0">
                <a:solidFill>
                  <a:schemeClr val="bg1"/>
                </a:solidFill>
                <a:latin typeface="CiscoSansJPN" pitchFamily="2" charset="-128"/>
                <a:ea typeface="CiscoSansJPN" pitchFamily="2" charset="-128"/>
                <a:cs typeface="CiscoSansJPN" pitchFamily="2" charset="-128"/>
              </a:rPr>
              <a:t>AV</a:t>
            </a:r>
            <a:endParaRPr lang="en-US" sz="2000" dirty="0">
              <a:solidFill>
                <a:schemeClr val="bg1"/>
              </a:solidFill>
              <a:latin typeface="CiscoSansJPN" pitchFamily="2" charset="-128"/>
              <a:ea typeface="CiscoSansJPN" pitchFamily="2" charset="-128"/>
              <a:cs typeface="CiscoSansJPN" pitchFamily="2" charset="-128"/>
            </a:endParaRPr>
          </a:p>
          <a:p>
            <a:pPr defTabSz="457189">
              <a:lnSpc>
                <a:spcPct val="250000"/>
              </a:lnSpc>
              <a:spcBef>
                <a:spcPts val="600"/>
              </a:spcBef>
              <a:tabLst>
                <a:tab pos="4852867" algn="r"/>
              </a:tabLst>
            </a:pPr>
            <a:r>
              <a:rPr lang="en-US" sz="2000" dirty="0">
                <a:solidFill>
                  <a:schemeClr val="bg1"/>
                </a:solidFill>
                <a:latin typeface="CiscoSansJPN" pitchFamily="2" charset="-128"/>
                <a:ea typeface="CiscoSansJPN" pitchFamily="2" charset="-128"/>
                <a:cs typeface="CiscoSansJPN" pitchFamily="2" charset="-128"/>
              </a:rPr>
              <a:t>AMP4E</a:t>
            </a:r>
            <a:r>
              <a:rPr lang="ja-JP" altLang="en-US" sz="2000">
                <a:solidFill>
                  <a:schemeClr val="bg1"/>
                </a:solidFill>
                <a:latin typeface="CiscoSansJPN" pitchFamily="2" charset="-128"/>
                <a:ea typeface="CiscoSansJPN" pitchFamily="2" charset="-128"/>
                <a:cs typeface="CiscoSansJPN" pitchFamily="2" charset="-128"/>
              </a:rPr>
              <a:t>と他のエンドポイントソリューション</a:t>
            </a:r>
            <a:endParaRPr lang="en-US" sz="2000" dirty="0">
              <a:solidFill>
                <a:schemeClr val="bg1"/>
              </a:solidFill>
              <a:latin typeface="CiscoSansJPN" pitchFamily="2" charset="-128"/>
              <a:ea typeface="CiscoSansJPN" pitchFamily="2" charset="-128"/>
              <a:cs typeface="CiscoSansJPN" pitchFamily="2" charset="-128"/>
            </a:endParaRPr>
          </a:p>
        </p:txBody>
      </p:sp>
      <p:sp>
        <p:nvSpPr>
          <p:cNvPr id="34" name="Oval 33">
            <a:extLst>
              <a:ext uri="{FF2B5EF4-FFF2-40B4-BE49-F238E27FC236}">
                <a16:creationId xmlns:a16="http://schemas.microsoft.com/office/drawing/2014/main" id="{44DA5BED-56AB-5C47-BAE9-A1B31C57CA28}"/>
              </a:ext>
            </a:extLst>
          </p:cNvPr>
          <p:cNvSpPr>
            <a:spLocks noChangeAspect="1"/>
          </p:cNvSpPr>
          <p:nvPr/>
        </p:nvSpPr>
        <p:spPr>
          <a:xfrm>
            <a:off x="596144" y="2185398"/>
            <a:ext cx="776104" cy="776104"/>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362">
              <a:lnSpc>
                <a:spcPct val="95000"/>
              </a:lnSpc>
            </a:pPr>
            <a:r>
              <a:rPr lang="en-US" b="1" dirty="0">
                <a:solidFill>
                  <a:srgbClr val="FFFFFF"/>
                </a:solidFill>
                <a:latin typeface="CiscoSansJPN" pitchFamily="2" charset="-128"/>
                <a:ea typeface="CiscoSansJPN" pitchFamily="2" charset="-128"/>
                <a:cs typeface="CiscoSansJPN" pitchFamily="2" charset="-128"/>
              </a:rPr>
              <a:t>35%</a:t>
            </a:r>
          </a:p>
        </p:txBody>
      </p:sp>
      <p:sp>
        <p:nvSpPr>
          <p:cNvPr id="36" name="Oval 35">
            <a:extLst>
              <a:ext uri="{FF2B5EF4-FFF2-40B4-BE49-F238E27FC236}">
                <a16:creationId xmlns:a16="http://schemas.microsoft.com/office/drawing/2014/main" id="{44DA5BED-56AB-5C47-BAE9-A1B31C57CA28}"/>
              </a:ext>
            </a:extLst>
          </p:cNvPr>
          <p:cNvSpPr>
            <a:spLocks noChangeAspect="1"/>
          </p:cNvSpPr>
          <p:nvPr/>
        </p:nvSpPr>
        <p:spPr>
          <a:xfrm>
            <a:off x="596144" y="3033486"/>
            <a:ext cx="776104" cy="776104"/>
          </a:xfrm>
          <a:prstGeom prst="ellipse">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362">
              <a:lnSpc>
                <a:spcPct val="95000"/>
              </a:lnSpc>
            </a:pPr>
            <a:r>
              <a:rPr lang="en-US" b="1" dirty="0">
                <a:solidFill>
                  <a:srgbClr val="FFFFFF"/>
                </a:solidFill>
                <a:latin typeface="CiscoSansJPN" pitchFamily="2" charset="-128"/>
                <a:ea typeface="CiscoSansJPN" pitchFamily="2" charset="-128"/>
                <a:cs typeface="CiscoSansJPN" pitchFamily="2" charset="-128"/>
              </a:rPr>
              <a:t>43%</a:t>
            </a:r>
          </a:p>
        </p:txBody>
      </p:sp>
      <p:sp>
        <p:nvSpPr>
          <p:cNvPr id="37" name="Oval 36">
            <a:extLst>
              <a:ext uri="{FF2B5EF4-FFF2-40B4-BE49-F238E27FC236}">
                <a16:creationId xmlns:a16="http://schemas.microsoft.com/office/drawing/2014/main" id="{44DA5BED-56AB-5C47-BAE9-A1B31C57CA28}"/>
              </a:ext>
            </a:extLst>
          </p:cNvPr>
          <p:cNvSpPr>
            <a:spLocks noChangeAspect="1"/>
          </p:cNvSpPr>
          <p:nvPr/>
        </p:nvSpPr>
        <p:spPr>
          <a:xfrm>
            <a:off x="623060" y="3881576"/>
            <a:ext cx="776104" cy="776104"/>
          </a:xfrm>
          <a:prstGeom prst="ellipse">
            <a:avLst/>
          </a:prstGeom>
          <a:solidFill>
            <a:schemeClr val="tx1">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85362">
              <a:lnSpc>
                <a:spcPct val="95000"/>
              </a:lnSpc>
            </a:pPr>
            <a:r>
              <a:rPr lang="en-US" b="1" dirty="0">
                <a:solidFill>
                  <a:srgbClr val="FFFFFF"/>
                </a:solidFill>
                <a:latin typeface="CiscoSansJPN" pitchFamily="2" charset="-128"/>
                <a:ea typeface="CiscoSansJPN" pitchFamily="2" charset="-128"/>
                <a:cs typeface="CiscoSansJPN" pitchFamily="2" charset="-128"/>
              </a:rPr>
              <a:t>17%</a:t>
            </a:r>
          </a:p>
        </p:txBody>
      </p:sp>
      <p:sp>
        <p:nvSpPr>
          <p:cNvPr id="4" name="円形吹き出し 3">
            <a:extLst>
              <a:ext uri="{FF2B5EF4-FFF2-40B4-BE49-F238E27FC236}">
                <a16:creationId xmlns:a16="http://schemas.microsoft.com/office/drawing/2014/main" id="{9E638CC4-8D8F-F54D-B179-4D1FACD83693}"/>
              </a:ext>
            </a:extLst>
          </p:cNvPr>
          <p:cNvSpPr/>
          <p:nvPr/>
        </p:nvSpPr>
        <p:spPr>
          <a:xfrm>
            <a:off x="5397622" y="2530136"/>
            <a:ext cx="3385631" cy="683581"/>
          </a:xfrm>
          <a:prstGeom prst="wedgeEllipseCallout">
            <a:avLst>
              <a:gd name="adj1" fmla="val -63248"/>
              <a:gd name="adj2" fmla="val 643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err="1"/>
              <a:t>McAfee,Symantec</a:t>
            </a:r>
            <a:r>
              <a:rPr kumimoji="1" lang="en-US" altLang="ja-JP" dirty="0"/>
              <a:t>, </a:t>
            </a:r>
            <a:r>
              <a:rPr kumimoji="1" lang="en-US" altLang="ja-JP" dirty="0" err="1"/>
              <a:t>TredMicro</a:t>
            </a:r>
            <a:endParaRPr kumimoji="1" lang="ja-JP" altLang="en-US" dirty="0"/>
          </a:p>
        </p:txBody>
      </p:sp>
      <p:sp>
        <p:nvSpPr>
          <p:cNvPr id="17" name="円形吹き出し 16">
            <a:extLst>
              <a:ext uri="{FF2B5EF4-FFF2-40B4-BE49-F238E27FC236}">
                <a16:creationId xmlns:a16="http://schemas.microsoft.com/office/drawing/2014/main" id="{E5679ED0-90E3-D046-9EBA-BD692556211F}"/>
              </a:ext>
            </a:extLst>
          </p:cNvPr>
          <p:cNvSpPr/>
          <p:nvPr/>
        </p:nvSpPr>
        <p:spPr>
          <a:xfrm>
            <a:off x="5397621" y="3278684"/>
            <a:ext cx="3385631" cy="683581"/>
          </a:xfrm>
          <a:prstGeom prst="wedgeEllipseCallout">
            <a:avLst>
              <a:gd name="adj1" fmla="val -63248"/>
              <a:gd name="adj2" fmla="val 64352"/>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dirty="0"/>
              <a:t>CB, Cylance, </a:t>
            </a:r>
            <a:r>
              <a:rPr kumimoji="1" lang="en-US" altLang="ja-JP" dirty="0" err="1"/>
              <a:t>Crowdstrike</a:t>
            </a:r>
            <a:endParaRPr kumimoji="1" lang="ja-JP" altLang="en-US" dirty="0"/>
          </a:p>
        </p:txBody>
      </p:sp>
    </p:spTree>
    <p:extLst>
      <p:ext uri="{BB962C8B-B14F-4D97-AF65-F5344CB8AC3E}">
        <p14:creationId xmlns:p14="http://schemas.microsoft.com/office/powerpoint/2010/main" val="9455831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PROD_UIDATA" val="&lt;database version=&quot;11.0&quot;&gt;&lt;object type=&quot;1&quot; unique_id=&quot;10001&quot;&gt;&lt;object type=&quot;2&quot; unique_id=&quot;200287&quot;&gt;&lt;object type=&quot;3&quot; unique_id=&quot;200288&quot;&gt;&lt;property id=&quot;20148&quot; value=&quot;5&quot;/&gt;&lt;property id=&quot;20300&quot; value=&quot;Slide 1 - &amp;quot;Please read&amp;quot;&quot;/&gt;&lt;property id=&quot;20307&quot; value=&quot;303&quot;/&gt;&lt;/object&gt;&lt;object type=&quot;3&quot; unique_id=&quot;200289&quot;&gt;&lt;property id=&quot;20148&quot; value=&quot;5&quot;/&gt;&lt;property id=&quot;20300&quot; value=&quot;Slide 2 - &amp;quot;Presentation Title Goes Here&amp;quot;&quot;/&gt;&lt;property id=&quot;20307&quot; value=&quot;256&quot;/&gt;&lt;/object&gt;&lt;object type=&quot;3&quot; unique_id=&quot;200290&quot;&gt;&lt;property id=&quot;20148&quot; value=&quot;5&quot;/&gt;&lt;property id=&quot;20300&quot; value=&quot;Slide 3 - &amp;quot;Use this slide for transitions&amp;quot;&quot;/&gt;&lt;property id=&quot;20307&quot; value=&quot;257&quot;/&gt;&lt;/object&gt;&lt;object type=&quot;3&quot; unique_id=&quot;200291&quot;&gt;&lt;property id=&quot;20148&quot; value=&quot;5&quot;/&gt;&lt;property id=&quot;20300&quot; value=&quot;Slide 4 - &amp;quot;Use this slide for transitions&amp;quot;&quot;/&gt;&lt;property id=&quot;20307&quot; value=&quot;302&quot;/&gt;&lt;/object&gt;&lt;object type=&quot;3&quot; unique_id=&quot;200292&quot;&gt;&lt;property id=&quot;20148&quot; value=&quot;5&quot;/&gt;&lt;property id=&quot;20300&quot; value=&quot;Slide 5 - &amp;quot;“Design is the silent  ambassador of your brand.”&amp;quot;&quot;/&gt;&lt;property id=&quot;20307&quot; value=&quot;293&quot;/&gt;&lt;/object&gt;&lt;object type=&quot;3&quot; unique_id=&quot;200293&quot;&gt;&lt;property id=&quot;20148&quot; value=&quot;5&quot;/&gt;&lt;property id=&quot;20300&quot; value=&quot;Slide 6 - &amp;quot;“Design is the silent  ambassador of your brand.”&amp;quot;&quot;/&gt;&lt;property id=&quot;20307&quot; value=&quot;301&quot;/&gt;&lt;/object&gt;&lt;object type=&quot;3&quot; unique_id=&quot;200294&quot;&gt;&lt;property id=&quot;20148&quot; value=&quot;5&quot;/&gt;&lt;property id=&quot;20300&quot; value=&quot;Slide 7 - &amp;quot;This is a sample headline&amp;quot;&quot;/&gt;&lt;property id=&quot;20307&quot; value=&quot;262&quot;/&gt;&lt;/object&gt;&lt;object type=&quot;3&quot; unique_id=&quot;200295&quot;&gt;&lt;property id=&quot;20148&quot; value=&quot;5&quot;/&gt;&lt;property id=&quot;20300&quot; value=&quot;Slide 8 - &amp;quot;This is a sample headline&amp;quot;&quot;/&gt;&lt;property id=&quot;20307&quot; value=&quot;263&quot;/&gt;&lt;/object&gt;&lt;object type=&quot;3&quot; unique_id=&quot;200296&quot;&gt;&lt;property id=&quot;20148&quot; value=&quot;5&quot;/&gt;&lt;property id=&quot;20300&quot; value=&quot;Slide 9 - &amp;quot;This is a sample headline&amp;quot;&quot;/&gt;&lt;property id=&quot;20307&quot; value=&quot;264&quot;/&gt;&lt;/object&gt;&lt;object type=&quot;3&quot; unique_id=&quot;200297&quot;&gt;&lt;property id=&quot;20148&quot; value=&quot;5&quot;/&gt;&lt;property id=&quot;20300&quot; value=&quot;Slide 10 - &amp;quot;Two-column layout&amp;quot;&quot;/&gt;&lt;property id=&quot;20307&quot; value=&quot;259&quot;/&gt;&lt;/object&gt;&lt;object type=&quot;3&quot; unique_id=&quot;200298&quot;&gt;&lt;property id=&quot;20148&quot; value=&quot;5&quot;/&gt;&lt;property id=&quot;20300&quot; value=&quot;Slide 11 - &amp;quot;This is a sample headline&amp;quot;&quot;/&gt;&lt;property id=&quot;20307&quot; value=&quot;265&quot;/&gt;&lt;/object&gt;&lt;object type=&quot;3&quot; unique_id=&quot;200299&quot;&gt;&lt;property id=&quot;20148&quot; value=&quot;5&quot;/&gt;&lt;property id=&quot;20300&quot; value=&quot;Slide 12 - &amp;quot;This is a sample headline&amp;quot;&quot;/&gt;&lt;property id=&quot;20307&quot; value=&quot;266&quot;/&gt;&lt;/object&gt;&lt;object type=&quot;3&quot; unique_id=&quot;200300&quot;&gt;&lt;property id=&quot;20148&quot; value=&quot;5&quot;/&gt;&lt;property id=&quot;20300&quot; value=&quot;Slide 13 - &amp;quot;This is a sample headline&amp;quot;&quot;/&gt;&lt;property id=&quot;20307&quot; value=&quot;267&quot;/&gt;&lt;/object&gt;&lt;object type=&quot;3&quot; unique_id=&quot;200301&quot;&gt;&lt;property id=&quot;20148&quot; value=&quot;5&quot;/&gt;&lt;property id=&quot;20300&quot; value=&quot;Slide 14 - &amp;quot;Bar charts&amp;quot;&quot;/&gt;&lt;property id=&quot;20307&quot; value=&quot;298&quot;/&gt;&lt;/object&gt;&lt;object type=&quot;3&quot; unique_id=&quot;200302&quot;&gt;&lt;property id=&quot;20148&quot; value=&quot;5&quot;/&gt;&lt;property id=&quot;20300&quot; value=&quot;Slide 15 - &amp;quot;Line charts&amp;quot;&quot;/&gt;&lt;property id=&quot;20307&quot; value=&quot;300&quot;/&gt;&lt;/object&gt;&lt;object type=&quot;3&quot; unique_id=&quot;200303&quot;&gt;&lt;property id=&quot;20148&quot; value=&quot;5&quot;/&gt;&lt;property id=&quot;20300&quot; value=&quot;Slide 16 - &amp;quot;This is a sample headline&amp;quot;&quot;/&gt;&lt;property id=&quot;20307&quot; value=&quot;260&quot;/&gt;&lt;/object&gt;&lt;object type=&quot;3&quot; unique_id=&quot;200304&quot;&gt;&lt;property id=&quot;20148&quot; value=&quot;5&quot;/&gt;&lt;property id=&quot;20300&quot; value=&quot;Slide 17 - &amp;quot;Slide title&amp;quot;&quot;/&gt;&lt;property id=&quot;20307&quot; value=&quot;261&quot;/&gt;&lt;/object&gt;&lt;object type=&quot;3&quot; unique_id=&quot;200305&quot;&gt;&lt;property id=&quot;20148&quot; value=&quot;5&quot;/&gt;&lt;property id=&quot;20300&quot; value=&quot;Slide 18 - &amp;quot;Use this layout when pairing words with a picture.&amp;quot;&quot;/&gt;&lt;property id=&quot;20307&quot; value=&quot;268&quot;/&gt;&lt;/object&gt;&lt;object type=&quot;3&quot; unique_id=&quot;200306&quot;&gt;&lt;property id=&quot;20148&quot; value=&quot;5&quot;/&gt;&lt;property id=&quot;20300&quot; value=&quot;Slide 19 - &amp;quot;Use this layout when pairing words with a picture.&amp;quot;&quot;/&gt;&lt;property id=&quot;20307&quot; value=&quot;269&quot;/&gt;&lt;/object&gt;&lt;object type=&quot;3&quot; unique_id=&quot;200307&quot;&gt;&lt;property id=&quot;20148&quot; value=&quot;5&quot;/&gt;&lt;property id=&quot;20300&quot; value=&quot;Slide 20&quot;/&gt;&lt;property id=&quot;20307&quot; value=&quot;270&quot;/&gt;&lt;/object&gt;&lt;object type=&quot;3&quot; unique_id=&quot;200308&quot;&gt;&lt;property id=&quot;20148&quot; value=&quot;5&quot;/&gt;&lt;property id=&quot;20300&quot; value=&quot;Slide 21 - &amp;quot;Best practices&amp;quot;&quot;/&gt;&lt;property id=&quot;20307&quot; value=&quot;286&quot;/&gt;&lt;/object&gt;&lt;object type=&quot;3&quot; unique_id=&quot;200309&quot;&gt;&lt;property id=&quot;20148&quot; value=&quot;5&quot;/&gt;&lt;property id=&quot;20300&quot; value=&quot;Slide 22 - &amp;quot;Color palette&amp;quot;&quot;/&gt;&lt;property id=&quot;20307&quot; value=&quot;258&quot;/&gt;&lt;/object&gt;&lt;object type=&quot;3&quot; unique_id=&quot;200310&quot;&gt;&lt;property id=&quot;20148&quot; value=&quot;5&quot;/&gt;&lt;property id=&quot;20300&quot; value=&quot;Slide 23 - &amp;quot;Only use the themes provided&amp;quot;&quot;/&gt;&lt;property id=&quot;20307&quot; value=&quot;287&quot;/&gt;&lt;/object&gt;&lt;object type=&quot;3&quot; unique_id=&quot;200311&quot;&gt;&lt;property id=&quot;20148&quot; value=&quot;5&quot;/&gt;&lt;property id=&quot;20300&quot; value=&quot;Slide 24 - &amp;quot;Color themes&amp;quot;&quot;/&gt;&lt;property id=&quot;20307&quot; value=&quot;438&quot;/&gt;&lt;/object&gt;&lt;object type=&quot;3&quot; unique_id=&quot;200312&quot;&gt;&lt;property id=&quot;20148&quot; value=&quot;5&quot;/&gt;&lt;property id=&quot;20300&quot; value=&quot;Slide 25 - &amp;quot;Seven tips for better presentations&amp;quot;&quot;/&gt;&lt;property id=&quot;20307&quot; value=&quot;288&quot;/&gt;&lt;/object&gt;&lt;object type=&quot;3&quot; unique_id=&quot;200313&quot;&gt;&lt;property id=&quot;20148&quot; value=&quot;5&quot;/&gt;&lt;property id=&quot;20300&quot; value=&quot;Slide 26 - &amp;quot;Everyone is responsible  for security&amp;quot;&quot;/&gt;&lt;property id=&quot;20307&quot; value=&quot;289&quot;/&gt;&lt;/object&gt;&lt;object type=&quot;3&quot; unique_id=&quot;200314&quot;&gt;&lt;property id=&quot;20148&quot; value=&quot;5&quot;/&gt;&lt;property id=&quot;20300&quot; value=&quot;Slide 27&quot;/&gt;&lt;property id=&quot;20307&quot; value=&quot;290&quot;/&gt;&lt;/object&gt;&lt;/object&gt;&lt;object type=&quot;8&quot; unique_id=&quot;200343&quot;&gt;&lt;/object&gt;&lt;/object&gt;&lt;/database&gt;"/>
  <p:tag name="MMPROD_NEXTUNIQUEID" val="10011"/>
  <p:tag name="SECTOMILLISECCONVERTED"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ue theme 2018 16x9">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2017_16x9_Corporate template_WST Lock Up" id="{A017039E-00F5-4237-B4C8-7E7F91EF4295}" vid="{94090727-8B40-4640-80B6-6B23D5758A3A}"/>
    </a:ext>
  </a:extLst>
</a:theme>
</file>

<file path=ppt/theme/theme2.xml><?xml version="1.0" encoding="utf-8"?>
<a:theme xmlns:a="http://schemas.openxmlformats.org/drawingml/2006/main" name="SNAP Theme Feb 2018_v">
  <a:themeElements>
    <a:clrScheme name="Cisco White Template Colors_FINAL">
      <a:dk1>
        <a:srgbClr val="282828"/>
      </a:dk1>
      <a:lt1>
        <a:srgbClr val="005073"/>
      </a:lt1>
      <a:dk2>
        <a:srgbClr val="005073"/>
      </a:dk2>
      <a:lt2>
        <a:srgbClr val="FFFFFF"/>
      </a:lt2>
      <a:accent1>
        <a:srgbClr val="00BCEB"/>
      </a:accent1>
      <a:accent2>
        <a:srgbClr val="6EBE4A"/>
      </a:accent2>
      <a:accent3>
        <a:srgbClr val="005073"/>
      </a:accent3>
      <a:accent4>
        <a:srgbClr val="676767"/>
      </a:accent4>
      <a:accent5>
        <a:srgbClr val="FBAB18"/>
      </a:accent5>
      <a:accent6>
        <a:srgbClr val="E3241B"/>
      </a:accent6>
      <a:hlink>
        <a:srgbClr val="00BCEB"/>
      </a:hlink>
      <a:folHlink>
        <a:srgbClr val="005073"/>
      </a:folHlink>
    </a:clrScheme>
    <a:fontScheme name="CiscoSans True Type">
      <a:majorFont>
        <a:latin typeface="CiscoSansTT ExtraLight"/>
        <a:ea typeface=""/>
        <a:cs typeface=""/>
      </a:majorFont>
      <a:minorFont>
        <a:latin typeface="CiscoSansTT Extra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dirty="0" smtClean="0">
            <a:latin typeface="+mn-lt"/>
          </a:defRPr>
        </a:defPPr>
      </a:lstStyle>
    </a:txDef>
  </a:objectDefaults>
  <a:extraClrSchemeLst/>
  <a:extLst>
    <a:ext uri="{05A4C25C-085E-4340-85A3-A5531E510DB2}">
      <thm15:themeFamily xmlns:thm15="http://schemas.microsoft.com/office/thememl/2012/main" name="SNAP Theme Feb 2018_v" id="{21929334-CCBB-4D93-84D9-3B47CC5BE0C7}" vid="{EAB65C17-563F-4AB8-B46B-66DAF604F667}"/>
    </a:ext>
  </a:extLst>
</a:theme>
</file>

<file path=ppt/theme/theme3.xml><?xml version="1.0" encoding="utf-8"?>
<a:theme xmlns:a="http://schemas.openxmlformats.org/drawingml/2006/main" name="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ppt/theme/theme4.xml><?xml version="1.0" encoding="utf-8"?>
<a:theme xmlns:a="http://schemas.openxmlformats.org/drawingml/2006/main" name="1_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9" id="{83C19D9B-7E63-4DDB-BA45-2B9906B27FB0}" vid="{F7BC0862-FAD1-4846-B398-2FFF360F98CE}"/>
    </a:ext>
  </a:extLst>
</a:theme>
</file>

<file path=ppt/theme/theme5.xml><?xml version="1.0" encoding="utf-8"?>
<a:theme xmlns:a="http://schemas.openxmlformats.org/drawingml/2006/main" name="2_Blue theme 2016 16x9">
  <a:themeElements>
    <a:clrScheme name="Blue Theme 2016 Colors">
      <a:dk1>
        <a:srgbClr val="58585B"/>
      </a:dk1>
      <a:lt1>
        <a:srgbClr val="FFFFFF"/>
      </a:lt1>
      <a:dk2>
        <a:srgbClr val="58585B"/>
      </a:dk2>
      <a:lt2>
        <a:srgbClr val="049FD9"/>
      </a:lt2>
      <a:accent1>
        <a:srgbClr val="004BAF"/>
      </a:accent1>
      <a:accent2>
        <a:srgbClr val="64BBE3"/>
      </a:accent2>
      <a:accent3>
        <a:srgbClr val="E8EBF1"/>
      </a:accent3>
      <a:accent4>
        <a:srgbClr val="9E9EA2"/>
      </a:accent4>
      <a:accent5>
        <a:srgbClr val="049FD9"/>
      </a:accent5>
      <a:accent6>
        <a:srgbClr val="ABC233"/>
      </a:accent6>
      <a:hlink>
        <a:srgbClr val="049FD9"/>
      </a:hlink>
      <a:folHlink>
        <a:srgbClr val="004BA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9" id="{83C19D9B-7E63-4DDB-BA45-2B9906B27FB0}" vid="{F7BC0862-FAD1-4846-B398-2FFF360F98CE}"/>
    </a:ext>
  </a:extLst>
</a:theme>
</file>

<file path=ppt/theme/theme6.xml><?xml version="1.0" encoding="utf-8"?>
<a:theme xmlns:a="http://schemas.openxmlformats.org/drawingml/2006/main" name="3_Blue theme 2016 16x9">
  <a:themeElements>
    <a:clrScheme name="Blue Theme 2016 Updated">
      <a:dk1>
        <a:srgbClr val="39393B"/>
      </a:dk1>
      <a:lt1>
        <a:srgbClr val="FFFFFF"/>
      </a:lt1>
      <a:dk2>
        <a:srgbClr val="555558"/>
      </a:dk2>
      <a:lt2>
        <a:srgbClr val="049CD4"/>
      </a:lt2>
      <a:accent1>
        <a:srgbClr val="014093"/>
      </a:accent1>
      <a:accent2>
        <a:srgbClr val="0498D1"/>
      </a:accent2>
      <a:accent3>
        <a:srgbClr val="CACCD2"/>
      </a:accent3>
      <a:accent4>
        <a:srgbClr val="ABC333"/>
      </a:accent4>
      <a:accent5>
        <a:srgbClr val="64BAE2"/>
      </a:accent5>
      <a:accent6>
        <a:srgbClr val="0B6B75"/>
      </a:accent6>
      <a:hlink>
        <a:srgbClr val="049BD3"/>
      </a:hlink>
      <a:folHlink>
        <a:srgbClr val="01449E"/>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36A4D7"/>
        </a:solidFill>
        <a:ln>
          <a:noFill/>
        </a:ln>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DC503DE1-91F3-4E06-9D47-79C2309E909B}" vid="{C266BCD2-BF24-49DE-B4C0-2E591CE22960}"/>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2017_16x9_Corporate template with Worldwide Sales Training Lock Up</Template>
  <TotalTime>36901</TotalTime>
  <Words>1992</Words>
  <Application>Microsoft Macintosh PowerPoint</Application>
  <PresentationFormat>On-screen Show (16:9)</PresentationFormat>
  <Paragraphs>452</Paragraphs>
  <Slides>36</Slides>
  <Notes>30</Notes>
  <HiddenSlides>0</HiddenSlides>
  <MMClips>0</MMClips>
  <ScaleCrop>false</ScaleCrop>
  <HeadingPairs>
    <vt:vector size="8" baseType="variant">
      <vt:variant>
        <vt:lpstr>Fonts Used</vt:lpstr>
      </vt:variant>
      <vt:variant>
        <vt:i4>21</vt:i4>
      </vt:variant>
      <vt:variant>
        <vt:lpstr>Theme</vt:lpstr>
      </vt:variant>
      <vt:variant>
        <vt:i4>6</vt:i4>
      </vt:variant>
      <vt:variant>
        <vt:lpstr>Embedded OLE Servers</vt:lpstr>
      </vt:variant>
      <vt:variant>
        <vt:i4>1</vt:i4>
      </vt:variant>
      <vt:variant>
        <vt:lpstr>Slide Titles</vt:lpstr>
      </vt:variant>
      <vt:variant>
        <vt:i4>36</vt:i4>
      </vt:variant>
    </vt:vector>
  </HeadingPairs>
  <TitlesOfParts>
    <vt:vector size="64" baseType="lpstr">
      <vt:lpstr>-webkit-standard</vt:lpstr>
      <vt:lpstr>.AppleSystemUIFont</vt:lpstr>
      <vt:lpstr>Arial Regular</vt:lpstr>
      <vt:lpstr>Broadway</vt:lpstr>
      <vt:lpstr>Ciscolight</vt:lpstr>
      <vt:lpstr>CiscoSansJPN</vt:lpstr>
      <vt:lpstr>ＭＳ Ｐゴシック</vt:lpstr>
      <vt:lpstr>黑体</vt:lpstr>
      <vt:lpstr>Source Sans Pro Light</vt:lpstr>
      <vt:lpstr>Arial</vt:lpstr>
      <vt:lpstr>Calibri</vt:lpstr>
      <vt:lpstr>CiscoSans</vt:lpstr>
      <vt:lpstr>CiscoSans ExtraLight</vt:lpstr>
      <vt:lpstr>CiscoSans Thin</vt:lpstr>
      <vt:lpstr>CiscoSansTT</vt:lpstr>
      <vt:lpstr>CiscoSansTT ExtraLight</vt:lpstr>
      <vt:lpstr>CiscoSansTT Light</vt:lpstr>
      <vt:lpstr>CiscoSansTT Thin</vt:lpstr>
      <vt:lpstr>Courier New</vt:lpstr>
      <vt:lpstr>Lucida Grande</vt:lpstr>
      <vt:lpstr>Wingdings</vt:lpstr>
      <vt:lpstr>Blue theme 2018 16x9</vt:lpstr>
      <vt:lpstr>SNAP Theme Feb 2018_v</vt:lpstr>
      <vt:lpstr>Blue theme 2016 16x9</vt:lpstr>
      <vt:lpstr>1_Blue theme 2016 16x9</vt:lpstr>
      <vt:lpstr>2_Blue theme 2016 16x9</vt:lpstr>
      <vt:lpstr>3_Blue theme 2016 16x9</vt:lpstr>
      <vt:lpstr>think-cell Slide</vt:lpstr>
      <vt:lpstr>AMP4E・TG・Cognitive Intelligence アップデート</vt:lpstr>
      <vt:lpstr>本セッションは</vt:lpstr>
      <vt:lpstr>AMP for Endpointsの販売数</vt:lpstr>
      <vt:lpstr>シスコのエンドポイントビジネスの状況</vt:lpstr>
      <vt:lpstr>The AMP Everywhere  Architecture AMP Protection Across the Extended Network </vt:lpstr>
      <vt:lpstr>AMP for Endpoints Next Gen Endpoint Security</vt:lpstr>
      <vt:lpstr>PowerPoint Presentation</vt:lpstr>
      <vt:lpstr>Miercom パフォーマンス認定</vt:lpstr>
      <vt:lpstr>お客様の声</vt:lpstr>
      <vt:lpstr>認証とコンプライアンス</vt:lpstr>
      <vt:lpstr>新機能 AMP for Endpoints</vt:lpstr>
      <vt:lpstr>様々な検知エンジン 検出時間を短縮する為に</vt:lpstr>
      <vt:lpstr>Exploit Preventionが監視しているアプリ一覧 ファイルレスマルウェア対策</vt:lpstr>
      <vt:lpstr>Malicious Activity Protection (MAP) エンドポイント上でのマルウェア活動を防御</vt:lpstr>
      <vt:lpstr>Cisco Security Connector (Clarity)</vt:lpstr>
      <vt:lpstr>継続的なポータルの機能拡張:  ユーザビリティの向上: 除外リストの管理</vt:lpstr>
      <vt:lpstr>継続的なポータルの機能拡張: レポート機能</vt:lpstr>
      <vt:lpstr>継続的なポータルの機能拡張: ベータ機能</vt:lpstr>
      <vt:lpstr>11月27日に追加された新機能</vt:lpstr>
      <vt:lpstr>11月27日に追加された新機能</vt:lpstr>
      <vt:lpstr>Cisco Threat Responseへの切り替え</vt:lpstr>
      <vt:lpstr>Cisco Threat Response Casebookへのインテグレーション</vt:lpstr>
      <vt:lpstr>PowerPoint Presentation</vt:lpstr>
      <vt:lpstr>MITRE’s ATT&amp;CK</vt:lpstr>
      <vt:lpstr>TG Cloudの管理画面に追加されたデフォルトOS</vt:lpstr>
      <vt:lpstr>ロードマップアップデート</vt:lpstr>
      <vt:lpstr>ロードマップテーマ</vt:lpstr>
      <vt:lpstr>AMP4Eエンハンスメントハイライト（予定）</vt:lpstr>
      <vt:lpstr>Endpoint Isolation</vt:lpstr>
      <vt:lpstr>PowerPoint Presentation</vt:lpstr>
      <vt:lpstr>AMP Private Cloud</vt:lpstr>
      <vt:lpstr>Endpoint Integrations &amp; Partners</vt:lpstr>
      <vt:lpstr>Threat Grid Planned Enhancements  (rest of CY18)</vt:lpstr>
      <vt:lpstr>AMP Attach/TG Planned Enhancements</vt:lpstr>
      <vt:lpstr>まとめ：エンドポイントセキュリティ</vt:lpstr>
      <vt:lpstr>PowerPoint Presentation</vt:lpstr>
    </vt:vector>
  </TitlesOfParts>
  <Company>Cisco Systems, Inc.</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ease read</dc:title>
  <dc:creator>Dan Zatyko (dzatyko)</dc:creator>
  <cp:lastModifiedBy>Microsoft Office ユーザー</cp:lastModifiedBy>
  <cp:revision>897</cp:revision>
  <cp:lastPrinted>2018-10-03T17:40:25Z</cp:lastPrinted>
  <dcterms:created xsi:type="dcterms:W3CDTF">2017-12-21T18:16:39Z</dcterms:created>
  <dcterms:modified xsi:type="dcterms:W3CDTF">2018-12-10T03:11:36Z</dcterms:modified>
</cp:coreProperties>
</file>